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fntdata" ContentType="application/x-fontdata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817" r:id="rId1"/>
    <p:sldMasterId id="2147483850" r:id="rId2"/>
  </p:sldMasterIdLst>
  <p:notesMasterIdLst>
    <p:notesMasterId r:id="rId15"/>
  </p:notesMasterIdLst>
  <p:handoutMasterIdLst>
    <p:handoutMasterId r:id="rId16"/>
  </p:handoutMasterIdLst>
  <p:sldIdLst>
    <p:sldId id="282" r:id="rId3"/>
    <p:sldId id="340" r:id="rId4"/>
    <p:sldId id="358" r:id="rId5"/>
    <p:sldId id="359" r:id="rId6"/>
    <p:sldId id="363" r:id="rId7"/>
    <p:sldId id="360" r:id="rId8"/>
    <p:sldId id="361" r:id="rId9"/>
    <p:sldId id="362" r:id="rId10"/>
    <p:sldId id="355" r:id="rId11"/>
    <p:sldId id="356" r:id="rId12"/>
    <p:sldId id="357" r:id="rId13"/>
    <p:sldId id="353" r:id="rId14"/>
  </p:sldIdLst>
  <p:sldSz cx="12192000" cy="6858000"/>
  <p:notesSz cx="7315200" cy="9601200"/>
  <p:embeddedFontLst>
    <p:embeddedFont>
      <p:font typeface="Georgia" panose="02040502050405020303" pitchFamily="18" charset="0"/>
      <p:regular r:id="rId17"/>
      <p:bold r:id="rId18"/>
      <p:italic r:id="rId19"/>
      <p:boldItalic r:id="rId20"/>
    </p:embeddedFont>
    <p:embeddedFont>
      <p:font typeface="Montserrat Medium" pitchFamily="2" charset="-52"/>
      <p:regular r:id="rId21"/>
      <p:italic r:id="rId22"/>
    </p:embeddedFont>
    <p:embeddedFont>
      <p:font typeface="Montserrat" pitchFamily="2" charset="-52"/>
      <p:regular r:id="rId23"/>
      <p:bold r:id="rId24"/>
      <p:italic r:id="rId25"/>
      <p:boldItalic r:id="rId26"/>
    </p:embeddedFont>
    <p:embeddedFont>
      <p:font typeface="EYInterstate Light" panose="020B0604020202020204" charset="0"/>
      <p:regular r:id="rId27"/>
      <p:bold r:id="rId28"/>
      <p:italic r:id="rId29"/>
      <p:boldItalic r:id="rId30"/>
    </p:embeddedFont>
    <p:embeddedFont>
      <p:font typeface="Tahoma" panose="020B0604030504040204" pitchFamily="34" charset="0"/>
      <p:regular r:id="rId31"/>
      <p:bold r:id="rId32"/>
    </p:embeddedFont>
    <p:embeddedFont>
      <p:font typeface="Montserrat Alternates SemiBold" panose="020B0604020202020204" charset="-52"/>
      <p:bold r:id="rId33"/>
      <p:boldItalic r:id="rId34"/>
    </p:embeddedFont>
    <p:embeddedFont>
      <p:font typeface="Montserrat Light" pitchFamily="2" charset="-52"/>
      <p:regular r:id="rId35"/>
      <p:italic r:id="rId36"/>
    </p:embeddedFont>
  </p:embeddedFontLst>
  <p:custDataLst>
    <p:tags r:id="rId3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D69496B6-263F-4D98-8005-7678021AE7DC}">
          <p14:sldIdLst>
            <p14:sldId id="282"/>
            <p14:sldId id="340"/>
            <p14:sldId id="358"/>
            <p14:sldId id="359"/>
            <p14:sldId id="363"/>
            <p14:sldId id="360"/>
            <p14:sldId id="361"/>
            <p14:sldId id="362"/>
            <p14:sldId id="355"/>
            <p14:sldId id="356"/>
            <p14:sldId id="357"/>
            <p14:sldId id="35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orient="horz" pos="663" userDrawn="1">
          <p15:clr>
            <a:srgbClr val="A4A3A4"/>
          </p15:clr>
        </p15:guide>
        <p15:guide id="3" orient="horz" pos="867" userDrawn="1">
          <p15:clr>
            <a:srgbClr val="A4A3A4"/>
          </p15:clr>
        </p15:guide>
        <p15:guide id="4" orient="horz" pos="4224" userDrawn="1">
          <p15:clr>
            <a:srgbClr val="A4A3A4"/>
          </p15:clr>
        </p15:guide>
        <p15:guide id="5" orient="horz" pos="127" userDrawn="1">
          <p15:clr>
            <a:srgbClr val="A4A3A4"/>
          </p15:clr>
        </p15:guide>
        <p15:guide id="6" orient="horz" pos="4319" userDrawn="1">
          <p15:clr>
            <a:srgbClr val="A4A3A4"/>
          </p15:clr>
        </p15:guide>
        <p15:guide id="7" orient="horz" pos="4133" userDrawn="1">
          <p15:clr>
            <a:srgbClr val="A4A3A4"/>
          </p15:clr>
        </p15:guide>
        <p15:guide id="8" pos="3840" userDrawn="1">
          <p15:clr>
            <a:srgbClr val="A4A3A4"/>
          </p15:clr>
        </p15:guide>
        <p15:guide id="9" pos="393" userDrawn="1">
          <p15:clr>
            <a:srgbClr val="A4A3A4"/>
          </p15:clr>
        </p15:guide>
        <p15:guide id="10" pos="7344" userDrawn="1">
          <p15:clr>
            <a:srgbClr val="A4A3A4"/>
          </p15:clr>
        </p15:guide>
        <p15:guide id="11" pos="3749" userDrawn="1">
          <p15:clr>
            <a:srgbClr val="A4A3A4"/>
          </p15:clr>
        </p15:guide>
        <p15:guide id="12" pos="37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7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4AA851"/>
    <a:srgbClr val="444042"/>
    <a:srgbClr val="958F91"/>
    <a:srgbClr val="C4C4CD"/>
    <a:srgbClr val="C7C3C4"/>
    <a:srgbClr val="2E2E38"/>
    <a:srgbClr val="262626"/>
    <a:srgbClr val="000000"/>
    <a:srgbClr val="7474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2100" autoAdjust="0"/>
    <p:restoredTop sz="96339" autoAdjust="0"/>
  </p:normalViewPr>
  <p:slideViewPr>
    <p:cSldViewPr snapToObjects="1" showGuides="1">
      <p:cViewPr varScale="1">
        <p:scale>
          <a:sx n="69" d="100"/>
          <a:sy n="69" d="100"/>
        </p:scale>
        <p:origin x="292" y="44"/>
      </p:cViewPr>
      <p:guideLst>
        <p:guide orient="horz" pos="2160"/>
        <p:guide orient="horz" pos="663"/>
        <p:guide orient="horz" pos="867"/>
        <p:guide orient="horz" pos="4224"/>
        <p:guide orient="horz" pos="127"/>
        <p:guide orient="horz" pos="4319"/>
        <p:guide orient="horz" pos="4133"/>
        <p:guide pos="3840"/>
        <p:guide pos="393"/>
        <p:guide pos="7344"/>
        <p:guide pos="3749"/>
        <p:guide pos="3780"/>
      </p:guideLst>
    </p:cSldViewPr>
  </p:slideViewPr>
  <p:outlineViewPr>
    <p:cViewPr>
      <p:scale>
        <a:sx n="33" d="100"/>
        <a:sy n="33" d="100"/>
      </p:scale>
      <p:origin x="0" y="-16296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Objects="1" showGuides="1">
      <p:cViewPr>
        <p:scale>
          <a:sx n="200" d="100"/>
          <a:sy n="200" d="100"/>
        </p:scale>
        <p:origin x="156" y="156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font" Target="fonts/font2.fntdata"/><Relationship Id="rId26" Type="http://schemas.openxmlformats.org/officeDocument/2006/relationships/font" Target="fonts/font10.fntdata"/><Relationship Id="rId39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font" Target="fonts/font5.fntdata"/><Relationship Id="rId34" Type="http://schemas.openxmlformats.org/officeDocument/2006/relationships/font" Target="fonts/font18.fntdata"/><Relationship Id="rId42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font" Target="fonts/font1.fntdata"/><Relationship Id="rId25" Type="http://schemas.openxmlformats.org/officeDocument/2006/relationships/font" Target="fonts/font9.fntdata"/><Relationship Id="rId33" Type="http://schemas.openxmlformats.org/officeDocument/2006/relationships/font" Target="fonts/font17.fntdata"/><Relationship Id="rId38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font" Target="fonts/font4.fntdata"/><Relationship Id="rId29" Type="http://schemas.openxmlformats.org/officeDocument/2006/relationships/font" Target="fonts/font13.fntdata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font" Target="fonts/font8.fntdata"/><Relationship Id="rId32" Type="http://schemas.openxmlformats.org/officeDocument/2006/relationships/font" Target="fonts/font16.fntdata"/><Relationship Id="rId37" Type="http://schemas.openxmlformats.org/officeDocument/2006/relationships/tags" Target="tags/tag1.xml"/><Relationship Id="rId40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notesMaster" Target="notesMasters/notesMaster1.xml"/><Relationship Id="rId23" Type="http://schemas.openxmlformats.org/officeDocument/2006/relationships/font" Target="fonts/font7.fntdata"/><Relationship Id="rId28" Type="http://schemas.openxmlformats.org/officeDocument/2006/relationships/font" Target="fonts/font12.fntdata"/><Relationship Id="rId36" Type="http://schemas.openxmlformats.org/officeDocument/2006/relationships/font" Target="fonts/font20.fntdata"/><Relationship Id="rId10" Type="http://schemas.openxmlformats.org/officeDocument/2006/relationships/slide" Target="slides/slide8.xml"/><Relationship Id="rId19" Type="http://schemas.openxmlformats.org/officeDocument/2006/relationships/font" Target="fonts/font3.fntdata"/><Relationship Id="rId31" Type="http://schemas.openxmlformats.org/officeDocument/2006/relationships/font" Target="fonts/font15.fntdata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font" Target="fonts/font6.fntdata"/><Relationship Id="rId27" Type="http://schemas.openxmlformats.org/officeDocument/2006/relationships/font" Target="fonts/font11.fntdata"/><Relationship Id="rId30" Type="http://schemas.openxmlformats.org/officeDocument/2006/relationships/font" Target="fonts/font14.fntdata"/><Relationship Id="rId35" Type="http://schemas.openxmlformats.org/officeDocument/2006/relationships/font" Target="fonts/font19.fntdata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GB" dirty="0">
              <a:latin typeface="Arial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75A85089-C692-4DEA-AC49-04CF34D4FE14}" type="datetimeFigureOut">
              <a:rPr lang="en-GB" smtClean="0">
                <a:latin typeface="Arial" pitchFamily="34" charset="0"/>
              </a:rPr>
              <a:pPr/>
              <a:t>16/08/2022</a:t>
            </a:fld>
            <a:endParaRPr lang="en-GB" dirty="0">
              <a:latin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endParaRPr lang="en-GB" dirty="0">
              <a:latin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D3A5C721-4BB5-4DB6-AD65-4BA2A62B05B6}" type="slidenum">
              <a:rPr lang="en-GB" smtClean="0">
                <a:latin typeface="Arial" pitchFamily="34" charset="0"/>
              </a:rPr>
              <a:pPr/>
              <a:t>‹#›</a:t>
            </a:fld>
            <a:endParaRPr lang="en-GB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163239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>
                <a:latin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>
                <a:latin typeface="Arial" pitchFamily="34" charset="0"/>
              </a:defRPr>
            </a:lvl1pPr>
          </a:lstStyle>
          <a:p>
            <a:fld id="{8045EBA9-A28D-4849-BFEA-AA04F6A21B63}" type="datetimeFigureOut">
              <a:rPr lang="en-GB" smtClean="0"/>
              <a:pPr/>
              <a:t>16/08/2022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7200" y="720725"/>
            <a:ext cx="64008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0"/>
            <a:ext cx="5852160" cy="4320540"/>
          </a:xfrm>
          <a:prstGeom prst="rect">
            <a:avLst/>
          </a:prstGeom>
        </p:spPr>
        <p:txBody>
          <a:bodyPr vert="horz" lIns="96661" tIns="48331" rIns="96661" bIns="48331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>
                <a:latin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>
                <a:latin typeface="Arial" pitchFamily="34" charset="0"/>
              </a:defRPr>
            </a:lvl1pPr>
          </a:lstStyle>
          <a:p>
            <a:fld id="{5B43D19E-BFDB-4C92-8EDD-32EDDA8F41D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062703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7200" y="720725"/>
            <a:ext cx="64008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872707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8.jpe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-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6386BE0E-7185-42D1-A7C5-6C88FC18218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958" y="-9442"/>
            <a:ext cx="12204142" cy="6867439"/>
          </a:xfrm>
          <a:prstGeom prst="rect">
            <a:avLst/>
          </a:prstGeom>
        </p:spPr>
      </p:pic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A4C455EF-2D55-45C7-B0CC-3F7A55776450}"/>
              </a:ext>
            </a:extLst>
          </p:cNvPr>
          <p:cNvSpPr/>
          <p:nvPr userDrawn="1"/>
        </p:nvSpPr>
        <p:spPr>
          <a:xfrm>
            <a:off x="0" y="0"/>
            <a:ext cx="12192000" cy="6867440"/>
          </a:xfrm>
          <a:prstGeom prst="rect">
            <a:avLst/>
          </a:prstGeom>
          <a:solidFill>
            <a:schemeClr val="bg2">
              <a:alpha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ru-RU" sz="900" dirty="0">
              <a:solidFill>
                <a:schemeClr val="tx1"/>
              </a:solidFill>
              <a:latin typeface="+mj-lt"/>
            </a:endParaRPr>
          </a:p>
        </p:txBody>
      </p:sp>
      <p:pic>
        <p:nvPicPr>
          <p:cNvPr id="8" name="Picture 7" descr="A close up of some leaves&#10;&#10;Description automatically generated with low confidence">
            <a:extLst>
              <a:ext uri="{FF2B5EF4-FFF2-40B4-BE49-F238E27FC236}">
                <a16:creationId xmlns:a16="http://schemas.microsoft.com/office/drawing/2014/main" id="{F21FFD8B-870D-783A-526F-55591683EAF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9340" y="2778187"/>
            <a:ext cx="4442659" cy="4079812"/>
          </a:xfrm>
          <a:prstGeom prst="rect">
            <a:avLst/>
          </a:prstGeom>
        </p:spPr>
      </p:pic>
      <p:sp>
        <p:nvSpPr>
          <p:cNvPr id="79" name="Text Placeholder 73">
            <a:extLst>
              <a:ext uri="{FF2B5EF4-FFF2-40B4-BE49-F238E27FC236}">
                <a16:creationId xmlns:a16="http://schemas.microsoft.com/office/drawing/2014/main" id="{67D18F17-F57F-4CEB-BB5B-8C342ECD484E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04913" y="3383279"/>
            <a:ext cx="5210175" cy="35964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Subtitle (Montserrat 20 point)</a:t>
            </a:r>
          </a:p>
        </p:txBody>
      </p:sp>
      <p:sp>
        <p:nvSpPr>
          <p:cNvPr id="80" name="Text Placeholder 77">
            <a:extLst>
              <a:ext uri="{FF2B5EF4-FFF2-40B4-BE49-F238E27FC236}">
                <a16:creationId xmlns:a16="http://schemas.microsoft.com/office/drawing/2014/main" id="{93E49330-D767-4C9E-B04F-A72E7D737465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04913" y="3822733"/>
            <a:ext cx="5210175" cy="326348"/>
          </a:xfrm>
        </p:spPr>
        <p:txBody>
          <a:bodyPr/>
          <a:lstStyle>
            <a:lvl1pPr marL="0" indent="0">
              <a:buNone/>
              <a:defRPr sz="1600" b="0" i="0" u="none">
                <a:latin typeface="Montserrat Alternates SemiBold" panose="00000700000000000000" pitchFamily="50" charset="-52"/>
              </a:defRPr>
            </a:lvl1pPr>
          </a:lstStyle>
          <a:p>
            <a:pPr>
              <a:lnSpc>
                <a:spcPts val="2400"/>
              </a:lnSpc>
              <a:spcBef>
                <a:spcPts val="0"/>
              </a:spcBef>
              <a:spcAft>
                <a:spcPts val="600"/>
              </a:spcAft>
            </a:pPr>
            <a:r>
              <a:rPr lang="en-IN" b="1">
                <a:solidFill>
                  <a:schemeClr val="bg1"/>
                </a:solidFill>
                <a:latin typeface="Montserrat" pitchFamily="2" charset="77"/>
              </a:rPr>
              <a:t>XX Month 200X (Montserrat bold 16 point)</a:t>
            </a:r>
            <a:endParaRPr lang="en-IN" b="1" dirty="0">
              <a:solidFill>
                <a:schemeClr val="bg1"/>
              </a:solidFill>
              <a:latin typeface="Montserrat" pitchFamily="2" charset="77"/>
            </a:endParaRPr>
          </a:p>
        </p:txBody>
      </p:sp>
      <p:sp>
        <p:nvSpPr>
          <p:cNvPr id="81" name="Title 1">
            <a:extLst>
              <a:ext uri="{FF2B5EF4-FFF2-40B4-BE49-F238E27FC236}">
                <a16:creationId xmlns:a16="http://schemas.microsoft.com/office/drawing/2014/main" id="{70EBF22C-BF39-4628-82BA-80259EFE8F1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05345" y="2155923"/>
            <a:ext cx="7448353" cy="1273077"/>
          </a:xfrm>
        </p:spPr>
        <p:txBody>
          <a:bodyPr/>
          <a:lstStyle>
            <a:lvl1pPr>
              <a:lnSpc>
                <a:spcPts val="4000"/>
              </a:lnSpc>
              <a:defRPr sz="3200" b="1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GB" dirty="0"/>
              <a:t>TITLE CAPS</a:t>
            </a:r>
            <a:br>
              <a:rPr lang="en-GB" dirty="0"/>
            </a:br>
            <a:r>
              <a:rPr lang="en-GB" dirty="0"/>
              <a:t>(MONTSERRAT 32 POINT)</a:t>
            </a: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481572F6-1363-46AE-B5B7-52845F680622}"/>
              </a:ext>
            </a:extLst>
          </p:cNvPr>
          <p:cNvGrpSpPr/>
          <p:nvPr userDrawn="1"/>
        </p:nvGrpSpPr>
        <p:grpSpPr>
          <a:xfrm>
            <a:off x="10346853" y="658368"/>
            <a:ext cx="1319534" cy="970407"/>
            <a:chOff x="10332720" y="658368"/>
            <a:chExt cx="1319534" cy="970407"/>
          </a:xfrm>
        </p:grpSpPr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9E5A113F-EC61-491F-98F8-022866BE5626}"/>
                </a:ext>
              </a:extLst>
            </p:cNvPr>
            <p:cNvGrpSpPr/>
            <p:nvPr userDrawn="1"/>
          </p:nvGrpSpPr>
          <p:grpSpPr>
            <a:xfrm>
              <a:off x="10344154" y="1376363"/>
              <a:ext cx="1308100" cy="252412"/>
              <a:chOff x="10344154" y="1376363"/>
              <a:chExt cx="1308100" cy="252412"/>
            </a:xfrm>
          </p:grpSpPr>
          <p:sp>
            <p:nvSpPr>
              <p:cNvPr id="45" name="Freeform 5">
                <a:extLst>
                  <a:ext uri="{FF2B5EF4-FFF2-40B4-BE49-F238E27FC236}">
                    <a16:creationId xmlns:a16="http://schemas.microsoft.com/office/drawing/2014/main" id="{264E351A-7E7F-4CA0-8757-9EDEE031807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344154" y="1379538"/>
                <a:ext cx="85725" cy="90487"/>
              </a:xfrm>
              <a:custGeom>
                <a:avLst/>
                <a:gdLst>
                  <a:gd name="T0" fmla="*/ 109 w 109"/>
                  <a:gd name="T1" fmla="*/ 0 h 115"/>
                  <a:gd name="T2" fmla="*/ 109 w 109"/>
                  <a:gd name="T3" fmla="*/ 115 h 115"/>
                  <a:gd name="T4" fmla="*/ 77 w 109"/>
                  <a:gd name="T5" fmla="*/ 115 h 115"/>
                  <a:gd name="T6" fmla="*/ 77 w 109"/>
                  <a:gd name="T7" fmla="*/ 69 h 115"/>
                  <a:gd name="T8" fmla="*/ 32 w 109"/>
                  <a:gd name="T9" fmla="*/ 69 h 115"/>
                  <a:gd name="T10" fmla="*/ 32 w 109"/>
                  <a:gd name="T11" fmla="*/ 115 h 115"/>
                  <a:gd name="T12" fmla="*/ 0 w 109"/>
                  <a:gd name="T13" fmla="*/ 115 h 115"/>
                  <a:gd name="T14" fmla="*/ 0 w 109"/>
                  <a:gd name="T15" fmla="*/ 0 h 115"/>
                  <a:gd name="T16" fmla="*/ 32 w 109"/>
                  <a:gd name="T17" fmla="*/ 0 h 115"/>
                  <a:gd name="T18" fmla="*/ 32 w 109"/>
                  <a:gd name="T19" fmla="*/ 43 h 115"/>
                  <a:gd name="T20" fmla="*/ 77 w 109"/>
                  <a:gd name="T21" fmla="*/ 43 h 115"/>
                  <a:gd name="T22" fmla="*/ 77 w 109"/>
                  <a:gd name="T23" fmla="*/ 0 h 115"/>
                  <a:gd name="T24" fmla="*/ 109 w 109"/>
                  <a:gd name="T25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9" h="115">
                    <a:moveTo>
                      <a:pt x="109" y="0"/>
                    </a:moveTo>
                    <a:lnTo>
                      <a:pt x="109" y="115"/>
                    </a:lnTo>
                    <a:lnTo>
                      <a:pt x="77" y="115"/>
                    </a:lnTo>
                    <a:lnTo>
                      <a:pt x="77" y="69"/>
                    </a:lnTo>
                    <a:lnTo>
                      <a:pt x="32" y="69"/>
                    </a:lnTo>
                    <a:lnTo>
                      <a:pt x="3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2" y="0"/>
                    </a:lnTo>
                    <a:lnTo>
                      <a:pt x="32" y="43"/>
                    </a:lnTo>
                    <a:lnTo>
                      <a:pt x="77" y="43"/>
                    </a:lnTo>
                    <a:lnTo>
                      <a:pt x="77" y="0"/>
                    </a:lnTo>
                    <a:lnTo>
                      <a:pt x="109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6">
                <a:extLst>
                  <a:ext uri="{FF2B5EF4-FFF2-40B4-BE49-F238E27FC236}">
                    <a16:creationId xmlns:a16="http://schemas.microsoft.com/office/drawing/2014/main" id="{388590CA-451E-412D-BAB7-FCF27E160A5C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447341" y="1377950"/>
                <a:ext cx="101600" cy="93662"/>
              </a:xfrm>
              <a:custGeom>
                <a:avLst/>
                <a:gdLst>
                  <a:gd name="T0" fmla="*/ 31 w 128"/>
                  <a:gd name="T1" fmla="*/ 112 h 119"/>
                  <a:gd name="T2" fmla="*/ 21 w 128"/>
                  <a:gd name="T3" fmla="*/ 105 h 119"/>
                  <a:gd name="T4" fmla="*/ 6 w 128"/>
                  <a:gd name="T5" fmla="*/ 87 h 119"/>
                  <a:gd name="T6" fmla="*/ 0 w 128"/>
                  <a:gd name="T7" fmla="*/ 65 h 119"/>
                  <a:gd name="T8" fmla="*/ 2 w 128"/>
                  <a:gd name="T9" fmla="*/ 43 h 119"/>
                  <a:gd name="T10" fmla="*/ 6 w 128"/>
                  <a:gd name="T11" fmla="*/ 32 h 119"/>
                  <a:gd name="T12" fmla="*/ 11 w 128"/>
                  <a:gd name="T13" fmla="*/ 24 h 119"/>
                  <a:gd name="T14" fmla="*/ 23 w 128"/>
                  <a:gd name="T15" fmla="*/ 12 h 119"/>
                  <a:gd name="T16" fmla="*/ 31 w 128"/>
                  <a:gd name="T17" fmla="*/ 7 h 119"/>
                  <a:gd name="T18" fmla="*/ 46 w 128"/>
                  <a:gd name="T19" fmla="*/ 2 h 119"/>
                  <a:gd name="T20" fmla="*/ 64 w 128"/>
                  <a:gd name="T21" fmla="*/ 0 h 119"/>
                  <a:gd name="T22" fmla="*/ 81 w 128"/>
                  <a:gd name="T23" fmla="*/ 2 h 119"/>
                  <a:gd name="T24" fmla="*/ 97 w 128"/>
                  <a:gd name="T25" fmla="*/ 7 h 119"/>
                  <a:gd name="T26" fmla="*/ 102 w 128"/>
                  <a:gd name="T27" fmla="*/ 10 h 119"/>
                  <a:gd name="T28" fmla="*/ 115 w 128"/>
                  <a:gd name="T29" fmla="*/ 22 h 119"/>
                  <a:gd name="T30" fmla="*/ 125 w 128"/>
                  <a:gd name="T31" fmla="*/ 42 h 119"/>
                  <a:gd name="T32" fmla="*/ 128 w 128"/>
                  <a:gd name="T33" fmla="*/ 64 h 119"/>
                  <a:gd name="T34" fmla="*/ 124 w 128"/>
                  <a:gd name="T35" fmla="*/ 81 h 119"/>
                  <a:gd name="T36" fmla="*/ 121 w 128"/>
                  <a:gd name="T37" fmla="*/ 86 h 119"/>
                  <a:gd name="T38" fmla="*/ 111 w 128"/>
                  <a:gd name="T39" fmla="*/ 100 h 119"/>
                  <a:gd name="T40" fmla="*/ 97 w 128"/>
                  <a:gd name="T41" fmla="*/ 112 h 119"/>
                  <a:gd name="T42" fmla="*/ 89 w 128"/>
                  <a:gd name="T43" fmla="*/ 115 h 119"/>
                  <a:gd name="T44" fmla="*/ 72 w 128"/>
                  <a:gd name="T45" fmla="*/ 119 h 119"/>
                  <a:gd name="T46" fmla="*/ 55 w 128"/>
                  <a:gd name="T47" fmla="*/ 119 h 119"/>
                  <a:gd name="T48" fmla="*/ 38 w 128"/>
                  <a:gd name="T49" fmla="*/ 115 h 119"/>
                  <a:gd name="T50" fmla="*/ 31 w 128"/>
                  <a:gd name="T51" fmla="*/ 112 h 119"/>
                  <a:gd name="T52" fmla="*/ 80 w 128"/>
                  <a:gd name="T53" fmla="*/ 87 h 119"/>
                  <a:gd name="T54" fmla="*/ 91 w 128"/>
                  <a:gd name="T55" fmla="*/ 76 h 119"/>
                  <a:gd name="T56" fmla="*/ 94 w 128"/>
                  <a:gd name="T57" fmla="*/ 68 h 119"/>
                  <a:gd name="T58" fmla="*/ 94 w 128"/>
                  <a:gd name="T59" fmla="*/ 50 h 119"/>
                  <a:gd name="T60" fmla="*/ 91 w 128"/>
                  <a:gd name="T61" fmla="*/ 42 h 119"/>
                  <a:gd name="T62" fmla="*/ 80 w 128"/>
                  <a:gd name="T63" fmla="*/ 30 h 119"/>
                  <a:gd name="T64" fmla="*/ 72 w 128"/>
                  <a:gd name="T65" fmla="*/ 27 h 119"/>
                  <a:gd name="T66" fmla="*/ 55 w 128"/>
                  <a:gd name="T67" fmla="*/ 27 h 119"/>
                  <a:gd name="T68" fmla="*/ 47 w 128"/>
                  <a:gd name="T69" fmla="*/ 30 h 119"/>
                  <a:gd name="T70" fmla="*/ 36 w 128"/>
                  <a:gd name="T71" fmla="*/ 42 h 119"/>
                  <a:gd name="T72" fmla="*/ 33 w 128"/>
                  <a:gd name="T73" fmla="*/ 50 h 119"/>
                  <a:gd name="T74" fmla="*/ 33 w 128"/>
                  <a:gd name="T75" fmla="*/ 68 h 119"/>
                  <a:gd name="T76" fmla="*/ 36 w 128"/>
                  <a:gd name="T77" fmla="*/ 76 h 119"/>
                  <a:gd name="T78" fmla="*/ 47 w 128"/>
                  <a:gd name="T79" fmla="*/ 87 h 119"/>
                  <a:gd name="T80" fmla="*/ 55 w 128"/>
                  <a:gd name="T81" fmla="*/ 90 h 119"/>
                  <a:gd name="T82" fmla="*/ 72 w 128"/>
                  <a:gd name="T83" fmla="*/ 90 h 119"/>
                  <a:gd name="T84" fmla="*/ 80 w 128"/>
                  <a:gd name="T85" fmla="*/ 87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28" h="119">
                    <a:moveTo>
                      <a:pt x="31" y="112"/>
                    </a:moveTo>
                    <a:lnTo>
                      <a:pt x="31" y="112"/>
                    </a:lnTo>
                    <a:lnTo>
                      <a:pt x="25" y="109"/>
                    </a:lnTo>
                    <a:lnTo>
                      <a:pt x="21" y="105"/>
                    </a:lnTo>
                    <a:lnTo>
                      <a:pt x="13" y="96"/>
                    </a:lnTo>
                    <a:lnTo>
                      <a:pt x="6" y="87"/>
                    </a:lnTo>
                    <a:lnTo>
                      <a:pt x="2" y="76"/>
                    </a:lnTo>
                    <a:lnTo>
                      <a:pt x="0" y="65"/>
                    </a:lnTo>
                    <a:lnTo>
                      <a:pt x="0" y="54"/>
                    </a:lnTo>
                    <a:lnTo>
                      <a:pt x="2" y="43"/>
                    </a:lnTo>
                    <a:lnTo>
                      <a:pt x="4" y="37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11" y="24"/>
                    </a:lnTo>
                    <a:lnTo>
                      <a:pt x="16" y="18"/>
                    </a:lnTo>
                    <a:lnTo>
                      <a:pt x="23" y="12"/>
                    </a:lnTo>
                    <a:lnTo>
                      <a:pt x="31" y="7"/>
                    </a:lnTo>
                    <a:lnTo>
                      <a:pt x="31" y="7"/>
                    </a:lnTo>
                    <a:lnTo>
                      <a:pt x="38" y="4"/>
                    </a:lnTo>
                    <a:lnTo>
                      <a:pt x="46" y="2"/>
                    </a:lnTo>
                    <a:lnTo>
                      <a:pt x="55" y="0"/>
                    </a:lnTo>
                    <a:lnTo>
                      <a:pt x="64" y="0"/>
                    </a:lnTo>
                    <a:lnTo>
                      <a:pt x="72" y="0"/>
                    </a:lnTo>
                    <a:lnTo>
                      <a:pt x="81" y="2"/>
                    </a:lnTo>
                    <a:lnTo>
                      <a:pt x="89" y="4"/>
                    </a:lnTo>
                    <a:lnTo>
                      <a:pt x="97" y="7"/>
                    </a:lnTo>
                    <a:lnTo>
                      <a:pt x="97" y="7"/>
                    </a:lnTo>
                    <a:lnTo>
                      <a:pt x="102" y="10"/>
                    </a:lnTo>
                    <a:lnTo>
                      <a:pt x="106" y="14"/>
                    </a:lnTo>
                    <a:lnTo>
                      <a:pt x="115" y="22"/>
                    </a:lnTo>
                    <a:lnTo>
                      <a:pt x="121" y="31"/>
                    </a:lnTo>
                    <a:lnTo>
                      <a:pt x="125" y="42"/>
                    </a:lnTo>
                    <a:lnTo>
                      <a:pt x="127" y="53"/>
                    </a:lnTo>
                    <a:lnTo>
                      <a:pt x="128" y="64"/>
                    </a:lnTo>
                    <a:lnTo>
                      <a:pt x="125" y="75"/>
                    </a:lnTo>
                    <a:lnTo>
                      <a:pt x="124" y="81"/>
                    </a:lnTo>
                    <a:lnTo>
                      <a:pt x="121" y="86"/>
                    </a:lnTo>
                    <a:lnTo>
                      <a:pt x="121" y="86"/>
                    </a:lnTo>
                    <a:lnTo>
                      <a:pt x="116" y="94"/>
                    </a:lnTo>
                    <a:lnTo>
                      <a:pt x="111" y="100"/>
                    </a:lnTo>
                    <a:lnTo>
                      <a:pt x="104" y="107"/>
                    </a:lnTo>
                    <a:lnTo>
                      <a:pt x="97" y="112"/>
                    </a:lnTo>
                    <a:lnTo>
                      <a:pt x="97" y="112"/>
                    </a:lnTo>
                    <a:lnTo>
                      <a:pt x="89" y="115"/>
                    </a:lnTo>
                    <a:lnTo>
                      <a:pt x="81" y="117"/>
                    </a:lnTo>
                    <a:lnTo>
                      <a:pt x="72" y="119"/>
                    </a:lnTo>
                    <a:lnTo>
                      <a:pt x="64" y="119"/>
                    </a:lnTo>
                    <a:lnTo>
                      <a:pt x="55" y="119"/>
                    </a:lnTo>
                    <a:lnTo>
                      <a:pt x="46" y="117"/>
                    </a:lnTo>
                    <a:lnTo>
                      <a:pt x="38" y="115"/>
                    </a:lnTo>
                    <a:lnTo>
                      <a:pt x="31" y="112"/>
                    </a:lnTo>
                    <a:lnTo>
                      <a:pt x="31" y="112"/>
                    </a:lnTo>
                    <a:close/>
                    <a:moveTo>
                      <a:pt x="80" y="87"/>
                    </a:moveTo>
                    <a:lnTo>
                      <a:pt x="80" y="87"/>
                    </a:lnTo>
                    <a:lnTo>
                      <a:pt x="86" y="82"/>
                    </a:lnTo>
                    <a:lnTo>
                      <a:pt x="91" y="76"/>
                    </a:lnTo>
                    <a:lnTo>
                      <a:pt x="91" y="76"/>
                    </a:lnTo>
                    <a:lnTo>
                      <a:pt x="94" y="68"/>
                    </a:lnTo>
                    <a:lnTo>
                      <a:pt x="95" y="59"/>
                    </a:lnTo>
                    <a:lnTo>
                      <a:pt x="94" y="50"/>
                    </a:lnTo>
                    <a:lnTo>
                      <a:pt x="91" y="42"/>
                    </a:lnTo>
                    <a:lnTo>
                      <a:pt x="91" y="42"/>
                    </a:lnTo>
                    <a:lnTo>
                      <a:pt x="86" y="35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72" y="27"/>
                    </a:lnTo>
                    <a:lnTo>
                      <a:pt x="64" y="26"/>
                    </a:lnTo>
                    <a:lnTo>
                      <a:pt x="55" y="27"/>
                    </a:lnTo>
                    <a:lnTo>
                      <a:pt x="47" y="30"/>
                    </a:lnTo>
                    <a:lnTo>
                      <a:pt x="47" y="30"/>
                    </a:lnTo>
                    <a:lnTo>
                      <a:pt x="41" y="35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3" y="50"/>
                    </a:lnTo>
                    <a:lnTo>
                      <a:pt x="32" y="59"/>
                    </a:lnTo>
                    <a:lnTo>
                      <a:pt x="33" y="68"/>
                    </a:lnTo>
                    <a:lnTo>
                      <a:pt x="36" y="76"/>
                    </a:lnTo>
                    <a:lnTo>
                      <a:pt x="36" y="76"/>
                    </a:lnTo>
                    <a:lnTo>
                      <a:pt x="41" y="82"/>
                    </a:lnTo>
                    <a:lnTo>
                      <a:pt x="47" y="87"/>
                    </a:lnTo>
                    <a:lnTo>
                      <a:pt x="47" y="87"/>
                    </a:lnTo>
                    <a:lnTo>
                      <a:pt x="55" y="90"/>
                    </a:lnTo>
                    <a:lnTo>
                      <a:pt x="64" y="91"/>
                    </a:lnTo>
                    <a:lnTo>
                      <a:pt x="72" y="90"/>
                    </a:lnTo>
                    <a:lnTo>
                      <a:pt x="80" y="87"/>
                    </a:lnTo>
                    <a:lnTo>
                      <a:pt x="80" y="8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7">
                <a:extLst>
                  <a:ext uri="{FF2B5EF4-FFF2-40B4-BE49-F238E27FC236}">
                    <a16:creationId xmlns:a16="http://schemas.microsoft.com/office/drawing/2014/main" id="{299A7879-98B3-4B41-B68B-BDF0DDDFDF0B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564816" y="1379538"/>
                <a:ext cx="84138" cy="90487"/>
              </a:xfrm>
              <a:custGeom>
                <a:avLst/>
                <a:gdLst>
                  <a:gd name="T0" fmla="*/ 99 w 105"/>
                  <a:gd name="T1" fmla="*/ 64 h 115"/>
                  <a:gd name="T2" fmla="*/ 103 w 105"/>
                  <a:gd name="T3" fmla="*/ 72 h 115"/>
                  <a:gd name="T4" fmla="*/ 105 w 105"/>
                  <a:gd name="T5" fmla="*/ 81 h 115"/>
                  <a:gd name="T6" fmla="*/ 104 w 105"/>
                  <a:gd name="T7" fmla="*/ 88 h 115"/>
                  <a:gd name="T8" fmla="*/ 98 w 105"/>
                  <a:gd name="T9" fmla="*/ 101 h 115"/>
                  <a:gd name="T10" fmla="*/ 93 w 105"/>
                  <a:gd name="T11" fmla="*/ 106 h 115"/>
                  <a:gd name="T12" fmla="*/ 77 w 105"/>
                  <a:gd name="T13" fmla="*/ 113 h 115"/>
                  <a:gd name="T14" fmla="*/ 59 w 105"/>
                  <a:gd name="T15" fmla="*/ 115 h 115"/>
                  <a:gd name="T16" fmla="*/ 0 w 105"/>
                  <a:gd name="T17" fmla="*/ 0 h 115"/>
                  <a:gd name="T18" fmla="*/ 56 w 105"/>
                  <a:gd name="T19" fmla="*/ 0 h 115"/>
                  <a:gd name="T20" fmla="*/ 73 w 105"/>
                  <a:gd name="T21" fmla="*/ 2 h 115"/>
                  <a:gd name="T22" fmla="*/ 88 w 105"/>
                  <a:gd name="T23" fmla="*/ 8 h 115"/>
                  <a:gd name="T24" fmla="*/ 93 w 105"/>
                  <a:gd name="T25" fmla="*/ 12 h 115"/>
                  <a:gd name="T26" fmla="*/ 99 w 105"/>
                  <a:gd name="T27" fmla="*/ 23 h 115"/>
                  <a:gd name="T28" fmla="*/ 99 w 105"/>
                  <a:gd name="T29" fmla="*/ 30 h 115"/>
                  <a:gd name="T30" fmla="*/ 95 w 105"/>
                  <a:gd name="T31" fmla="*/ 45 h 115"/>
                  <a:gd name="T32" fmla="*/ 90 w 105"/>
                  <a:gd name="T33" fmla="*/ 50 h 115"/>
                  <a:gd name="T34" fmla="*/ 84 w 105"/>
                  <a:gd name="T35" fmla="*/ 54 h 115"/>
                  <a:gd name="T36" fmla="*/ 92 w 105"/>
                  <a:gd name="T37" fmla="*/ 58 h 115"/>
                  <a:gd name="T38" fmla="*/ 99 w 105"/>
                  <a:gd name="T39" fmla="*/ 64 h 115"/>
                  <a:gd name="T40" fmla="*/ 32 w 105"/>
                  <a:gd name="T41" fmla="*/ 46 h 115"/>
                  <a:gd name="T42" fmla="*/ 53 w 105"/>
                  <a:gd name="T43" fmla="*/ 46 h 115"/>
                  <a:gd name="T44" fmla="*/ 63 w 105"/>
                  <a:gd name="T45" fmla="*/ 43 h 115"/>
                  <a:gd name="T46" fmla="*/ 67 w 105"/>
                  <a:gd name="T47" fmla="*/ 34 h 115"/>
                  <a:gd name="T48" fmla="*/ 66 w 105"/>
                  <a:gd name="T49" fmla="*/ 29 h 115"/>
                  <a:gd name="T50" fmla="*/ 59 w 105"/>
                  <a:gd name="T51" fmla="*/ 24 h 115"/>
                  <a:gd name="T52" fmla="*/ 32 w 105"/>
                  <a:gd name="T53" fmla="*/ 23 h 115"/>
                  <a:gd name="T54" fmla="*/ 72 w 105"/>
                  <a:gd name="T55" fmla="*/ 79 h 115"/>
                  <a:gd name="T56" fmla="*/ 71 w 105"/>
                  <a:gd name="T57" fmla="*/ 74 h 115"/>
                  <a:gd name="T58" fmla="*/ 64 w 105"/>
                  <a:gd name="T59" fmla="*/ 68 h 115"/>
                  <a:gd name="T60" fmla="*/ 32 w 105"/>
                  <a:gd name="T61" fmla="*/ 67 h 115"/>
                  <a:gd name="T62" fmla="*/ 58 w 105"/>
                  <a:gd name="T63" fmla="*/ 91 h 115"/>
                  <a:gd name="T64" fmla="*/ 64 w 105"/>
                  <a:gd name="T65" fmla="*/ 90 h 115"/>
                  <a:gd name="T66" fmla="*/ 71 w 105"/>
                  <a:gd name="T67" fmla="*/ 84 h 115"/>
                  <a:gd name="T68" fmla="*/ 72 w 105"/>
                  <a:gd name="T69" fmla="*/ 79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5" h="115">
                    <a:moveTo>
                      <a:pt x="99" y="64"/>
                    </a:moveTo>
                    <a:lnTo>
                      <a:pt x="99" y="64"/>
                    </a:lnTo>
                    <a:lnTo>
                      <a:pt x="102" y="68"/>
                    </a:lnTo>
                    <a:lnTo>
                      <a:pt x="103" y="72"/>
                    </a:lnTo>
                    <a:lnTo>
                      <a:pt x="104" y="77"/>
                    </a:lnTo>
                    <a:lnTo>
                      <a:pt x="105" y="81"/>
                    </a:lnTo>
                    <a:lnTo>
                      <a:pt x="105" y="81"/>
                    </a:lnTo>
                    <a:lnTo>
                      <a:pt x="104" y="88"/>
                    </a:lnTo>
                    <a:lnTo>
                      <a:pt x="102" y="95"/>
                    </a:lnTo>
                    <a:lnTo>
                      <a:pt x="98" y="101"/>
                    </a:lnTo>
                    <a:lnTo>
                      <a:pt x="93" y="106"/>
                    </a:lnTo>
                    <a:lnTo>
                      <a:pt x="93" y="106"/>
                    </a:lnTo>
                    <a:lnTo>
                      <a:pt x="85" y="110"/>
                    </a:lnTo>
                    <a:lnTo>
                      <a:pt x="77" y="113"/>
                    </a:lnTo>
                    <a:lnTo>
                      <a:pt x="68" y="115"/>
                    </a:lnTo>
                    <a:lnTo>
                      <a:pt x="59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5" y="0"/>
                    </a:lnTo>
                    <a:lnTo>
                      <a:pt x="73" y="2"/>
                    </a:lnTo>
                    <a:lnTo>
                      <a:pt x="81" y="4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93" y="12"/>
                    </a:lnTo>
                    <a:lnTo>
                      <a:pt x="97" y="17"/>
                    </a:lnTo>
                    <a:lnTo>
                      <a:pt x="99" y="23"/>
                    </a:lnTo>
                    <a:lnTo>
                      <a:pt x="99" y="30"/>
                    </a:lnTo>
                    <a:lnTo>
                      <a:pt x="99" y="30"/>
                    </a:lnTo>
                    <a:lnTo>
                      <a:pt x="98" y="37"/>
                    </a:lnTo>
                    <a:lnTo>
                      <a:pt x="95" y="45"/>
                    </a:lnTo>
                    <a:lnTo>
                      <a:pt x="95" y="45"/>
                    </a:lnTo>
                    <a:lnTo>
                      <a:pt x="90" y="50"/>
                    </a:lnTo>
                    <a:lnTo>
                      <a:pt x="84" y="54"/>
                    </a:lnTo>
                    <a:lnTo>
                      <a:pt x="84" y="54"/>
                    </a:lnTo>
                    <a:lnTo>
                      <a:pt x="88" y="56"/>
                    </a:lnTo>
                    <a:lnTo>
                      <a:pt x="92" y="58"/>
                    </a:lnTo>
                    <a:lnTo>
                      <a:pt x="96" y="61"/>
                    </a:lnTo>
                    <a:lnTo>
                      <a:pt x="99" y="64"/>
                    </a:lnTo>
                    <a:lnTo>
                      <a:pt x="99" y="64"/>
                    </a:lnTo>
                    <a:close/>
                    <a:moveTo>
                      <a:pt x="32" y="46"/>
                    </a:moveTo>
                    <a:lnTo>
                      <a:pt x="53" y="46"/>
                    </a:lnTo>
                    <a:lnTo>
                      <a:pt x="53" y="46"/>
                    </a:lnTo>
                    <a:lnTo>
                      <a:pt x="59" y="45"/>
                    </a:lnTo>
                    <a:lnTo>
                      <a:pt x="63" y="43"/>
                    </a:lnTo>
                    <a:lnTo>
                      <a:pt x="66" y="39"/>
                    </a:lnTo>
                    <a:lnTo>
                      <a:pt x="67" y="34"/>
                    </a:lnTo>
                    <a:lnTo>
                      <a:pt x="67" y="34"/>
                    </a:lnTo>
                    <a:lnTo>
                      <a:pt x="66" y="29"/>
                    </a:lnTo>
                    <a:lnTo>
                      <a:pt x="63" y="26"/>
                    </a:lnTo>
                    <a:lnTo>
                      <a:pt x="59" y="24"/>
                    </a:lnTo>
                    <a:lnTo>
                      <a:pt x="53" y="23"/>
                    </a:lnTo>
                    <a:lnTo>
                      <a:pt x="32" y="23"/>
                    </a:lnTo>
                    <a:lnTo>
                      <a:pt x="32" y="46"/>
                    </a:lnTo>
                    <a:close/>
                    <a:moveTo>
                      <a:pt x="72" y="79"/>
                    </a:moveTo>
                    <a:lnTo>
                      <a:pt x="72" y="79"/>
                    </a:lnTo>
                    <a:lnTo>
                      <a:pt x="71" y="74"/>
                    </a:lnTo>
                    <a:lnTo>
                      <a:pt x="69" y="70"/>
                    </a:lnTo>
                    <a:lnTo>
                      <a:pt x="64" y="68"/>
                    </a:lnTo>
                    <a:lnTo>
                      <a:pt x="58" y="67"/>
                    </a:lnTo>
                    <a:lnTo>
                      <a:pt x="32" y="67"/>
                    </a:lnTo>
                    <a:lnTo>
                      <a:pt x="32" y="91"/>
                    </a:lnTo>
                    <a:lnTo>
                      <a:pt x="58" y="91"/>
                    </a:lnTo>
                    <a:lnTo>
                      <a:pt x="58" y="91"/>
                    </a:lnTo>
                    <a:lnTo>
                      <a:pt x="64" y="90"/>
                    </a:lnTo>
                    <a:lnTo>
                      <a:pt x="69" y="88"/>
                    </a:lnTo>
                    <a:lnTo>
                      <a:pt x="71" y="84"/>
                    </a:lnTo>
                    <a:lnTo>
                      <a:pt x="72" y="79"/>
                    </a:lnTo>
                    <a:lnTo>
                      <a:pt x="72" y="7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8">
                <a:extLst>
                  <a:ext uri="{FF2B5EF4-FFF2-40B4-BE49-F238E27FC236}">
                    <a16:creationId xmlns:a16="http://schemas.microsoft.com/office/drawing/2014/main" id="{E62AD5CF-00DC-4BDB-914C-9176FD8DB874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664829" y="1379538"/>
                <a:ext cx="115888" cy="90487"/>
              </a:xfrm>
              <a:custGeom>
                <a:avLst/>
                <a:gdLst>
                  <a:gd name="T0" fmla="*/ 92 w 147"/>
                  <a:gd name="T1" fmla="*/ 46 h 115"/>
                  <a:gd name="T2" fmla="*/ 92 w 147"/>
                  <a:gd name="T3" fmla="*/ 46 h 115"/>
                  <a:gd name="T4" fmla="*/ 97 w 147"/>
                  <a:gd name="T5" fmla="*/ 51 h 115"/>
                  <a:gd name="T6" fmla="*/ 101 w 147"/>
                  <a:gd name="T7" fmla="*/ 58 h 115"/>
                  <a:gd name="T8" fmla="*/ 103 w 147"/>
                  <a:gd name="T9" fmla="*/ 66 h 115"/>
                  <a:gd name="T10" fmla="*/ 103 w 147"/>
                  <a:gd name="T11" fmla="*/ 73 h 115"/>
                  <a:gd name="T12" fmla="*/ 103 w 147"/>
                  <a:gd name="T13" fmla="*/ 73 h 115"/>
                  <a:gd name="T14" fmla="*/ 103 w 147"/>
                  <a:gd name="T15" fmla="*/ 82 h 115"/>
                  <a:gd name="T16" fmla="*/ 100 w 147"/>
                  <a:gd name="T17" fmla="*/ 90 h 115"/>
                  <a:gd name="T18" fmla="*/ 96 w 147"/>
                  <a:gd name="T19" fmla="*/ 97 h 115"/>
                  <a:gd name="T20" fmla="*/ 90 w 147"/>
                  <a:gd name="T21" fmla="*/ 104 h 115"/>
                  <a:gd name="T22" fmla="*/ 90 w 147"/>
                  <a:gd name="T23" fmla="*/ 104 h 115"/>
                  <a:gd name="T24" fmla="*/ 82 w 147"/>
                  <a:gd name="T25" fmla="*/ 109 h 115"/>
                  <a:gd name="T26" fmla="*/ 74 w 147"/>
                  <a:gd name="T27" fmla="*/ 113 h 115"/>
                  <a:gd name="T28" fmla="*/ 65 w 147"/>
                  <a:gd name="T29" fmla="*/ 115 h 115"/>
                  <a:gd name="T30" fmla="*/ 55 w 147"/>
                  <a:gd name="T31" fmla="*/ 115 h 115"/>
                  <a:gd name="T32" fmla="*/ 0 w 147"/>
                  <a:gd name="T33" fmla="*/ 115 h 115"/>
                  <a:gd name="T34" fmla="*/ 0 w 147"/>
                  <a:gd name="T35" fmla="*/ 0 h 115"/>
                  <a:gd name="T36" fmla="*/ 32 w 147"/>
                  <a:gd name="T37" fmla="*/ 0 h 115"/>
                  <a:gd name="T38" fmla="*/ 32 w 147"/>
                  <a:gd name="T39" fmla="*/ 36 h 115"/>
                  <a:gd name="T40" fmla="*/ 59 w 147"/>
                  <a:gd name="T41" fmla="*/ 36 h 115"/>
                  <a:gd name="T42" fmla="*/ 59 w 147"/>
                  <a:gd name="T43" fmla="*/ 36 h 115"/>
                  <a:gd name="T44" fmla="*/ 68 w 147"/>
                  <a:gd name="T45" fmla="*/ 37 h 115"/>
                  <a:gd name="T46" fmla="*/ 76 w 147"/>
                  <a:gd name="T47" fmla="*/ 38 h 115"/>
                  <a:gd name="T48" fmla="*/ 84 w 147"/>
                  <a:gd name="T49" fmla="*/ 41 h 115"/>
                  <a:gd name="T50" fmla="*/ 92 w 147"/>
                  <a:gd name="T51" fmla="*/ 46 h 115"/>
                  <a:gd name="T52" fmla="*/ 92 w 147"/>
                  <a:gd name="T53" fmla="*/ 46 h 115"/>
                  <a:gd name="T54" fmla="*/ 66 w 147"/>
                  <a:gd name="T55" fmla="*/ 86 h 115"/>
                  <a:gd name="T56" fmla="*/ 66 w 147"/>
                  <a:gd name="T57" fmla="*/ 86 h 115"/>
                  <a:gd name="T58" fmla="*/ 68 w 147"/>
                  <a:gd name="T59" fmla="*/ 84 h 115"/>
                  <a:gd name="T60" fmla="*/ 70 w 147"/>
                  <a:gd name="T61" fmla="*/ 81 h 115"/>
                  <a:gd name="T62" fmla="*/ 71 w 147"/>
                  <a:gd name="T63" fmla="*/ 77 h 115"/>
                  <a:gd name="T64" fmla="*/ 71 w 147"/>
                  <a:gd name="T65" fmla="*/ 74 h 115"/>
                  <a:gd name="T66" fmla="*/ 71 w 147"/>
                  <a:gd name="T67" fmla="*/ 74 h 115"/>
                  <a:gd name="T68" fmla="*/ 71 w 147"/>
                  <a:gd name="T69" fmla="*/ 71 h 115"/>
                  <a:gd name="T70" fmla="*/ 70 w 147"/>
                  <a:gd name="T71" fmla="*/ 68 h 115"/>
                  <a:gd name="T72" fmla="*/ 68 w 147"/>
                  <a:gd name="T73" fmla="*/ 65 h 115"/>
                  <a:gd name="T74" fmla="*/ 67 w 147"/>
                  <a:gd name="T75" fmla="*/ 63 h 115"/>
                  <a:gd name="T76" fmla="*/ 64 w 147"/>
                  <a:gd name="T77" fmla="*/ 61 h 115"/>
                  <a:gd name="T78" fmla="*/ 61 w 147"/>
                  <a:gd name="T79" fmla="*/ 60 h 115"/>
                  <a:gd name="T80" fmla="*/ 53 w 147"/>
                  <a:gd name="T81" fmla="*/ 59 h 115"/>
                  <a:gd name="T82" fmla="*/ 32 w 147"/>
                  <a:gd name="T83" fmla="*/ 59 h 115"/>
                  <a:gd name="T84" fmla="*/ 32 w 147"/>
                  <a:gd name="T85" fmla="*/ 91 h 115"/>
                  <a:gd name="T86" fmla="*/ 53 w 147"/>
                  <a:gd name="T87" fmla="*/ 91 h 115"/>
                  <a:gd name="T88" fmla="*/ 53 w 147"/>
                  <a:gd name="T89" fmla="*/ 91 h 115"/>
                  <a:gd name="T90" fmla="*/ 57 w 147"/>
                  <a:gd name="T91" fmla="*/ 91 h 115"/>
                  <a:gd name="T92" fmla="*/ 60 w 147"/>
                  <a:gd name="T93" fmla="*/ 90 h 115"/>
                  <a:gd name="T94" fmla="*/ 63 w 147"/>
                  <a:gd name="T95" fmla="*/ 88 h 115"/>
                  <a:gd name="T96" fmla="*/ 66 w 147"/>
                  <a:gd name="T97" fmla="*/ 86 h 115"/>
                  <a:gd name="T98" fmla="*/ 66 w 147"/>
                  <a:gd name="T99" fmla="*/ 86 h 115"/>
                  <a:gd name="T100" fmla="*/ 116 w 147"/>
                  <a:gd name="T101" fmla="*/ 0 h 115"/>
                  <a:gd name="T102" fmla="*/ 147 w 147"/>
                  <a:gd name="T103" fmla="*/ 0 h 115"/>
                  <a:gd name="T104" fmla="*/ 147 w 147"/>
                  <a:gd name="T105" fmla="*/ 115 h 115"/>
                  <a:gd name="T106" fmla="*/ 116 w 147"/>
                  <a:gd name="T107" fmla="*/ 115 h 115"/>
                  <a:gd name="T108" fmla="*/ 116 w 147"/>
                  <a:gd name="T109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47" h="115">
                    <a:moveTo>
                      <a:pt x="92" y="46"/>
                    </a:moveTo>
                    <a:lnTo>
                      <a:pt x="92" y="46"/>
                    </a:lnTo>
                    <a:lnTo>
                      <a:pt x="97" y="51"/>
                    </a:lnTo>
                    <a:lnTo>
                      <a:pt x="101" y="58"/>
                    </a:lnTo>
                    <a:lnTo>
                      <a:pt x="103" y="66"/>
                    </a:lnTo>
                    <a:lnTo>
                      <a:pt x="103" y="73"/>
                    </a:lnTo>
                    <a:lnTo>
                      <a:pt x="103" y="73"/>
                    </a:lnTo>
                    <a:lnTo>
                      <a:pt x="103" y="82"/>
                    </a:lnTo>
                    <a:lnTo>
                      <a:pt x="100" y="90"/>
                    </a:lnTo>
                    <a:lnTo>
                      <a:pt x="96" y="97"/>
                    </a:lnTo>
                    <a:lnTo>
                      <a:pt x="90" y="104"/>
                    </a:lnTo>
                    <a:lnTo>
                      <a:pt x="90" y="104"/>
                    </a:lnTo>
                    <a:lnTo>
                      <a:pt x="82" y="109"/>
                    </a:lnTo>
                    <a:lnTo>
                      <a:pt x="74" y="113"/>
                    </a:lnTo>
                    <a:lnTo>
                      <a:pt x="65" y="115"/>
                    </a:lnTo>
                    <a:lnTo>
                      <a:pt x="55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2" y="0"/>
                    </a:lnTo>
                    <a:lnTo>
                      <a:pt x="32" y="36"/>
                    </a:lnTo>
                    <a:lnTo>
                      <a:pt x="59" y="36"/>
                    </a:lnTo>
                    <a:lnTo>
                      <a:pt x="59" y="36"/>
                    </a:lnTo>
                    <a:lnTo>
                      <a:pt x="68" y="37"/>
                    </a:lnTo>
                    <a:lnTo>
                      <a:pt x="76" y="38"/>
                    </a:lnTo>
                    <a:lnTo>
                      <a:pt x="84" y="41"/>
                    </a:lnTo>
                    <a:lnTo>
                      <a:pt x="92" y="46"/>
                    </a:lnTo>
                    <a:lnTo>
                      <a:pt x="92" y="46"/>
                    </a:lnTo>
                    <a:close/>
                    <a:moveTo>
                      <a:pt x="66" y="86"/>
                    </a:moveTo>
                    <a:lnTo>
                      <a:pt x="66" y="86"/>
                    </a:lnTo>
                    <a:lnTo>
                      <a:pt x="68" y="84"/>
                    </a:lnTo>
                    <a:lnTo>
                      <a:pt x="70" y="81"/>
                    </a:lnTo>
                    <a:lnTo>
                      <a:pt x="71" y="77"/>
                    </a:lnTo>
                    <a:lnTo>
                      <a:pt x="71" y="74"/>
                    </a:lnTo>
                    <a:lnTo>
                      <a:pt x="71" y="74"/>
                    </a:lnTo>
                    <a:lnTo>
                      <a:pt x="71" y="71"/>
                    </a:lnTo>
                    <a:lnTo>
                      <a:pt x="70" y="68"/>
                    </a:lnTo>
                    <a:lnTo>
                      <a:pt x="68" y="65"/>
                    </a:lnTo>
                    <a:lnTo>
                      <a:pt x="67" y="63"/>
                    </a:lnTo>
                    <a:lnTo>
                      <a:pt x="64" y="61"/>
                    </a:lnTo>
                    <a:lnTo>
                      <a:pt x="61" y="60"/>
                    </a:lnTo>
                    <a:lnTo>
                      <a:pt x="53" y="59"/>
                    </a:lnTo>
                    <a:lnTo>
                      <a:pt x="32" y="59"/>
                    </a:lnTo>
                    <a:lnTo>
                      <a:pt x="32" y="91"/>
                    </a:lnTo>
                    <a:lnTo>
                      <a:pt x="53" y="91"/>
                    </a:lnTo>
                    <a:lnTo>
                      <a:pt x="53" y="91"/>
                    </a:lnTo>
                    <a:lnTo>
                      <a:pt x="57" y="91"/>
                    </a:lnTo>
                    <a:lnTo>
                      <a:pt x="60" y="90"/>
                    </a:lnTo>
                    <a:lnTo>
                      <a:pt x="63" y="88"/>
                    </a:lnTo>
                    <a:lnTo>
                      <a:pt x="66" y="86"/>
                    </a:lnTo>
                    <a:lnTo>
                      <a:pt x="66" y="86"/>
                    </a:lnTo>
                    <a:close/>
                    <a:moveTo>
                      <a:pt x="116" y="0"/>
                    </a:moveTo>
                    <a:lnTo>
                      <a:pt x="147" y="0"/>
                    </a:lnTo>
                    <a:lnTo>
                      <a:pt x="147" y="115"/>
                    </a:lnTo>
                    <a:lnTo>
                      <a:pt x="116" y="115"/>
                    </a:lnTo>
                    <a:lnTo>
                      <a:pt x="116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9">
                <a:extLst>
                  <a:ext uri="{FF2B5EF4-FFF2-40B4-BE49-F238E27FC236}">
                    <a16:creationId xmlns:a16="http://schemas.microsoft.com/office/drawing/2014/main" id="{F76BE1BF-06C4-4560-AF89-39945E2BA55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802941" y="1379538"/>
                <a:ext cx="74613" cy="90487"/>
              </a:xfrm>
              <a:custGeom>
                <a:avLst/>
                <a:gdLst>
                  <a:gd name="T0" fmla="*/ 92 w 92"/>
                  <a:gd name="T1" fmla="*/ 89 h 115"/>
                  <a:gd name="T2" fmla="*/ 92 w 92"/>
                  <a:gd name="T3" fmla="*/ 115 h 115"/>
                  <a:gd name="T4" fmla="*/ 0 w 92"/>
                  <a:gd name="T5" fmla="*/ 115 h 115"/>
                  <a:gd name="T6" fmla="*/ 0 w 92"/>
                  <a:gd name="T7" fmla="*/ 0 h 115"/>
                  <a:gd name="T8" fmla="*/ 90 w 92"/>
                  <a:gd name="T9" fmla="*/ 0 h 115"/>
                  <a:gd name="T10" fmla="*/ 90 w 92"/>
                  <a:gd name="T11" fmla="*/ 25 h 115"/>
                  <a:gd name="T12" fmla="*/ 32 w 92"/>
                  <a:gd name="T13" fmla="*/ 25 h 115"/>
                  <a:gd name="T14" fmla="*/ 32 w 92"/>
                  <a:gd name="T15" fmla="*/ 44 h 115"/>
                  <a:gd name="T16" fmla="*/ 83 w 92"/>
                  <a:gd name="T17" fmla="*/ 44 h 115"/>
                  <a:gd name="T18" fmla="*/ 83 w 92"/>
                  <a:gd name="T19" fmla="*/ 68 h 115"/>
                  <a:gd name="T20" fmla="*/ 32 w 92"/>
                  <a:gd name="T21" fmla="*/ 68 h 115"/>
                  <a:gd name="T22" fmla="*/ 32 w 92"/>
                  <a:gd name="T23" fmla="*/ 89 h 115"/>
                  <a:gd name="T24" fmla="*/ 92 w 92"/>
                  <a:gd name="T25" fmla="*/ 89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2" h="115">
                    <a:moveTo>
                      <a:pt x="92" y="89"/>
                    </a:moveTo>
                    <a:lnTo>
                      <a:pt x="9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25"/>
                    </a:lnTo>
                    <a:lnTo>
                      <a:pt x="32" y="25"/>
                    </a:lnTo>
                    <a:lnTo>
                      <a:pt x="32" y="44"/>
                    </a:lnTo>
                    <a:lnTo>
                      <a:pt x="83" y="44"/>
                    </a:lnTo>
                    <a:lnTo>
                      <a:pt x="83" y="68"/>
                    </a:lnTo>
                    <a:lnTo>
                      <a:pt x="32" y="68"/>
                    </a:lnTo>
                    <a:lnTo>
                      <a:pt x="32" y="89"/>
                    </a:lnTo>
                    <a:lnTo>
                      <a:pt x="92" y="8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10">
                <a:extLst>
                  <a:ext uri="{FF2B5EF4-FFF2-40B4-BE49-F238E27FC236}">
                    <a16:creationId xmlns:a16="http://schemas.microsoft.com/office/drawing/2014/main" id="{B6ACD843-8F59-4409-8D9A-189D0194A624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934704" y="1379538"/>
                <a:ext cx="82550" cy="90487"/>
              </a:xfrm>
              <a:custGeom>
                <a:avLst/>
                <a:gdLst>
                  <a:gd name="T0" fmla="*/ 99 w 105"/>
                  <a:gd name="T1" fmla="*/ 64 h 115"/>
                  <a:gd name="T2" fmla="*/ 104 w 105"/>
                  <a:gd name="T3" fmla="*/ 72 h 115"/>
                  <a:gd name="T4" fmla="*/ 105 w 105"/>
                  <a:gd name="T5" fmla="*/ 81 h 115"/>
                  <a:gd name="T6" fmla="*/ 104 w 105"/>
                  <a:gd name="T7" fmla="*/ 88 h 115"/>
                  <a:gd name="T8" fmla="*/ 98 w 105"/>
                  <a:gd name="T9" fmla="*/ 101 h 115"/>
                  <a:gd name="T10" fmla="*/ 93 w 105"/>
                  <a:gd name="T11" fmla="*/ 106 h 115"/>
                  <a:gd name="T12" fmla="*/ 78 w 105"/>
                  <a:gd name="T13" fmla="*/ 113 h 115"/>
                  <a:gd name="T14" fmla="*/ 58 w 105"/>
                  <a:gd name="T15" fmla="*/ 115 h 115"/>
                  <a:gd name="T16" fmla="*/ 0 w 105"/>
                  <a:gd name="T17" fmla="*/ 0 h 115"/>
                  <a:gd name="T18" fmla="*/ 55 w 105"/>
                  <a:gd name="T19" fmla="*/ 0 h 115"/>
                  <a:gd name="T20" fmla="*/ 72 w 105"/>
                  <a:gd name="T21" fmla="*/ 2 h 115"/>
                  <a:gd name="T22" fmla="*/ 88 w 105"/>
                  <a:gd name="T23" fmla="*/ 8 h 115"/>
                  <a:gd name="T24" fmla="*/ 93 w 105"/>
                  <a:gd name="T25" fmla="*/ 12 h 115"/>
                  <a:gd name="T26" fmla="*/ 99 w 105"/>
                  <a:gd name="T27" fmla="*/ 23 h 115"/>
                  <a:gd name="T28" fmla="*/ 100 w 105"/>
                  <a:gd name="T29" fmla="*/ 30 h 115"/>
                  <a:gd name="T30" fmla="*/ 96 w 105"/>
                  <a:gd name="T31" fmla="*/ 45 h 115"/>
                  <a:gd name="T32" fmla="*/ 91 w 105"/>
                  <a:gd name="T33" fmla="*/ 50 h 115"/>
                  <a:gd name="T34" fmla="*/ 84 w 105"/>
                  <a:gd name="T35" fmla="*/ 54 h 115"/>
                  <a:gd name="T36" fmla="*/ 93 w 105"/>
                  <a:gd name="T37" fmla="*/ 58 h 115"/>
                  <a:gd name="T38" fmla="*/ 99 w 105"/>
                  <a:gd name="T39" fmla="*/ 64 h 115"/>
                  <a:gd name="T40" fmla="*/ 32 w 105"/>
                  <a:gd name="T41" fmla="*/ 46 h 115"/>
                  <a:gd name="T42" fmla="*/ 52 w 105"/>
                  <a:gd name="T43" fmla="*/ 46 h 115"/>
                  <a:gd name="T44" fmla="*/ 63 w 105"/>
                  <a:gd name="T45" fmla="*/ 43 h 115"/>
                  <a:gd name="T46" fmla="*/ 66 w 105"/>
                  <a:gd name="T47" fmla="*/ 34 h 115"/>
                  <a:gd name="T48" fmla="*/ 65 w 105"/>
                  <a:gd name="T49" fmla="*/ 29 h 115"/>
                  <a:gd name="T50" fmla="*/ 58 w 105"/>
                  <a:gd name="T51" fmla="*/ 24 h 115"/>
                  <a:gd name="T52" fmla="*/ 32 w 105"/>
                  <a:gd name="T53" fmla="*/ 23 h 115"/>
                  <a:gd name="T54" fmla="*/ 71 w 105"/>
                  <a:gd name="T55" fmla="*/ 79 h 115"/>
                  <a:gd name="T56" fmla="*/ 70 w 105"/>
                  <a:gd name="T57" fmla="*/ 74 h 115"/>
                  <a:gd name="T58" fmla="*/ 63 w 105"/>
                  <a:gd name="T59" fmla="*/ 68 h 115"/>
                  <a:gd name="T60" fmla="*/ 32 w 105"/>
                  <a:gd name="T61" fmla="*/ 67 h 115"/>
                  <a:gd name="T62" fmla="*/ 57 w 105"/>
                  <a:gd name="T63" fmla="*/ 91 h 115"/>
                  <a:gd name="T64" fmla="*/ 63 w 105"/>
                  <a:gd name="T65" fmla="*/ 90 h 115"/>
                  <a:gd name="T66" fmla="*/ 70 w 105"/>
                  <a:gd name="T67" fmla="*/ 84 h 115"/>
                  <a:gd name="T68" fmla="*/ 71 w 105"/>
                  <a:gd name="T69" fmla="*/ 79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5" h="115">
                    <a:moveTo>
                      <a:pt x="99" y="64"/>
                    </a:moveTo>
                    <a:lnTo>
                      <a:pt x="99" y="64"/>
                    </a:lnTo>
                    <a:lnTo>
                      <a:pt x="102" y="68"/>
                    </a:lnTo>
                    <a:lnTo>
                      <a:pt x="104" y="72"/>
                    </a:lnTo>
                    <a:lnTo>
                      <a:pt x="105" y="77"/>
                    </a:lnTo>
                    <a:lnTo>
                      <a:pt x="105" y="81"/>
                    </a:lnTo>
                    <a:lnTo>
                      <a:pt x="105" y="81"/>
                    </a:lnTo>
                    <a:lnTo>
                      <a:pt x="104" y="88"/>
                    </a:lnTo>
                    <a:lnTo>
                      <a:pt x="102" y="95"/>
                    </a:lnTo>
                    <a:lnTo>
                      <a:pt x="98" y="101"/>
                    </a:lnTo>
                    <a:lnTo>
                      <a:pt x="93" y="106"/>
                    </a:lnTo>
                    <a:lnTo>
                      <a:pt x="93" y="106"/>
                    </a:lnTo>
                    <a:lnTo>
                      <a:pt x="86" y="110"/>
                    </a:lnTo>
                    <a:lnTo>
                      <a:pt x="78" y="113"/>
                    </a:lnTo>
                    <a:lnTo>
                      <a:pt x="69" y="114"/>
                    </a:lnTo>
                    <a:lnTo>
                      <a:pt x="58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55" y="0"/>
                    </a:lnTo>
                    <a:lnTo>
                      <a:pt x="55" y="0"/>
                    </a:lnTo>
                    <a:lnTo>
                      <a:pt x="64" y="0"/>
                    </a:lnTo>
                    <a:lnTo>
                      <a:pt x="72" y="2"/>
                    </a:lnTo>
                    <a:lnTo>
                      <a:pt x="81" y="4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93" y="12"/>
                    </a:lnTo>
                    <a:lnTo>
                      <a:pt x="97" y="17"/>
                    </a:lnTo>
                    <a:lnTo>
                      <a:pt x="99" y="23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99" y="37"/>
                    </a:lnTo>
                    <a:lnTo>
                      <a:pt x="96" y="45"/>
                    </a:lnTo>
                    <a:lnTo>
                      <a:pt x="96" y="45"/>
                    </a:lnTo>
                    <a:lnTo>
                      <a:pt x="91" y="50"/>
                    </a:lnTo>
                    <a:lnTo>
                      <a:pt x="84" y="54"/>
                    </a:lnTo>
                    <a:lnTo>
                      <a:pt x="84" y="54"/>
                    </a:lnTo>
                    <a:lnTo>
                      <a:pt x="88" y="56"/>
                    </a:lnTo>
                    <a:lnTo>
                      <a:pt x="93" y="58"/>
                    </a:lnTo>
                    <a:lnTo>
                      <a:pt x="96" y="61"/>
                    </a:lnTo>
                    <a:lnTo>
                      <a:pt x="99" y="64"/>
                    </a:lnTo>
                    <a:lnTo>
                      <a:pt x="99" y="64"/>
                    </a:lnTo>
                    <a:close/>
                    <a:moveTo>
                      <a:pt x="32" y="46"/>
                    </a:moveTo>
                    <a:lnTo>
                      <a:pt x="52" y="46"/>
                    </a:lnTo>
                    <a:lnTo>
                      <a:pt x="52" y="46"/>
                    </a:lnTo>
                    <a:lnTo>
                      <a:pt x="58" y="45"/>
                    </a:lnTo>
                    <a:lnTo>
                      <a:pt x="63" y="43"/>
                    </a:lnTo>
                    <a:lnTo>
                      <a:pt x="65" y="39"/>
                    </a:lnTo>
                    <a:lnTo>
                      <a:pt x="66" y="34"/>
                    </a:lnTo>
                    <a:lnTo>
                      <a:pt x="66" y="34"/>
                    </a:lnTo>
                    <a:lnTo>
                      <a:pt x="65" y="29"/>
                    </a:lnTo>
                    <a:lnTo>
                      <a:pt x="63" y="26"/>
                    </a:lnTo>
                    <a:lnTo>
                      <a:pt x="58" y="24"/>
                    </a:lnTo>
                    <a:lnTo>
                      <a:pt x="52" y="23"/>
                    </a:lnTo>
                    <a:lnTo>
                      <a:pt x="32" y="23"/>
                    </a:lnTo>
                    <a:lnTo>
                      <a:pt x="32" y="46"/>
                    </a:lnTo>
                    <a:close/>
                    <a:moveTo>
                      <a:pt x="71" y="79"/>
                    </a:moveTo>
                    <a:lnTo>
                      <a:pt x="71" y="79"/>
                    </a:lnTo>
                    <a:lnTo>
                      <a:pt x="70" y="74"/>
                    </a:lnTo>
                    <a:lnTo>
                      <a:pt x="68" y="70"/>
                    </a:lnTo>
                    <a:lnTo>
                      <a:pt x="63" y="68"/>
                    </a:lnTo>
                    <a:lnTo>
                      <a:pt x="57" y="67"/>
                    </a:lnTo>
                    <a:lnTo>
                      <a:pt x="32" y="67"/>
                    </a:lnTo>
                    <a:lnTo>
                      <a:pt x="32" y="91"/>
                    </a:lnTo>
                    <a:lnTo>
                      <a:pt x="57" y="91"/>
                    </a:lnTo>
                    <a:lnTo>
                      <a:pt x="57" y="91"/>
                    </a:lnTo>
                    <a:lnTo>
                      <a:pt x="63" y="90"/>
                    </a:lnTo>
                    <a:lnTo>
                      <a:pt x="68" y="88"/>
                    </a:lnTo>
                    <a:lnTo>
                      <a:pt x="70" y="84"/>
                    </a:lnTo>
                    <a:lnTo>
                      <a:pt x="71" y="79"/>
                    </a:lnTo>
                    <a:lnTo>
                      <a:pt x="71" y="7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11">
                <a:extLst>
                  <a:ext uri="{FF2B5EF4-FFF2-40B4-BE49-F238E27FC236}">
                    <a16:creationId xmlns:a16="http://schemas.microsoft.com/office/drawing/2014/main" id="{C4560669-557F-4269-982A-1AAB50EBAF41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1033129" y="1379538"/>
                <a:ext cx="119063" cy="90487"/>
              </a:xfrm>
              <a:custGeom>
                <a:avLst/>
                <a:gdLst>
                  <a:gd name="T0" fmla="*/ 92 w 148"/>
                  <a:gd name="T1" fmla="*/ 46 h 115"/>
                  <a:gd name="T2" fmla="*/ 92 w 148"/>
                  <a:gd name="T3" fmla="*/ 46 h 115"/>
                  <a:gd name="T4" fmla="*/ 97 w 148"/>
                  <a:gd name="T5" fmla="*/ 51 h 115"/>
                  <a:gd name="T6" fmla="*/ 101 w 148"/>
                  <a:gd name="T7" fmla="*/ 58 h 115"/>
                  <a:gd name="T8" fmla="*/ 103 w 148"/>
                  <a:gd name="T9" fmla="*/ 66 h 115"/>
                  <a:gd name="T10" fmla="*/ 103 w 148"/>
                  <a:gd name="T11" fmla="*/ 73 h 115"/>
                  <a:gd name="T12" fmla="*/ 103 w 148"/>
                  <a:gd name="T13" fmla="*/ 73 h 115"/>
                  <a:gd name="T14" fmla="*/ 103 w 148"/>
                  <a:gd name="T15" fmla="*/ 82 h 115"/>
                  <a:gd name="T16" fmla="*/ 100 w 148"/>
                  <a:gd name="T17" fmla="*/ 90 h 115"/>
                  <a:gd name="T18" fmla="*/ 96 w 148"/>
                  <a:gd name="T19" fmla="*/ 97 h 115"/>
                  <a:gd name="T20" fmla="*/ 91 w 148"/>
                  <a:gd name="T21" fmla="*/ 104 h 115"/>
                  <a:gd name="T22" fmla="*/ 91 w 148"/>
                  <a:gd name="T23" fmla="*/ 104 h 115"/>
                  <a:gd name="T24" fmla="*/ 83 w 148"/>
                  <a:gd name="T25" fmla="*/ 109 h 115"/>
                  <a:gd name="T26" fmla="*/ 73 w 148"/>
                  <a:gd name="T27" fmla="*/ 113 h 115"/>
                  <a:gd name="T28" fmla="*/ 64 w 148"/>
                  <a:gd name="T29" fmla="*/ 115 h 115"/>
                  <a:gd name="T30" fmla="*/ 54 w 148"/>
                  <a:gd name="T31" fmla="*/ 115 h 115"/>
                  <a:gd name="T32" fmla="*/ 0 w 148"/>
                  <a:gd name="T33" fmla="*/ 115 h 115"/>
                  <a:gd name="T34" fmla="*/ 0 w 148"/>
                  <a:gd name="T35" fmla="*/ 0 h 115"/>
                  <a:gd name="T36" fmla="*/ 32 w 148"/>
                  <a:gd name="T37" fmla="*/ 0 h 115"/>
                  <a:gd name="T38" fmla="*/ 32 w 148"/>
                  <a:gd name="T39" fmla="*/ 36 h 115"/>
                  <a:gd name="T40" fmla="*/ 59 w 148"/>
                  <a:gd name="T41" fmla="*/ 36 h 115"/>
                  <a:gd name="T42" fmla="*/ 59 w 148"/>
                  <a:gd name="T43" fmla="*/ 36 h 115"/>
                  <a:gd name="T44" fmla="*/ 67 w 148"/>
                  <a:gd name="T45" fmla="*/ 37 h 115"/>
                  <a:gd name="T46" fmla="*/ 76 w 148"/>
                  <a:gd name="T47" fmla="*/ 38 h 115"/>
                  <a:gd name="T48" fmla="*/ 85 w 148"/>
                  <a:gd name="T49" fmla="*/ 41 h 115"/>
                  <a:gd name="T50" fmla="*/ 92 w 148"/>
                  <a:gd name="T51" fmla="*/ 46 h 115"/>
                  <a:gd name="T52" fmla="*/ 92 w 148"/>
                  <a:gd name="T53" fmla="*/ 46 h 115"/>
                  <a:gd name="T54" fmla="*/ 65 w 148"/>
                  <a:gd name="T55" fmla="*/ 86 h 115"/>
                  <a:gd name="T56" fmla="*/ 65 w 148"/>
                  <a:gd name="T57" fmla="*/ 86 h 115"/>
                  <a:gd name="T58" fmla="*/ 67 w 148"/>
                  <a:gd name="T59" fmla="*/ 84 h 115"/>
                  <a:gd name="T60" fmla="*/ 69 w 148"/>
                  <a:gd name="T61" fmla="*/ 81 h 115"/>
                  <a:gd name="T62" fmla="*/ 70 w 148"/>
                  <a:gd name="T63" fmla="*/ 77 h 115"/>
                  <a:gd name="T64" fmla="*/ 70 w 148"/>
                  <a:gd name="T65" fmla="*/ 74 h 115"/>
                  <a:gd name="T66" fmla="*/ 70 w 148"/>
                  <a:gd name="T67" fmla="*/ 74 h 115"/>
                  <a:gd name="T68" fmla="*/ 70 w 148"/>
                  <a:gd name="T69" fmla="*/ 71 h 115"/>
                  <a:gd name="T70" fmla="*/ 69 w 148"/>
                  <a:gd name="T71" fmla="*/ 68 h 115"/>
                  <a:gd name="T72" fmla="*/ 68 w 148"/>
                  <a:gd name="T73" fmla="*/ 65 h 115"/>
                  <a:gd name="T74" fmla="*/ 66 w 148"/>
                  <a:gd name="T75" fmla="*/ 63 h 115"/>
                  <a:gd name="T76" fmla="*/ 63 w 148"/>
                  <a:gd name="T77" fmla="*/ 61 h 115"/>
                  <a:gd name="T78" fmla="*/ 60 w 148"/>
                  <a:gd name="T79" fmla="*/ 60 h 115"/>
                  <a:gd name="T80" fmla="*/ 52 w 148"/>
                  <a:gd name="T81" fmla="*/ 59 h 115"/>
                  <a:gd name="T82" fmla="*/ 33 w 148"/>
                  <a:gd name="T83" fmla="*/ 59 h 115"/>
                  <a:gd name="T84" fmla="*/ 33 w 148"/>
                  <a:gd name="T85" fmla="*/ 91 h 115"/>
                  <a:gd name="T86" fmla="*/ 52 w 148"/>
                  <a:gd name="T87" fmla="*/ 91 h 115"/>
                  <a:gd name="T88" fmla="*/ 52 w 148"/>
                  <a:gd name="T89" fmla="*/ 91 h 115"/>
                  <a:gd name="T90" fmla="*/ 56 w 148"/>
                  <a:gd name="T91" fmla="*/ 91 h 115"/>
                  <a:gd name="T92" fmla="*/ 59 w 148"/>
                  <a:gd name="T93" fmla="*/ 90 h 115"/>
                  <a:gd name="T94" fmla="*/ 62 w 148"/>
                  <a:gd name="T95" fmla="*/ 88 h 115"/>
                  <a:gd name="T96" fmla="*/ 65 w 148"/>
                  <a:gd name="T97" fmla="*/ 86 h 115"/>
                  <a:gd name="T98" fmla="*/ 65 w 148"/>
                  <a:gd name="T99" fmla="*/ 86 h 115"/>
                  <a:gd name="T100" fmla="*/ 116 w 148"/>
                  <a:gd name="T101" fmla="*/ 0 h 115"/>
                  <a:gd name="T102" fmla="*/ 148 w 148"/>
                  <a:gd name="T103" fmla="*/ 0 h 115"/>
                  <a:gd name="T104" fmla="*/ 148 w 148"/>
                  <a:gd name="T105" fmla="*/ 115 h 115"/>
                  <a:gd name="T106" fmla="*/ 116 w 148"/>
                  <a:gd name="T107" fmla="*/ 115 h 115"/>
                  <a:gd name="T108" fmla="*/ 116 w 148"/>
                  <a:gd name="T109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48" h="115">
                    <a:moveTo>
                      <a:pt x="92" y="46"/>
                    </a:moveTo>
                    <a:lnTo>
                      <a:pt x="92" y="46"/>
                    </a:lnTo>
                    <a:lnTo>
                      <a:pt x="97" y="51"/>
                    </a:lnTo>
                    <a:lnTo>
                      <a:pt x="101" y="58"/>
                    </a:lnTo>
                    <a:lnTo>
                      <a:pt x="103" y="66"/>
                    </a:lnTo>
                    <a:lnTo>
                      <a:pt x="103" y="73"/>
                    </a:lnTo>
                    <a:lnTo>
                      <a:pt x="103" y="73"/>
                    </a:lnTo>
                    <a:lnTo>
                      <a:pt x="103" y="82"/>
                    </a:lnTo>
                    <a:lnTo>
                      <a:pt x="100" y="90"/>
                    </a:lnTo>
                    <a:lnTo>
                      <a:pt x="96" y="97"/>
                    </a:lnTo>
                    <a:lnTo>
                      <a:pt x="91" y="104"/>
                    </a:lnTo>
                    <a:lnTo>
                      <a:pt x="91" y="104"/>
                    </a:lnTo>
                    <a:lnTo>
                      <a:pt x="83" y="109"/>
                    </a:lnTo>
                    <a:lnTo>
                      <a:pt x="73" y="113"/>
                    </a:lnTo>
                    <a:lnTo>
                      <a:pt x="64" y="115"/>
                    </a:lnTo>
                    <a:lnTo>
                      <a:pt x="54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2" y="0"/>
                    </a:lnTo>
                    <a:lnTo>
                      <a:pt x="32" y="36"/>
                    </a:lnTo>
                    <a:lnTo>
                      <a:pt x="59" y="36"/>
                    </a:lnTo>
                    <a:lnTo>
                      <a:pt x="59" y="36"/>
                    </a:lnTo>
                    <a:lnTo>
                      <a:pt x="67" y="37"/>
                    </a:lnTo>
                    <a:lnTo>
                      <a:pt x="76" y="38"/>
                    </a:lnTo>
                    <a:lnTo>
                      <a:pt x="85" y="41"/>
                    </a:lnTo>
                    <a:lnTo>
                      <a:pt x="92" y="46"/>
                    </a:lnTo>
                    <a:lnTo>
                      <a:pt x="92" y="46"/>
                    </a:lnTo>
                    <a:close/>
                    <a:moveTo>
                      <a:pt x="65" y="86"/>
                    </a:moveTo>
                    <a:lnTo>
                      <a:pt x="65" y="86"/>
                    </a:lnTo>
                    <a:lnTo>
                      <a:pt x="67" y="84"/>
                    </a:lnTo>
                    <a:lnTo>
                      <a:pt x="69" y="81"/>
                    </a:lnTo>
                    <a:lnTo>
                      <a:pt x="70" y="77"/>
                    </a:lnTo>
                    <a:lnTo>
                      <a:pt x="70" y="74"/>
                    </a:lnTo>
                    <a:lnTo>
                      <a:pt x="70" y="74"/>
                    </a:lnTo>
                    <a:lnTo>
                      <a:pt x="70" y="71"/>
                    </a:lnTo>
                    <a:lnTo>
                      <a:pt x="69" y="68"/>
                    </a:lnTo>
                    <a:lnTo>
                      <a:pt x="68" y="65"/>
                    </a:lnTo>
                    <a:lnTo>
                      <a:pt x="66" y="63"/>
                    </a:lnTo>
                    <a:lnTo>
                      <a:pt x="63" y="61"/>
                    </a:lnTo>
                    <a:lnTo>
                      <a:pt x="60" y="60"/>
                    </a:lnTo>
                    <a:lnTo>
                      <a:pt x="52" y="59"/>
                    </a:lnTo>
                    <a:lnTo>
                      <a:pt x="33" y="59"/>
                    </a:lnTo>
                    <a:lnTo>
                      <a:pt x="33" y="91"/>
                    </a:lnTo>
                    <a:lnTo>
                      <a:pt x="52" y="91"/>
                    </a:lnTo>
                    <a:lnTo>
                      <a:pt x="52" y="91"/>
                    </a:lnTo>
                    <a:lnTo>
                      <a:pt x="56" y="91"/>
                    </a:lnTo>
                    <a:lnTo>
                      <a:pt x="59" y="90"/>
                    </a:lnTo>
                    <a:lnTo>
                      <a:pt x="62" y="88"/>
                    </a:lnTo>
                    <a:lnTo>
                      <a:pt x="65" y="86"/>
                    </a:lnTo>
                    <a:lnTo>
                      <a:pt x="65" y="86"/>
                    </a:lnTo>
                    <a:close/>
                    <a:moveTo>
                      <a:pt x="116" y="0"/>
                    </a:moveTo>
                    <a:lnTo>
                      <a:pt x="148" y="0"/>
                    </a:lnTo>
                    <a:lnTo>
                      <a:pt x="148" y="115"/>
                    </a:lnTo>
                    <a:lnTo>
                      <a:pt x="116" y="115"/>
                    </a:lnTo>
                    <a:lnTo>
                      <a:pt x="116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12">
                <a:extLst>
                  <a:ext uri="{FF2B5EF4-FFF2-40B4-BE49-F238E27FC236}">
                    <a16:creationId xmlns:a16="http://schemas.microsoft.com/office/drawing/2014/main" id="{2F37DDDC-7831-4B2F-9995-1EA0E84696F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166479" y="1376363"/>
                <a:ext cx="79375" cy="95250"/>
              </a:xfrm>
              <a:custGeom>
                <a:avLst/>
                <a:gdLst>
                  <a:gd name="T0" fmla="*/ 96 w 101"/>
                  <a:gd name="T1" fmla="*/ 68 h 120"/>
                  <a:gd name="T2" fmla="*/ 100 w 101"/>
                  <a:gd name="T3" fmla="*/ 76 h 120"/>
                  <a:gd name="T4" fmla="*/ 101 w 101"/>
                  <a:gd name="T5" fmla="*/ 85 h 120"/>
                  <a:gd name="T6" fmla="*/ 101 w 101"/>
                  <a:gd name="T7" fmla="*/ 90 h 120"/>
                  <a:gd name="T8" fmla="*/ 97 w 101"/>
                  <a:gd name="T9" fmla="*/ 99 h 120"/>
                  <a:gd name="T10" fmla="*/ 94 w 101"/>
                  <a:gd name="T11" fmla="*/ 104 h 120"/>
                  <a:gd name="T12" fmla="*/ 85 w 101"/>
                  <a:gd name="T13" fmla="*/ 111 h 120"/>
                  <a:gd name="T14" fmla="*/ 75 w 101"/>
                  <a:gd name="T15" fmla="*/ 116 h 120"/>
                  <a:gd name="T16" fmla="*/ 61 w 101"/>
                  <a:gd name="T17" fmla="*/ 119 h 120"/>
                  <a:gd name="T18" fmla="*/ 48 w 101"/>
                  <a:gd name="T19" fmla="*/ 120 h 120"/>
                  <a:gd name="T20" fmla="*/ 23 w 101"/>
                  <a:gd name="T21" fmla="*/ 118 h 120"/>
                  <a:gd name="T22" fmla="*/ 12 w 101"/>
                  <a:gd name="T23" fmla="*/ 114 h 120"/>
                  <a:gd name="T24" fmla="*/ 10 w 101"/>
                  <a:gd name="T25" fmla="*/ 86 h 120"/>
                  <a:gd name="T26" fmla="*/ 18 w 101"/>
                  <a:gd name="T27" fmla="*/ 89 h 120"/>
                  <a:gd name="T28" fmla="*/ 26 w 101"/>
                  <a:gd name="T29" fmla="*/ 92 h 120"/>
                  <a:gd name="T30" fmla="*/ 44 w 101"/>
                  <a:gd name="T31" fmla="*/ 94 h 120"/>
                  <a:gd name="T32" fmla="*/ 53 w 101"/>
                  <a:gd name="T33" fmla="*/ 93 h 120"/>
                  <a:gd name="T34" fmla="*/ 62 w 101"/>
                  <a:gd name="T35" fmla="*/ 90 h 120"/>
                  <a:gd name="T36" fmla="*/ 67 w 101"/>
                  <a:gd name="T37" fmla="*/ 86 h 120"/>
                  <a:gd name="T38" fmla="*/ 69 w 101"/>
                  <a:gd name="T39" fmla="*/ 80 h 120"/>
                  <a:gd name="T40" fmla="*/ 68 w 101"/>
                  <a:gd name="T41" fmla="*/ 78 h 120"/>
                  <a:gd name="T42" fmla="*/ 66 w 101"/>
                  <a:gd name="T43" fmla="*/ 74 h 120"/>
                  <a:gd name="T44" fmla="*/ 64 w 101"/>
                  <a:gd name="T45" fmla="*/ 73 h 120"/>
                  <a:gd name="T46" fmla="*/ 53 w 101"/>
                  <a:gd name="T47" fmla="*/ 70 h 120"/>
                  <a:gd name="T48" fmla="*/ 23 w 101"/>
                  <a:gd name="T49" fmla="*/ 47 h 120"/>
                  <a:gd name="T50" fmla="*/ 50 w 101"/>
                  <a:gd name="T51" fmla="*/ 47 h 120"/>
                  <a:gd name="T52" fmla="*/ 60 w 101"/>
                  <a:gd name="T53" fmla="*/ 44 h 120"/>
                  <a:gd name="T54" fmla="*/ 63 w 101"/>
                  <a:gd name="T55" fmla="*/ 41 h 120"/>
                  <a:gd name="T56" fmla="*/ 64 w 101"/>
                  <a:gd name="T57" fmla="*/ 37 h 120"/>
                  <a:gd name="T58" fmla="*/ 62 w 101"/>
                  <a:gd name="T59" fmla="*/ 32 h 120"/>
                  <a:gd name="T60" fmla="*/ 58 w 101"/>
                  <a:gd name="T61" fmla="*/ 29 h 120"/>
                  <a:gd name="T62" fmla="*/ 51 w 101"/>
                  <a:gd name="T63" fmla="*/ 26 h 120"/>
                  <a:gd name="T64" fmla="*/ 44 w 101"/>
                  <a:gd name="T65" fmla="*/ 26 h 120"/>
                  <a:gd name="T66" fmla="*/ 28 w 101"/>
                  <a:gd name="T67" fmla="*/ 28 h 120"/>
                  <a:gd name="T68" fmla="*/ 20 w 101"/>
                  <a:gd name="T69" fmla="*/ 30 h 120"/>
                  <a:gd name="T70" fmla="*/ 3 w 101"/>
                  <a:gd name="T71" fmla="*/ 9 h 120"/>
                  <a:gd name="T72" fmla="*/ 13 w 101"/>
                  <a:gd name="T73" fmla="*/ 5 h 120"/>
                  <a:gd name="T74" fmla="*/ 33 w 101"/>
                  <a:gd name="T75" fmla="*/ 1 h 120"/>
                  <a:gd name="T76" fmla="*/ 44 w 101"/>
                  <a:gd name="T77" fmla="*/ 0 h 120"/>
                  <a:gd name="T78" fmla="*/ 70 w 101"/>
                  <a:gd name="T79" fmla="*/ 4 h 120"/>
                  <a:gd name="T80" fmla="*/ 75 w 101"/>
                  <a:gd name="T81" fmla="*/ 6 h 120"/>
                  <a:gd name="T82" fmla="*/ 85 w 101"/>
                  <a:gd name="T83" fmla="*/ 12 h 120"/>
                  <a:gd name="T84" fmla="*/ 89 w 101"/>
                  <a:gd name="T85" fmla="*/ 16 h 120"/>
                  <a:gd name="T86" fmla="*/ 95 w 101"/>
                  <a:gd name="T87" fmla="*/ 24 h 120"/>
                  <a:gd name="T88" fmla="*/ 96 w 101"/>
                  <a:gd name="T89" fmla="*/ 34 h 120"/>
                  <a:gd name="T90" fmla="*/ 95 w 101"/>
                  <a:gd name="T91" fmla="*/ 41 h 120"/>
                  <a:gd name="T92" fmla="*/ 92 w 101"/>
                  <a:gd name="T93" fmla="*/ 48 h 120"/>
                  <a:gd name="T94" fmla="*/ 81 w 101"/>
                  <a:gd name="T95" fmla="*/ 58 h 120"/>
                  <a:gd name="T96" fmla="*/ 85 w 101"/>
                  <a:gd name="T97" fmla="*/ 59 h 120"/>
                  <a:gd name="T98" fmla="*/ 93 w 101"/>
                  <a:gd name="T99" fmla="*/ 65 h 120"/>
                  <a:gd name="T100" fmla="*/ 96 w 101"/>
                  <a:gd name="T101" fmla="*/ 68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01" h="120">
                    <a:moveTo>
                      <a:pt x="96" y="68"/>
                    </a:moveTo>
                    <a:lnTo>
                      <a:pt x="96" y="68"/>
                    </a:lnTo>
                    <a:lnTo>
                      <a:pt x="98" y="72"/>
                    </a:lnTo>
                    <a:lnTo>
                      <a:pt x="100" y="76"/>
                    </a:lnTo>
                    <a:lnTo>
                      <a:pt x="101" y="80"/>
                    </a:lnTo>
                    <a:lnTo>
                      <a:pt x="101" y="85"/>
                    </a:lnTo>
                    <a:lnTo>
                      <a:pt x="101" y="85"/>
                    </a:lnTo>
                    <a:lnTo>
                      <a:pt x="101" y="90"/>
                    </a:lnTo>
                    <a:lnTo>
                      <a:pt x="99" y="95"/>
                    </a:lnTo>
                    <a:lnTo>
                      <a:pt x="97" y="99"/>
                    </a:lnTo>
                    <a:lnTo>
                      <a:pt x="94" y="104"/>
                    </a:lnTo>
                    <a:lnTo>
                      <a:pt x="94" y="104"/>
                    </a:lnTo>
                    <a:lnTo>
                      <a:pt x="90" y="108"/>
                    </a:lnTo>
                    <a:lnTo>
                      <a:pt x="85" y="111"/>
                    </a:lnTo>
                    <a:lnTo>
                      <a:pt x="80" y="114"/>
                    </a:lnTo>
                    <a:lnTo>
                      <a:pt x="75" y="116"/>
                    </a:lnTo>
                    <a:lnTo>
                      <a:pt x="75" y="116"/>
                    </a:lnTo>
                    <a:lnTo>
                      <a:pt x="61" y="119"/>
                    </a:lnTo>
                    <a:lnTo>
                      <a:pt x="48" y="120"/>
                    </a:lnTo>
                    <a:lnTo>
                      <a:pt x="48" y="120"/>
                    </a:lnTo>
                    <a:lnTo>
                      <a:pt x="35" y="120"/>
                    </a:lnTo>
                    <a:lnTo>
                      <a:pt x="23" y="118"/>
                    </a:lnTo>
                    <a:lnTo>
                      <a:pt x="23" y="118"/>
                    </a:lnTo>
                    <a:lnTo>
                      <a:pt x="12" y="114"/>
                    </a:lnTo>
                    <a:lnTo>
                      <a:pt x="0" y="109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8" y="89"/>
                    </a:lnTo>
                    <a:lnTo>
                      <a:pt x="26" y="92"/>
                    </a:lnTo>
                    <a:lnTo>
                      <a:pt x="26" y="92"/>
                    </a:lnTo>
                    <a:lnTo>
                      <a:pt x="35" y="93"/>
                    </a:lnTo>
                    <a:lnTo>
                      <a:pt x="44" y="94"/>
                    </a:lnTo>
                    <a:lnTo>
                      <a:pt x="44" y="94"/>
                    </a:lnTo>
                    <a:lnTo>
                      <a:pt x="53" y="93"/>
                    </a:lnTo>
                    <a:lnTo>
                      <a:pt x="62" y="90"/>
                    </a:lnTo>
                    <a:lnTo>
                      <a:pt x="62" y="90"/>
                    </a:lnTo>
                    <a:lnTo>
                      <a:pt x="64" y="89"/>
                    </a:lnTo>
                    <a:lnTo>
                      <a:pt x="67" y="86"/>
                    </a:lnTo>
                    <a:lnTo>
                      <a:pt x="68" y="84"/>
                    </a:lnTo>
                    <a:lnTo>
                      <a:pt x="69" y="80"/>
                    </a:lnTo>
                    <a:lnTo>
                      <a:pt x="69" y="80"/>
                    </a:lnTo>
                    <a:lnTo>
                      <a:pt x="68" y="78"/>
                    </a:lnTo>
                    <a:lnTo>
                      <a:pt x="67" y="76"/>
                    </a:lnTo>
                    <a:lnTo>
                      <a:pt x="66" y="74"/>
                    </a:lnTo>
                    <a:lnTo>
                      <a:pt x="64" y="73"/>
                    </a:lnTo>
                    <a:lnTo>
                      <a:pt x="64" y="73"/>
                    </a:lnTo>
                    <a:lnTo>
                      <a:pt x="59" y="71"/>
                    </a:lnTo>
                    <a:lnTo>
                      <a:pt x="53" y="70"/>
                    </a:lnTo>
                    <a:lnTo>
                      <a:pt x="23" y="70"/>
                    </a:lnTo>
                    <a:lnTo>
                      <a:pt x="23" y="47"/>
                    </a:lnTo>
                    <a:lnTo>
                      <a:pt x="50" y="47"/>
                    </a:lnTo>
                    <a:lnTo>
                      <a:pt x="50" y="47"/>
                    </a:lnTo>
                    <a:lnTo>
                      <a:pt x="55" y="46"/>
                    </a:lnTo>
                    <a:lnTo>
                      <a:pt x="60" y="44"/>
                    </a:lnTo>
                    <a:lnTo>
                      <a:pt x="60" y="44"/>
                    </a:lnTo>
                    <a:lnTo>
                      <a:pt x="63" y="41"/>
                    </a:lnTo>
                    <a:lnTo>
                      <a:pt x="64" y="37"/>
                    </a:lnTo>
                    <a:lnTo>
                      <a:pt x="64" y="37"/>
                    </a:lnTo>
                    <a:lnTo>
                      <a:pt x="63" y="35"/>
                    </a:lnTo>
                    <a:lnTo>
                      <a:pt x="62" y="32"/>
                    </a:lnTo>
                    <a:lnTo>
                      <a:pt x="61" y="30"/>
                    </a:lnTo>
                    <a:lnTo>
                      <a:pt x="58" y="29"/>
                    </a:lnTo>
                    <a:lnTo>
                      <a:pt x="58" y="29"/>
                    </a:lnTo>
                    <a:lnTo>
                      <a:pt x="51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35" y="26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0" y="30"/>
                    </a:lnTo>
                    <a:lnTo>
                      <a:pt x="13" y="34"/>
                    </a:lnTo>
                    <a:lnTo>
                      <a:pt x="3" y="9"/>
                    </a:lnTo>
                    <a:lnTo>
                      <a:pt x="3" y="9"/>
                    </a:lnTo>
                    <a:lnTo>
                      <a:pt x="13" y="5"/>
                    </a:lnTo>
                    <a:lnTo>
                      <a:pt x="23" y="2"/>
                    </a:lnTo>
                    <a:lnTo>
                      <a:pt x="33" y="1"/>
                    </a:lnTo>
                    <a:lnTo>
                      <a:pt x="44" y="0"/>
                    </a:lnTo>
                    <a:lnTo>
                      <a:pt x="44" y="0"/>
                    </a:lnTo>
                    <a:lnTo>
                      <a:pt x="57" y="1"/>
                    </a:lnTo>
                    <a:lnTo>
                      <a:pt x="70" y="4"/>
                    </a:lnTo>
                    <a:lnTo>
                      <a:pt x="70" y="4"/>
                    </a:lnTo>
                    <a:lnTo>
                      <a:pt x="75" y="6"/>
                    </a:lnTo>
                    <a:lnTo>
                      <a:pt x="80" y="9"/>
                    </a:lnTo>
                    <a:lnTo>
                      <a:pt x="85" y="12"/>
                    </a:lnTo>
                    <a:lnTo>
                      <a:pt x="89" y="16"/>
                    </a:lnTo>
                    <a:lnTo>
                      <a:pt x="89" y="16"/>
                    </a:lnTo>
                    <a:lnTo>
                      <a:pt x="92" y="20"/>
                    </a:lnTo>
                    <a:lnTo>
                      <a:pt x="95" y="24"/>
                    </a:lnTo>
                    <a:lnTo>
                      <a:pt x="96" y="29"/>
                    </a:lnTo>
                    <a:lnTo>
                      <a:pt x="96" y="34"/>
                    </a:lnTo>
                    <a:lnTo>
                      <a:pt x="96" y="34"/>
                    </a:lnTo>
                    <a:lnTo>
                      <a:pt x="95" y="41"/>
                    </a:lnTo>
                    <a:lnTo>
                      <a:pt x="92" y="48"/>
                    </a:lnTo>
                    <a:lnTo>
                      <a:pt x="92" y="48"/>
                    </a:lnTo>
                    <a:lnTo>
                      <a:pt x="87" y="53"/>
                    </a:lnTo>
                    <a:lnTo>
                      <a:pt x="81" y="58"/>
                    </a:lnTo>
                    <a:lnTo>
                      <a:pt x="81" y="58"/>
                    </a:lnTo>
                    <a:lnTo>
                      <a:pt x="85" y="59"/>
                    </a:lnTo>
                    <a:lnTo>
                      <a:pt x="89" y="62"/>
                    </a:lnTo>
                    <a:lnTo>
                      <a:pt x="93" y="65"/>
                    </a:lnTo>
                    <a:lnTo>
                      <a:pt x="96" y="68"/>
                    </a:lnTo>
                    <a:lnTo>
                      <a:pt x="96" y="6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13">
                <a:extLst>
                  <a:ext uri="{FF2B5EF4-FFF2-40B4-BE49-F238E27FC236}">
                    <a16:creationId xmlns:a16="http://schemas.microsoft.com/office/drawing/2014/main" id="{CA4914F3-EBF0-45FE-AE8B-73A992FCE93F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1256966" y="1377950"/>
                <a:ext cx="101600" cy="93662"/>
              </a:xfrm>
              <a:custGeom>
                <a:avLst/>
                <a:gdLst>
                  <a:gd name="T0" fmla="*/ 31 w 128"/>
                  <a:gd name="T1" fmla="*/ 112 h 119"/>
                  <a:gd name="T2" fmla="*/ 21 w 128"/>
                  <a:gd name="T3" fmla="*/ 105 h 119"/>
                  <a:gd name="T4" fmla="*/ 7 w 128"/>
                  <a:gd name="T5" fmla="*/ 87 h 119"/>
                  <a:gd name="T6" fmla="*/ 0 w 128"/>
                  <a:gd name="T7" fmla="*/ 65 h 119"/>
                  <a:gd name="T8" fmla="*/ 2 w 128"/>
                  <a:gd name="T9" fmla="*/ 43 h 119"/>
                  <a:gd name="T10" fmla="*/ 7 w 128"/>
                  <a:gd name="T11" fmla="*/ 32 h 119"/>
                  <a:gd name="T12" fmla="*/ 11 w 128"/>
                  <a:gd name="T13" fmla="*/ 24 h 119"/>
                  <a:gd name="T14" fmla="*/ 24 w 128"/>
                  <a:gd name="T15" fmla="*/ 12 h 119"/>
                  <a:gd name="T16" fmla="*/ 31 w 128"/>
                  <a:gd name="T17" fmla="*/ 7 h 119"/>
                  <a:gd name="T18" fmla="*/ 47 w 128"/>
                  <a:gd name="T19" fmla="*/ 2 h 119"/>
                  <a:gd name="T20" fmla="*/ 65 w 128"/>
                  <a:gd name="T21" fmla="*/ 0 h 119"/>
                  <a:gd name="T22" fmla="*/ 81 w 128"/>
                  <a:gd name="T23" fmla="*/ 2 h 119"/>
                  <a:gd name="T24" fmla="*/ 97 w 128"/>
                  <a:gd name="T25" fmla="*/ 7 h 119"/>
                  <a:gd name="T26" fmla="*/ 102 w 128"/>
                  <a:gd name="T27" fmla="*/ 10 h 119"/>
                  <a:gd name="T28" fmla="*/ 115 w 128"/>
                  <a:gd name="T29" fmla="*/ 22 h 119"/>
                  <a:gd name="T30" fmla="*/ 126 w 128"/>
                  <a:gd name="T31" fmla="*/ 42 h 119"/>
                  <a:gd name="T32" fmla="*/ 128 w 128"/>
                  <a:gd name="T33" fmla="*/ 64 h 119"/>
                  <a:gd name="T34" fmla="*/ 124 w 128"/>
                  <a:gd name="T35" fmla="*/ 81 h 119"/>
                  <a:gd name="T36" fmla="*/ 122 w 128"/>
                  <a:gd name="T37" fmla="*/ 86 h 119"/>
                  <a:gd name="T38" fmla="*/ 111 w 128"/>
                  <a:gd name="T39" fmla="*/ 100 h 119"/>
                  <a:gd name="T40" fmla="*/ 97 w 128"/>
                  <a:gd name="T41" fmla="*/ 112 h 119"/>
                  <a:gd name="T42" fmla="*/ 89 w 128"/>
                  <a:gd name="T43" fmla="*/ 115 h 119"/>
                  <a:gd name="T44" fmla="*/ 73 w 128"/>
                  <a:gd name="T45" fmla="*/ 119 h 119"/>
                  <a:gd name="T46" fmla="*/ 56 w 128"/>
                  <a:gd name="T47" fmla="*/ 119 h 119"/>
                  <a:gd name="T48" fmla="*/ 39 w 128"/>
                  <a:gd name="T49" fmla="*/ 115 h 119"/>
                  <a:gd name="T50" fmla="*/ 31 w 128"/>
                  <a:gd name="T51" fmla="*/ 112 h 119"/>
                  <a:gd name="T52" fmla="*/ 80 w 128"/>
                  <a:gd name="T53" fmla="*/ 87 h 119"/>
                  <a:gd name="T54" fmla="*/ 91 w 128"/>
                  <a:gd name="T55" fmla="*/ 76 h 119"/>
                  <a:gd name="T56" fmla="*/ 94 w 128"/>
                  <a:gd name="T57" fmla="*/ 68 h 119"/>
                  <a:gd name="T58" fmla="*/ 94 w 128"/>
                  <a:gd name="T59" fmla="*/ 50 h 119"/>
                  <a:gd name="T60" fmla="*/ 91 w 128"/>
                  <a:gd name="T61" fmla="*/ 42 h 119"/>
                  <a:gd name="T62" fmla="*/ 80 w 128"/>
                  <a:gd name="T63" fmla="*/ 30 h 119"/>
                  <a:gd name="T64" fmla="*/ 73 w 128"/>
                  <a:gd name="T65" fmla="*/ 27 h 119"/>
                  <a:gd name="T66" fmla="*/ 57 w 128"/>
                  <a:gd name="T67" fmla="*/ 27 h 119"/>
                  <a:gd name="T68" fmla="*/ 48 w 128"/>
                  <a:gd name="T69" fmla="*/ 30 h 119"/>
                  <a:gd name="T70" fmla="*/ 37 w 128"/>
                  <a:gd name="T71" fmla="*/ 42 h 119"/>
                  <a:gd name="T72" fmla="*/ 34 w 128"/>
                  <a:gd name="T73" fmla="*/ 50 h 119"/>
                  <a:gd name="T74" fmla="*/ 34 w 128"/>
                  <a:gd name="T75" fmla="*/ 68 h 119"/>
                  <a:gd name="T76" fmla="*/ 37 w 128"/>
                  <a:gd name="T77" fmla="*/ 76 h 119"/>
                  <a:gd name="T78" fmla="*/ 48 w 128"/>
                  <a:gd name="T79" fmla="*/ 87 h 119"/>
                  <a:gd name="T80" fmla="*/ 57 w 128"/>
                  <a:gd name="T81" fmla="*/ 90 h 119"/>
                  <a:gd name="T82" fmla="*/ 73 w 128"/>
                  <a:gd name="T83" fmla="*/ 90 h 119"/>
                  <a:gd name="T84" fmla="*/ 80 w 128"/>
                  <a:gd name="T85" fmla="*/ 87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28" h="119">
                    <a:moveTo>
                      <a:pt x="31" y="112"/>
                    </a:moveTo>
                    <a:lnTo>
                      <a:pt x="31" y="112"/>
                    </a:lnTo>
                    <a:lnTo>
                      <a:pt x="26" y="109"/>
                    </a:lnTo>
                    <a:lnTo>
                      <a:pt x="21" y="105"/>
                    </a:lnTo>
                    <a:lnTo>
                      <a:pt x="13" y="96"/>
                    </a:lnTo>
                    <a:lnTo>
                      <a:pt x="7" y="87"/>
                    </a:lnTo>
                    <a:lnTo>
                      <a:pt x="3" y="76"/>
                    </a:lnTo>
                    <a:lnTo>
                      <a:pt x="0" y="65"/>
                    </a:lnTo>
                    <a:lnTo>
                      <a:pt x="0" y="54"/>
                    </a:lnTo>
                    <a:lnTo>
                      <a:pt x="2" y="43"/>
                    </a:lnTo>
                    <a:lnTo>
                      <a:pt x="4" y="37"/>
                    </a:lnTo>
                    <a:lnTo>
                      <a:pt x="7" y="32"/>
                    </a:lnTo>
                    <a:lnTo>
                      <a:pt x="7" y="32"/>
                    </a:lnTo>
                    <a:lnTo>
                      <a:pt x="11" y="24"/>
                    </a:lnTo>
                    <a:lnTo>
                      <a:pt x="17" y="18"/>
                    </a:lnTo>
                    <a:lnTo>
                      <a:pt x="24" y="12"/>
                    </a:lnTo>
                    <a:lnTo>
                      <a:pt x="31" y="7"/>
                    </a:lnTo>
                    <a:lnTo>
                      <a:pt x="31" y="7"/>
                    </a:lnTo>
                    <a:lnTo>
                      <a:pt x="39" y="4"/>
                    </a:lnTo>
                    <a:lnTo>
                      <a:pt x="47" y="2"/>
                    </a:lnTo>
                    <a:lnTo>
                      <a:pt x="56" y="0"/>
                    </a:lnTo>
                    <a:lnTo>
                      <a:pt x="65" y="0"/>
                    </a:lnTo>
                    <a:lnTo>
                      <a:pt x="73" y="0"/>
                    </a:lnTo>
                    <a:lnTo>
                      <a:pt x="81" y="2"/>
                    </a:lnTo>
                    <a:lnTo>
                      <a:pt x="89" y="4"/>
                    </a:lnTo>
                    <a:lnTo>
                      <a:pt x="97" y="7"/>
                    </a:lnTo>
                    <a:lnTo>
                      <a:pt x="97" y="7"/>
                    </a:lnTo>
                    <a:lnTo>
                      <a:pt x="102" y="10"/>
                    </a:lnTo>
                    <a:lnTo>
                      <a:pt x="107" y="14"/>
                    </a:lnTo>
                    <a:lnTo>
                      <a:pt x="115" y="22"/>
                    </a:lnTo>
                    <a:lnTo>
                      <a:pt x="121" y="31"/>
                    </a:lnTo>
                    <a:lnTo>
                      <a:pt x="126" y="42"/>
                    </a:lnTo>
                    <a:lnTo>
                      <a:pt x="128" y="53"/>
                    </a:lnTo>
                    <a:lnTo>
                      <a:pt x="128" y="64"/>
                    </a:lnTo>
                    <a:lnTo>
                      <a:pt x="126" y="75"/>
                    </a:lnTo>
                    <a:lnTo>
                      <a:pt x="124" y="81"/>
                    </a:lnTo>
                    <a:lnTo>
                      <a:pt x="122" y="86"/>
                    </a:lnTo>
                    <a:lnTo>
                      <a:pt x="122" y="86"/>
                    </a:lnTo>
                    <a:lnTo>
                      <a:pt x="117" y="94"/>
                    </a:lnTo>
                    <a:lnTo>
                      <a:pt x="111" y="100"/>
                    </a:lnTo>
                    <a:lnTo>
                      <a:pt x="105" y="107"/>
                    </a:lnTo>
                    <a:lnTo>
                      <a:pt x="97" y="112"/>
                    </a:lnTo>
                    <a:lnTo>
                      <a:pt x="97" y="112"/>
                    </a:lnTo>
                    <a:lnTo>
                      <a:pt x="89" y="115"/>
                    </a:lnTo>
                    <a:lnTo>
                      <a:pt x="81" y="117"/>
                    </a:lnTo>
                    <a:lnTo>
                      <a:pt x="73" y="119"/>
                    </a:lnTo>
                    <a:lnTo>
                      <a:pt x="65" y="119"/>
                    </a:lnTo>
                    <a:lnTo>
                      <a:pt x="56" y="119"/>
                    </a:lnTo>
                    <a:lnTo>
                      <a:pt x="47" y="117"/>
                    </a:lnTo>
                    <a:lnTo>
                      <a:pt x="39" y="115"/>
                    </a:lnTo>
                    <a:lnTo>
                      <a:pt x="31" y="112"/>
                    </a:lnTo>
                    <a:lnTo>
                      <a:pt x="31" y="112"/>
                    </a:lnTo>
                    <a:close/>
                    <a:moveTo>
                      <a:pt x="80" y="87"/>
                    </a:moveTo>
                    <a:lnTo>
                      <a:pt x="80" y="87"/>
                    </a:lnTo>
                    <a:lnTo>
                      <a:pt x="87" y="82"/>
                    </a:lnTo>
                    <a:lnTo>
                      <a:pt x="91" y="76"/>
                    </a:lnTo>
                    <a:lnTo>
                      <a:pt x="91" y="76"/>
                    </a:lnTo>
                    <a:lnTo>
                      <a:pt x="94" y="68"/>
                    </a:lnTo>
                    <a:lnTo>
                      <a:pt x="96" y="59"/>
                    </a:lnTo>
                    <a:lnTo>
                      <a:pt x="94" y="50"/>
                    </a:lnTo>
                    <a:lnTo>
                      <a:pt x="91" y="42"/>
                    </a:lnTo>
                    <a:lnTo>
                      <a:pt x="91" y="42"/>
                    </a:lnTo>
                    <a:lnTo>
                      <a:pt x="87" y="35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73" y="27"/>
                    </a:lnTo>
                    <a:lnTo>
                      <a:pt x="65" y="26"/>
                    </a:lnTo>
                    <a:lnTo>
                      <a:pt x="57" y="27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2" y="35"/>
                    </a:lnTo>
                    <a:lnTo>
                      <a:pt x="37" y="42"/>
                    </a:lnTo>
                    <a:lnTo>
                      <a:pt x="37" y="42"/>
                    </a:lnTo>
                    <a:lnTo>
                      <a:pt x="34" y="50"/>
                    </a:lnTo>
                    <a:lnTo>
                      <a:pt x="33" y="59"/>
                    </a:lnTo>
                    <a:lnTo>
                      <a:pt x="34" y="68"/>
                    </a:lnTo>
                    <a:lnTo>
                      <a:pt x="37" y="76"/>
                    </a:lnTo>
                    <a:lnTo>
                      <a:pt x="37" y="76"/>
                    </a:lnTo>
                    <a:lnTo>
                      <a:pt x="42" y="82"/>
                    </a:lnTo>
                    <a:lnTo>
                      <a:pt x="48" y="87"/>
                    </a:lnTo>
                    <a:lnTo>
                      <a:pt x="48" y="87"/>
                    </a:lnTo>
                    <a:lnTo>
                      <a:pt x="57" y="90"/>
                    </a:lnTo>
                    <a:lnTo>
                      <a:pt x="65" y="91"/>
                    </a:lnTo>
                    <a:lnTo>
                      <a:pt x="73" y="90"/>
                    </a:lnTo>
                    <a:lnTo>
                      <a:pt x="80" y="87"/>
                    </a:lnTo>
                    <a:lnTo>
                      <a:pt x="80" y="8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14">
                <a:extLst>
                  <a:ext uri="{FF2B5EF4-FFF2-40B4-BE49-F238E27FC236}">
                    <a16:creationId xmlns:a16="http://schemas.microsoft.com/office/drawing/2014/main" id="{9592C985-F21E-45C7-8034-CE235D60594E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1374441" y="1379538"/>
                <a:ext cx="82550" cy="90487"/>
              </a:xfrm>
              <a:custGeom>
                <a:avLst/>
                <a:gdLst>
                  <a:gd name="T0" fmla="*/ 99 w 104"/>
                  <a:gd name="T1" fmla="*/ 64 h 115"/>
                  <a:gd name="T2" fmla="*/ 103 w 104"/>
                  <a:gd name="T3" fmla="*/ 72 h 115"/>
                  <a:gd name="T4" fmla="*/ 104 w 104"/>
                  <a:gd name="T5" fmla="*/ 81 h 115"/>
                  <a:gd name="T6" fmla="*/ 104 w 104"/>
                  <a:gd name="T7" fmla="*/ 88 h 115"/>
                  <a:gd name="T8" fmla="*/ 98 w 104"/>
                  <a:gd name="T9" fmla="*/ 101 h 115"/>
                  <a:gd name="T10" fmla="*/ 92 w 104"/>
                  <a:gd name="T11" fmla="*/ 106 h 115"/>
                  <a:gd name="T12" fmla="*/ 78 w 104"/>
                  <a:gd name="T13" fmla="*/ 113 h 115"/>
                  <a:gd name="T14" fmla="*/ 59 w 104"/>
                  <a:gd name="T15" fmla="*/ 115 h 115"/>
                  <a:gd name="T16" fmla="*/ 0 w 104"/>
                  <a:gd name="T17" fmla="*/ 0 h 115"/>
                  <a:gd name="T18" fmla="*/ 56 w 104"/>
                  <a:gd name="T19" fmla="*/ 0 h 115"/>
                  <a:gd name="T20" fmla="*/ 72 w 104"/>
                  <a:gd name="T21" fmla="*/ 2 h 115"/>
                  <a:gd name="T22" fmla="*/ 88 w 104"/>
                  <a:gd name="T23" fmla="*/ 8 h 115"/>
                  <a:gd name="T24" fmla="*/ 93 w 104"/>
                  <a:gd name="T25" fmla="*/ 12 h 115"/>
                  <a:gd name="T26" fmla="*/ 99 w 104"/>
                  <a:gd name="T27" fmla="*/ 23 h 115"/>
                  <a:gd name="T28" fmla="*/ 99 w 104"/>
                  <a:gd name="T29" fmla="*/ 30 h 115"/>
                  <a:gd name="T30" fmla="*/ 95 w 104"/>
                  <a:gd name="T31" fmla="*/ 45 h 115"/>
                  <a:gd name="T32" fmla="*/ 90 w 104"/>
                  <a:gd name="T33" fmla="*/ 50 h 115"/>
                  <a:gd name="T34" fmla="*/ 84 w 104"/>
                  <a:gd name="T35" fmla="*/ 54 h 115"/>
                  <a:gd name="T36" fmla="*/ 92 w 104"/>
                  <a:gd name="T37" fmla="*/ 58 h 115"/>
                  <a:gd name="T38" fmla="*/ 99 w 104"/>
                  <a:gd name="T39" fmla="*/ 64 h 115"/>
                  <a:gd name="T40" fmla="*/ 31 w 104"/>
                  <a:gd name="T41" fmla="*/ 46 h 115"/>
                  <a:gd name="T42" fmla="*/ 53 w 104"/>
                  <a:gd name="T43" fmla="*/ 46 h 115"/>
                  <a:gd name="T44" fmla="*/ 63 w 104"/>
                  <a:gd name="T45" fmla="*/ 43 h 115"/>
                  <a:gd name="T46" fmla="*/ 67 w 104"/>
                  <a:gd name="T47" fmla="*/ 34 h 115"/>
                  <a:gd name="T48" fmla="*/ 66 w 104"/>
                  <a:gd name="T49" fmla="*/ 29 h 115"/>
                  <a:gd name="T50" fmla="*/ 59 w 104"/>
                  <a:gd name="T51" fmla="*/ 24 h 115"/>
                  <a:gd name="T52" fmla="*/ 31 w 104"/>
                  <a:gd name="T53" fmla="*/ 23 h 115"/>
                  <a:gd name="T54" fmla="*/ 72 w 104"/>
                  <a:gd name="T55" fmla="*/ 79 h 115"/>
                  <a:gd name="T56" fmla="*/ 71 w 104"/>
                  <a:gd name="T57" fmla="*/ 74 h 115"/>
                  <a:gd name="T58" fmla="*/ 64 w 104"/>
                  <a:gd name="T59" fmla="*/ 68 h 115"/>
                  <a:gd name="T60" fmla="*/ 32 w 104"/>
                  <a:gd name="T61" fmla="*/ 67 h 115"/>
                  <a:gd name="T62" fmla="*/ 58 w 104"/>
                  <a:gd name="T63" fmla="*/ 91 h 115"/>
                  <a:gd name="T64" fmla="*/ 64 w 104"/>
                  <a:gd name="T65" fmla="*/ 90 h 115"/>
                  <a:gd name="T66" fmla="*/ 71 w 104"/>
                  <a:gd name="T67" fmla="*/ 84 h 115"/>
                  <a:gd name="T68" fmla="*/ 72 w 104"/>
                  <a:gd name="T69" fmla="*/ 79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4" h="115">
                    <a:moveTo>
                      <a:pt x="99" y="64"/>
                    </a:moveTo>
                    <a:lnTo>
                      <a:pt x="99" y="64"/>
                    </a:lnTo>
                    <a:lnTo>
                      <a:pt x="101" y="68"/>
                    </a:lnTo>
                    <a:lnTo>
                      <a:pt x="103" y="72"/>
                    </a:lnTo>
                    <a:lnTo>
                      <a:pt x="104" y="77"/>
                    </a:lnTo>
                    <a:lnTo>
                      <a:pt x="104" y="81"/>
                    </a:lnTo>
                    <a:lnTo>
                      <a:pt x="104" y="81"/>
                    </a:lnTo>
                    <a:lnTo>
                      <a:pt x="104" y="88"/>
                    </a:lnTo>
                    <a:lnTo>
                      <a:pt x="101" y="95"/>
                    </a:lnTo>
                    <a:lnTo>
                      <a:pt x="98" y="101"/>
                    </a:lnTo>
                    <a:lnTo>
                      <a:pt x="92" y="106"/>
                    </a:lnTo>
                    <a:lnTo>
                      <a:pt x="92" y="106"/>
                    </a:lnTo>
                    <a:lnTo>
                      <a:pt x="86" y="110"/>
                    </a:lnTo>
                    <a:lnTo>
                      <a:pt x="78" y="113"/>
                    </a:lnTo>
                    <a:lnTo>
                      <a:pt x="69" y="114"/>
                    </a:lnTo>
                    <a:lnTo>
                      <a:pt x="59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4" y="0"/>
                    </a:lnTo>
                    <a:lnTo>
                      <a:pt x="72" y="2"/>
                    </a:lnTo>
                    <a:lnTo>
                      <a:pt x="80" y="4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93" y="12"/>
                    </a:lnTo>
                    <a:lnTo>
                      <a:pt x="96" y="17"/>
                    </a:lnTo>
                    <a:lnTo>
                      <a:pt x="99" y="23"/>
                    </a:lnTo>
                    <a:lnTo>
                      <a:pt x="99" y="30"/>
                    </a:lnTo>
                    <a:lnTo>
                      <a:pt x="99" y="30"/>
                    </a:lnTo>
                    <a:lnTo>
                      <a:pt x="98" y="37"/>
                    </a:lnTo>
                    <a:lnTo>
                      <a:pt x="95" y="45"/>
                    </a:lnTo>
                    <a:lnTo>
                      <a:pt x="95" y="45"/>
                    </a:lnTo>
                    <a:lnTo>
                      <a:pt x="90" y="50"/>
                    </a:lnTo>
                    <a:lnTo>
                      <a:pt x="84" y="54"/>
                    </a:lnTo>
                    <a:lnTo>
                      <a:pt x="84" y="54"/>
                    </a:lnTo>
                    <a:lnTo>
                      <a:pt x="88" y="56"/>
                    </a:lnTo>
                    <a:lnTo>
                      <a:pt x="92" y="58"/>
                    </a:lnTo>
                    <a:lnTo>
                      <a:pt x="96" y="61"/>
                    </a:lnTo>
                    <a:lnTo>
                      <a:pt x="99" y="64"/>
                    </a:lnTo>
                    <a:lnTo>
                      <a:pt x="99" y="64"/>
                    </a:lnTo>
                    <a:close/>
                    <a:moveTo>
                      <a:pt x="31" y="46"/>
                    </a:moveTo>
                    <a:lnTo>
                      <a:pt x="53" y="46"/>
                    </a:lnTo>
                    <a:lnTo>
                      <a:pt x="53" y="46"/>
                    </a:lnTo>
                    <a:lnTo>
                      <a:pt x="59" y="45"/>
                    </a:lnTo>
                    <a:lnTo>
                      <a:pt x="63" y="43"/>
                    </a:lnTo>
                    <a:lnTo>
                      <a:pt x="66" y="39"/>
                    </a:lnTo>
                    <a:lnTo>
                      <a:pt x="67" y="34"/>
                    </a:lnTo>
                    <a:lnTo>
                      <a:pt x="67" y="34"/>
                    </a:lnTo>
                    <a:lnTo>
                      <a:pt x="66" y="29"/>
                    </a:lnTo>
                    <a:lnTo>
                      <a:pt x="63" y="26"/>
                    </a:lnTo>
                    <a:lnTo>
                      <a:pt x="59" y="24"/>
                    </a:lnTo>
                    <a:lnTo>
                      <a:pt x="53" y="23"/>
                    </a:lnTo>
                    <a:lnTo>
                      <a:pt x="31" y="23"/>
                    </a:lnTo>
                    <a:lnTo>
                      <a:pt x="31" y="46"/>
                    </a:lnTo>
                    <a:close/>
                    <a:moveTo>
                      <a:pt x="72" y="79"/>
                    </a:moveTo>
                    <a:lnTo>
                      <a:pt x="72" y="79"/>
                    </a:lnTo>
                    <a:lnTo>
                      <a:pt x="71" y="74"/>
                    </a:lnTo>
                    <a:lnTo>
                      <a:pt x="68" y="70"/>
                    </a:lnTo>
                    <a:lnTo>
                      <a:pt x="64" y="68"/>
                    </a:lnTo>
                    <a:lnTo>
                      <a:pt x="58" y="67"/>
                    </a:lnTo>
                    <a:lnTo>
                      <a:pt x="32" y="67"/>
                    </a:lnTo>
                    <a:lnTo>
                      <a:pt x="32" y="91"/>
                    </a:lnTo>
                    <a:lnTo>
                      <a:pt x="58" y="91"/>
                    </a:lnTo>
                    <a:lnTo>
                      <a:pt x="58" y="91"/>
                    </a:lnTo>
                    <a:lnTo>
                      <a:pt x="64" y="90"/>
                    </a:lnTo>
                    <a:lnTo>
                      <a:pt x="68" y="88"/>
                    </a:lnTo>
                    <a:lnTo>
                      <a:pt x="71" y="84"/>
                    </a:lnTo>
                    <a:lnTo>
                      <a:pt x="72" y="79"/>
                    </a:lnTo>
                    <a:lnTo>
                      <a:pt x="72" y="7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15">
                <a:extLst>
                  <a:ext uri="{FF2B5EF4-FFF2-40B4-BE49-F238E27FC236}">
                    <a16:creationId xmlns:a16="http://schemas.microsoft.com/office/drawing/2014/main" id="{9EB7B528-3D57-4B27-82CE-4B4CD21117BB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1474454" y="1379538"/>
                <a:ext cx="115888" cy="90487"/>
              </a:xfrm>
              <a:custGeom>
                <a:avLst/>
                <a:gdLst>
                  <a:gd name="T0" fmla="*/ 91 w 147"/>
                  <a:gd name="T1" fmla="*/ 46 h 115"/>
                  <a:gd name="T2" fmla="*/ 91 w 147"/>
                  <a:gd name="T3" fmla="*/ 46 h 115"/>
                  <a:gd name="T4" fmla="*/ 97 w 147"/>
                  <a:gd name="T5" fmla="*/ 51 h 115"/>
                  <a:gd name="T6" fmla="*/ 100 w 147"/>
                  <a:gd name="T7" fmla="*/ 58 h 115"/>
                  <a:gd name="T8" fmla="*/ 103 w 147"/>
                  <a:gd name="T9" fmla="*/ 66 h 115"/>
                  <a:gd name="T10" fmla="*/ 103 w 147"/>
                  <a:gd name="T11" fmla="*/ 73 h 115"/>
                  <a:gd name="T12" fmla="*/ 103 w 147"/>
                  <a:gd name="T13" fmla="*/ 73 h 115"/>
                  <a:gd name="T14" fmla="*/ 102 w 147"/>
                  <a:gd name="T15" fmla="*/ 82 h 115"/>
                  <a:gd name="T16" fmla="*/ 100 w 147"/>
                  <a:gd name="T17" fmla="*/ 90 h 115"/>
                  <a:gd name="T18" fmla="*/ 96 w 147"/>
                  <a:gd name="T19" fmla="*/ 97 h 115"/>
                  <a:gd name="T20" fmla="*/ 90 w 147"/>
                  <a:gd name="T21" fmla="*/ 104 h 115"/>
                  <a:gd name="T22" fmla="*/ 90 w 147"/>
                  <a:gd name="T23" fmla="*/ 104 h 115"/>
                  <a:gd name="T24" fmla="*/ 82 w 147"/>
                  <a:gd name="T25" fmla="*/ 109 h 115"/>
                  <a:gd name="T26" fmla="*/ 73 w 147"/>
                  <a:gd name="T27" fmla="*/ 113 h 115"/>
                  <a:gd name="T28" fmla="*/ 64 w 147"/>
                  <a:gd name="T29" fmla="*/ 115 h 115"/>
                  <a:gd name="T30" fmla="*/ 55 w 147"/>
                  <a:gd name="T31" fmla="*/ 115 h 115"/>
                  <a:gd name="T32" fmla="*/ 0 w 147"/>
                  <a:gd name="T33" fmla="*/ 115 h 115"/>
                  <a:gd name="T34" fmla="*/ 0 w 147"/>
                  <a:gd name="T35" fmla="*/ 0 h 115"/>
                  <a:gd name="T36" fmla="*/ 32 w 147"/>
                  <a:gd name="T37" fmla="*/ 0 h 115"/>
                  <a:gd name="T38" fmla="*/ 32 w 147"/>
                  <a:gd name="T39" fmla="*/ 36 h 115"/>
                  <a:gd name="T40" fmla="*/ 59 w 147"/>
                  <a:gd name="T41" fmla="*/ 36 h 115"/>
                  <a:gd name="T42" fmla="*/ 59 w 147"/>
                  <a:gd name="T43" fmla="*/ 36 h 115"/>
                  <a:gd name="T44" fmla="*/ 68 w 147"/>
                  <a:gd name="T45" fmla="*/ 37 h 115"/>
                  <a:gd name="T46" fmla="*/ 76 w 147"/>
                  <a:gd name="T47" fmla="*/ 38 h 115"/>
                  <a:gd name="T48" fmla="*/ 84 w 147"/>
                  <a:gd name="T49" fmla="*/ 41 h 115"/>
                  <a:gd name="T50" fmla="*/ 91 w 147"/>
                  <a:gd name="T51" fmla="*/ 46 h 115"/>
                  <a:gd name="T52" fmla="*/ 91 w 147"/>
                  <a:gd name="T53" fmla="*/ 46 h 115"/>
                  <a:gd name="T54" fmla="*/ 66 w 147"/>
                  <a:gd name="T55" fmla="*/ 86 h 115"/>
                  <a:gd name="T56" fmla="*/ 66 w 147"/>
                  <a:gd name="T57" fmla="*/ 86 h 115"/>
                  <a:gd name="T58" fmla="*/ 68 w 147"/>
                  <a:gd name="T59" fmla="*/ 84 h 115"/>
                  <a:gd name="T60" fmla="*/ 69 w 147"/>
                  <a:gd name="T61" fmla="*/ 81 h 115"/>
                  <a:gd name="T62" fmla="*/ 70 w 147"/>
                  <a:gd name="T63" fmla="*/ 77 h 115"/>
                  <a:gd name="T64" fmla="*/ 71 w 147"/>
                  <a:gd name="T65" fmla="*/ 74 h 115"/>
                  <a:gd name="T66" fmla="*/ 71 w 147"/>
                  <a:gd name="T67" fmla="*/ 74 h 115"/>
                  <a:gd name="T68" fmla="*/ 70 w 147"/>
                  <a:gd name="T69" fmla="*/ 71 h 115"/>
                  <a:gd name="T70" fmla="*/ 70 w 147"/>
                  <a:gd name="T71" fmla="*/ 68 h 115"/>
                  <a:gd name="T72" fmla="*/ 68 w 147"/>
                  <a:gd name="T73" fmla="*/ 65 h 115"/>
                  <a:gd name="T74" fmla="*/ 66 w 147"/>
                  <a:gd name="T75" fmla="*/ 63 h 115"/>
                  <a:gd name="T76" fmla="*/ 64 w 147"/>
                  <a:gd name="T77" fmla="*/ 61 h 115"/>
                  <a:gd name="T78" fmla="*/ 61 w 147"/>
                  <a:gd name="T79" fmla="*/ 60 h 115"/>
                  <a:gd name="T80" fmla="*/ 53 w 147"/>
                  <a:gd name="T81" fmla="*/ 59 h 115"/>
                  <a:gd name="T82" fmla="*/ 32 w 147"/>
                  <a:gd name="T83" fmla="*/ 59 h 115"/>
                  <a:gd name="T84" fmla="*/ 32 w 147"/>
                  <a:gd name="T85" fmla="*/ 91 h 115"/>
                  <a:gd name="T86" fmla="*/ 53 w 147"/>
                  <a:gd name="T87" fmla="*/ 91 h 115"/>
                  <a:gd name="T88" fmla="*/ 53 w 147"/>
                  <a:gd name="T89" fmla="*/ 91 h 115"/>
                  <a:gd name="T90" fmla="*/ 56 w 147"/>
                  <a:gd name="T91" fmla="*/ 91 h 115"/>
                  <a:gd name="T92" fmla="*/ 60 w 147"/>
                  <a:gd name="T93" fmla="*/ 90 h 115"/>
                  <a:gd name="T94" fmla="*/ 63 w 147"/>
                  <a:gd name="T95" fmla="*/ 88 h 115"/>
                  <a:gd name="T96" fmla="*/ 66 w 147"/>
                  <a:gd name="T97" fmla="*/ 86 h 115"/>
                  <a:gd name="T98" fmla="*/ 66 w 147"/>
                  <a:gd name="T99" fmla="*/ 86 h 115"/>
                  <a:gd name="T100" fmla="*/ 115 w 147"/>
                  <a:gd name="T101" fmla="*/ 0 h 115"/>
                  <a:gd name="T102" fmla="*/ 147 w 147"/>
                  <a:gd name="T103" fmla="*/ 0 h 115"/>
                  <a:gd name="T104" fmla="*/ 147 w 147"/>
                  <a:gd name="T105" fmla="*/ 115 h 115"/>
                  <a:gd name="T106" fmla="*/ 115 w 147"/>
                  <a:gd name="T107" fmla="*/ 115 h 115"/>
                  <a:gd name="T108" fmla="*/ 115 w 147"/>
                  <a:gd name="T109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47" h="115">
                    <a:moveTo>
                      <a:pt x="91" y="46"/>
                    </a:moveTo>
                    <a:lnTo>
                      <a:pt x="91" y="46"/>
                    </a:lnTo>
                    <a:lnTo>
                      <a:pt x="97" y="51"/>
                    </a:lnTo>
                    <a:lnTo>
                      <a:pt x="100" y="58"/>
                    </a:lnTo>
                    <a:lnTo>
                      <a:pt x="103" y="66"/>
                    </a:lnTo>
                    <a:lnTo>
                      <a:pt x="103" y="73"/>
                    </a:lnTo>
                    <a:lnTo>
                      <a:pt x="103" y="73"/>
                    </a:lnTo>
                    <a:lnTo>
                      <a:pt x="102" y="82"/>
                    </a:lnTo>
                    <a:lnTo>
                      <a:pt x="100" y="90"/>
                    </a:lnTo>
                    <a:lnTo>
                      <a:pt x="96" y="97"/>
                    </a:lnTo>
                    <a:lnTo>
                      <a:pt x="90" y="104"/>
                    </a:lnTo>
                    <a:lnTo>
                      <a:pt x="90" y="104"/>
                    </a:lnTo>
                    <a:lnTo>
                      <a:pt x="82" y="109"/>
                    </a:lnTo>
                    <a:lnTo>
                      <a:pt x="73" y="113"/>
                    </a:lnTo>
                    <a:lnTo>
                      <a:pt x="64" y="115"/>
                    </a:lnTo>
                    <a:lnTo>
                      <a:pt x="55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2" y="0"/>
                    </a:lnTo>
                    <a:lnTo>
                      <a:pt x="32" y="36"/>
                    </a:lnTo>
                    <a:lnTo>
                      <a:pt x="59" y="36"/>
                    </a:lnTo>
                    <a:lnTo>
                      <a:pt x="59" y="36"/>
                    </a:lnTo>
                    <a:lnTo>
                      <a:pt x="68" y="37"/>
                    </a:lnTo>
                    <a:lnTo>
                      <a:pt x="76" y="38"/>
                    </a:lnTo>
                    <a:lnTo>
                      <a:pt x="84" y="41"/>
                    </a:lnTo>
                    <a:lnTo>
                      <a:pt x="91" y="46"/>
                    </a:lnTo>
                    <a:lnTo>
                      <a:pt x="91" y="46"/>
                    </a:lnTo>
                    <a:close/>
                    <a:moveTo>
                      <a:pt x="66" y="86"/>
                    </a:moveTo>
                    <a:lnTo>
                      <a:pt x="66" y="86"/>
                    </a:lnTo>
                    <a:lnTo>
                      <a:pt x="68" y="84"/>
                    </a:lnTo>
                    <a:lnTo>
                      <a:pt x="69" y="81"/>
                    </a:lnTo>
                    <a:lnTo>
                      <a:pt x="70" y="77"/>
                    </a:lnTo>
                    <a:lnTo>
                      <a:pt x="71" y="74"/>
                    </a:lnTo>
                    <a:lnTo>
                      <a:pt x="71" y="74"/>
                    </a:lnTo>
                    <a:lnTo>
                      <a:pt x="70" y="71"/>
                    </a:lnTo>
                    <a:lnTo>
                      <a:pt x="70" y="68"/>
                    </a:lnTo>
                    <a:lnTo>
                      <a:pt x="68" y="65"/>
                    </a:lnTo>
                    <a:lnTo>
                      <a:pt x="66" y="63"/>
                    </a:lnTo>
                    <a:lnTo>
                      <a:pt x="64" y="61"/>
                    </a:lnTo>
                    <a:lnTo>
                      <a:pt x="61" y="60"/>
                    </a:lnTo>
                    <a:lnTo>
                      <a:pt x="53" y="59"/>
                    </a:lnTo>
                    <a:lnTo>
                      <a:pt x="32" y="59"/>
                    </a:lnTo>
                    <a:lnTo>
                      <a:pt x="32" y="91"/>
                    </a:lnTo>
                    <a:lnTo>
                      <a:pt x="53" y="91"/>
                    </a:lnTo>
                    <a:lnTo>
                      <a:pt x="53" y="91"/>
                    </a:lnTo>
                    <a:lnTo>
                      <a:pt x="56" y="91"/>
                    </a:lnTo>
                    <a:lnTo>
                      <a:pt x="60" y="90"/>
                    </a:lnTo>
                    <a:lnTo>
                      <a:pt x="63" y="88"/>
                    </a:lnTo>
                    <a:lnTo>
                      <a:pt x="66" y="86"/>
                    </a:lnTo>
                    <a:lnTo>
                      <a:pt x="66" y="86"/>
                    </a:lnTo>
                    <a:close/>
                    <a:moveTo>
                      <a:pt x="115" y="0"/>
                    </a:moveTo>
                    <a:lnTo>
                      <a:pt x="147" y="0"/>
                    </a:lnTo>
                    <a:lnTo>
                      <a:pt x="147" y="115"/>
                    </a:lnTo>
                    <a:lnTo>
                      <a:pt x="115" y="115"/>
                    </a:lnTo>
                    <a:lnTo>
                      <a:pt x="11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16">
                <a:extLst>
                  <a:ext uri="{FF2B5EF4-FFF2-40B4-BE49-F238E27FC236}">
                    <a16:creationId xmlns:a16="http://schemas.microsoft.com/office/drawing/2014/main" id="{FA50347F-B542-4FCF-BDB4-9124253E76B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344154" y="1535113"/>
                <a:ext cx="85725" cy="90487"/>
              </a:xfrm>
              <a:custGeom>
                <a:avLst/>
                <a:gdLst>
                  <a:gd name="T0" fmla="*/ 109 w 109"/>
                  <a:gd name="T1" fmla="*/ 0 h 115"/>
                  <a:gd name="T2" fmla="*/ 109 w 109"/>
                  <a:gd name="T3" fmla="*/ 115 h 115"/>
                  <a:gd name="T4" fmla="*/ 77 w 109"/>
                  <a:gd name="T5" fmla="*/ 115 h 115"/>
                  <a:gd name="T6" fmla="*/ 77 w 109"/>
                  <a:gd name="T7" fmla="*/ 71 h 115"/>
                  <a:gd name="T8" fmla="*/ 32 w 109"/>
                  <a:gd name="T9" fmla="*/ 71 h 115"/>
                  <a:gd name="T10" fmla="*/ 32 w 109"/>
                  <a:gd name="T11" fmla="*/ 115 h 115"/>
                  <a:gd name="T12" fmla="*/ 0 w 109"/>
                  <a:gd name="T13" fmla="*/ 115 h 115"/>
                  <a:gd name="T14" fmla="*/ 0 w 109"/>
                  <a:gd name="T15" fmla="*/ 0 h 115"/>
                  <a:gd name="T16" fmla="*/ 32 w 109"/>
                  <a:gd name="T17" fmla="*/ 0 h 115"/>
                  <a:gd name="T18" fmla="*/ 32 w 109"/>
                  <a:gd name="T19" fmla="*/ 43 h 115"/>
                  <a:gd name="T20" fmla="*/ 77 w 109"/>
                  <a:gd name="T21" fmla="*/ 43 h 115"/>
                  <a:gd name="T22" fmla="*/ 77 w 109"/>
                  <a:gd name="T23" fmla="*/ 0 h 115"/>
                  <a:gd name="T24" fmla="*/ 109 w 109"/>
                  <a:gd name="T25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9" h="115">
                    <a:moveTo>
                      <a:pt x="109" y="0"/>
                    </a:moveTo>
                    <a:lnTo>
                      <a:pt x="109" y="115"/>
                    </a:lnTo>
                    <a:lnTo>
                      <a:pt x="77" y="115"/>
                    </a:lnTo>
                    <a:lnTo>
                      <a:pt x="77" y="71"/>
                    </a:lnTo>
                    <a:lnTo>
                      <a:pt x="32" y="71"/>
                    </a:lnTo>
                    <a:lnTo>
                      <a:pt x="3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2" y="0"/>
                    </a:lnTo>
                    <a:lnTo>
                      <a:pt x="32" y="43"/>
                    </a:lnTo>
                    <a:lnTo>
                      <a:pt x="77" y="43"/>
                    </a:lnTo>
                    <a:lnTo>
                      <a:pt x="77" y="0"/>
                    </a:lnTo>
                    <a:lnTo>
                      <a:pt x="109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17">
                <a:extLst>
                  <a:ext uri="{FF2B5EF4-FFF2-40B4-BE49-F238E27FC236}">
                    <a16:creationId xmlns:a16="http://schemas.microsoft.com/office/drawing/2014/main" id="{B0D78F59-91F4-471B-80F7-E3007A7AC7CF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447341" y="1533525"/>
                <a:ext cx="101600" cy="95250"/>
              </a:xfrm>
              <a:custGeom>
                <a:avLst/>
                <a:gdLst>
                  <a:gd name="T0" fmla="*/ 31 w 128"/>
                  <a:gd name="T1" fmla="*/ 112 h 120"/>
                  <a:gd name="T2" fmla="*/ 21 w 128"/>
                  <a:gd name="T3" fmla="*/ 105 h 120"/>
                  <a:gd name="T4" fmla="*/ 6 w 128"/>
                  <a:gd name="T5" fmla="*/ 88 h 120"/>
                  <a:gd name="T6" fmla="*/ 0 w 128"/>
                  <a:gd name="T7" fmla="*/ 67 h 120"/>
                  <a:gd name="T8" fmla="*/ 2 w 128"/>
                  <a:gd name="T9" fmla="*/ 43 h 120"/>
                  <a:gd name="T10" fmla="*/ 6 w 128"/>
                  <a:gd name="T11" fmla="*/ 32 h 120"/>
                  <a:gd name="T12" fmla="*/ 11 w 128"/>
                  <a:gd name="T13" fmla="*/ 25 h 120"/>
                  <a:gd name="T14" fmla="*/ 23 w 128"/>
                  <a:gd name="T15" fmla="*/ 12 h 120"/>
                  <a:gd name="T16" fmla="*/ 31 w 128"/>
                  <a:gd name="T17" fmla="*/ 8 h 120"/>
                  <a:gd name="T18" fmla="*/ 46 w 128"/>
                  <a:gd name="T19" fmla="*/ 2 h 120"/>
                  <a:gd name="T20" fmla="*/ 64 w 128"/>
                  <a:gd name="T21" fmla="*/ 0 h 120"/>
                  <a:gd name="T22" fmla="*/ 81 w 128"/>
                  <a:gd name="T23" fmla="*/ 2 h 120"/>
                  <a:gd name="T24" fmla="*/ 97 w 128"/>
                  <a:gd name="T25" fmla="*/ 8 h 120"/>
                  <a:gd name="T26" fmla="*/ 102 w 128"/>
                  <a:gd name="T27" fmla="*/ 11 h 120"/>
                  <a:gd name="T28" fmla="*/ 115 w 128"/>
                  <a:gd name="T29" fmla="*/ 22 h 120"/>
                  <a:gd name="T30" fmla="*/ 125 w 128"/>
                  <a:gd name="T31" fmla="*/ 42 h 120"/>
                  <a:gd name="T32" fmla="*/ 128 w 128"/>
                  <a:gd name="T33" fmla="*/ 65 h 120"/>
                  <a:gd name="T34" fmla="*/ 124 w 128"/>
                  <a:gd name="T35" fmla="*/ 82 h 120"/>
                  <a:gd name="T36" fmla="*/ 121 w 128"/>
                  <a:gd name="T37" fmla="*/ 87 h 120"/>
                  <a:gd name="T38" fmla="*/ 111 w 128"/>
                  <a:gd name="T39" fmla="*/ 101 h 120"/>
                  <a:gd name="T40" fmla="*/ 97 w 128"/>
                  <a:gd name="T41" fmla="*/ 112 h 120"/>
                  <a:gd name="T42" fmla="*/ 89 w 128"/>
                  <a:gd name="T43" fmla="*/ 115 h 120"/>
                  <a:gd name="T44" fmla="*/ 72 w 128"/>
                  <a:gd name="T45" fmla="*/ 119 h 120"/>
                  <a:gd name="T46" fmla="*/ 55 w 128"/>
                  <a:gd name="T47" fmla="*/ 119 h 120"/>
                  <a:gd name="T48" fmla="*/ 38 w 128"/>
                  <a:gd name="T49" fmla="*/ 115 h 120"/>
                  <a:gd name="T50" fmla="*/ 31 w 128"/>
                  <a:gd name="T51" fmla="*/ 112 h 120"/>
                  <a:gd name="T52" fmla="*/ 80 w 128"/>
                  <a:gd name="T53" fmla="*/ 89 h 120"/>
                  <a:gd name="T54" fmla="*/ 91 w 128"/>
                  <a:gd name="T55" fmla="*/ 77 h 120"/>
                  <a:gd name="T56" fmla="*/ 94 w 128"/>
                  <a:gd name="T57" fmla="*/ 69 h 120"/>
                  <a:gd name="T58" fmla="*/ 94 w 128"/>
                  <a:gd name="T59" fmla="*/ 52 h 120"/>
                  <a:gd name="T60" fmla="*/ 91 w 128"/>
                  <a:gd name="T61" fmla="*/ 42 h 120"/>
                  <a:gd name="T62" fmla="*/ 80 w 128"/>
                  <a:gd name="T63" fmla="*/ 31 h 120"/>
                  <a:gd name="T64" fmla="*/ 72 w 128"/>
                  <a:gd name="T65" fmla="*/ 28 h 120"/>
                  <a:gd name="T66" fmla="*/ 55 w 128"/>
                  <a:gd name="T67" fmla="*/ 28 h 120"/>
                  <a:gd name="T68" fmla="*/ 47 w 128"/>
                  <a:gd name="T69" fmla="*/ 31 h 120"/>
                  <a:gd name="T70" fmla="*/ 36 w 128"/>
                  <a:gd name="T71" fmla="*/ 42 h 120"/>
                  <a:gd name="T72" fmla="*/ 33 w 128"/>
                  <a:gd name="T73" fmla="*/ 52 h 120"/>
                  <a:gd name="T74" fmla="*/ 33 w 128"/>
                  <a:gd name="T75" fmla="*/ 69 h 120"/>
                  <a:gd name="T76" fmla="*/ 36 w 128"/>
                  <a:gd name="T77" fmla="*/ 77 h 120"/>
                  <a:gd name="T78" fmla="*/ 47 w 128"/>
                  <a:gd name="T79" fmla="*/ 89 h 120"/>
                  <a:gd name="T80" fmla="*/ 55 w 128"/>
                  <a:gd name="T81" fmla="*/ 92 h 120"/>
                  <a:gd name="T82" fmla="*/ 72 w 128"/>
                  <a:gd name="T83" fmla="*/ 92 h 120"/>
                  <a:gd name="T84" fmla="*/ 80 w 128"/>
                  <a:gd name="T85" fmla="*/ 89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28" h="120">
                    <a:moveTo>
                      <a:pt x="31" y="112"/>
                    </a:moveTo>
                    <a:lnTo>
                      <a:pt x="31" y="112"/>
                    </a:lnTo>
                    <a:lnTo>
                      <a:pt x="25" y="109"/>
                    </a:lnTo>
                    <a:lnTo>
                      <a:pt x="21" y="105"/>
                    </a:lnTo>
                    <a:lnTo>
                      <a:pt x="13" y="97"/>
                    </a:lnTo>
                    <a:lnTo>
                      <a:pt x="6" y="88"/>
                    </a:lnTo>
                    <a:lnTo>
                      <a:pt x="2" y="78"/>
                    </a:lnTo>
                    <a:lnTo>
                      <a:pt x="0" y="67"/>
                    </a:lnTo>
                    <a:lnTo>
                      <a:pt x="0" y="55"/>
                    </a:lnTo>
                    <a:lnTo>
                      <a:pt x="2" y="43"/>
                    </a:lnTo>
                    <a:lnTo>
                      <a:pt x="4" y="38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11" y="25"/>
                    </a:lnTo>
                    <a:lnTo>
                      <a:pt x="16" y="18"/>
                    </a:lnTo>
                    <a:lnTo>
                      <a:pt x="23" y="12"/>
                    </a:lnTo>
                    <a:lnTo>
                      <a:pt x="31" y="8"/>
                    </a:lnTo>
                    <a:lnTo>
                      <a:pt x="31" y="8"/>
                    </a:lnTo>
                    <a:lnTo>
                      <a:pt x="38" y="4"/>
                    </a:lnTo>
                    <a:lnTo>
                      <a:pt x="46" y="2"/>
                    </a:lnTo>
                    <a:lnTo>
                      <a:pt x="55" y="0"/>
                    </a:lnTo>
                    <a:lnTo>
                      <a:pt x="64" y="0"/>
                    </a:lnTo>
                    <a:lnTo>
                      <a:pt x="72" y="0"/>
                    </a:lnTo>
                    <a:lnTo>
                      <a:pt x="81" y="2"/>
                    </a:lnTo>
                    <a:lnTo>
                      <a:pt x="89" y="4"/>
                    </a:lnTo>
                    <a:lnTo>
                      <a:pt x="97" y="8"/>
                    </a:lnTo>
                    <a:lnTo>
                      <a:pt x="97" y="8"/>
                    </a:lnTo>
                    <a:lnTo>
                      <a:pt x="102" y="11"/>
                    </a:lnTo>
                    <a:lnTo>
                      <a:pt x="106" y="14"/>
                    </a:lnTo>
                    <a:lnTo>
                      <a:pt x="115" y="22"/>
                    </a:lnTo>
                    <a:lnTo>
                      <a:pt x="121" y="32"/>
                    </a:lnTo>
                    <a:lnTo>
                      <a:pt x="125" y="42"/>
                    </a:lnTo>
                    <a:lnTo>
                      <a:pt x="127" y="54"/>
                    </a:lnTo>
                    <a:lnTo>
                      <a:pt x="128" y="65"/>
                    </a:lnTo>
                    <a:lnTo>
                      <a:pt x="126" y="76"/>
                    </a:lnTo>
                    <a:lnTo>
                      <a:pt x="124" y="82"/>
                    </a:lnTo>
                    <a:lnTo>
                      <a:pt x="121" y="87"/>
                    </a:lnTo>
                    <a:lnTo>
                      <a:pt x="121" y="87"/>
                    </a:lnTo>
                    <a:lnTo>
                      <a:pt x="116" y="95"/>
                    </a:lnTo>
                    <a:lnTo>
                      <a:pt x="111" y="101"/>
                    </a:lnTo>
                    <a:lnTo>
                      <a:pt x="104" y="107"/>
                    </a:lnTo>
                    <a:lnTo>
                      <a:pt x="97" y="112"/>
                    </a:lnTo>
                    <a:lnTo>
                      <a:pt x="97" y="112"/>
                    </a:lnTo>
                    <a:lnTo>
                      <a:pt x="89" y="115"/>
                    </a:lnTo>
                    <a:lnTo>
                      <a:pt x="81" y="118"/>
                    </a:lnTo>
                    <a:lnTo>
                      <a:pt x="72" y="119"/>
                    </a:lnTo>
                    <a:lnTo>
                      <a:pt x="64" y="120"/>
                    </a:lnTo>
                    <a:lnTo>
                      <a:pt x="55" y="119"/>
                    </a:lnTo>
                    <a:lnTo>
                      <a:pt x="46" y="118"/>
                    </a:lnTo>
                    <a:lnTo>
                      <a:pt x="38" y="115"/>
                    </a:lnTo>
                    <a:lnTo>
                      <a:pt x="31" y="112"/>
                    </a:lnTo>
                    <a:lnTo>
                      <a:pt x="31" y="112"/>
                    </a:lnTo>
                    <a:close/>
                    <a:moveTo>
                      <a:pt x="80" y="89"/>
                    </a:moveTo>
                    <a:lnTo>
                      <a:pt x="80" y="89"/>
                    </a:lnTo>
                    <a:lnTo>
                      <a:pt x="86" y="84"/>
                    </a:lnTo>
                    <a:lnTo>
                      <a:pt x="91" y="77"/>
                    </a:lnTo>
                    <a:lnTo>
                      <a:pt x="91" y="77"/>
                    </a:lnTo>
                    <a:lnTo>
                      <a:pt x="94" y="69"/>
                    </a:lnTo>
                    <a:lnTo>
                      <a:pt x="95" y="60"/>
                    </a:lnTo>
                    <a:lnTo>
                      <a:pt x="94" y="52"/>
                    </a:lnTo>
                    <a:lnTo>
                      <a:pt x="91" y="42"/>
                    </a:lnTo>
                    <a:lnTo>
                      <a:pt x="91" y="42"/>
                    </a:lnTo>
                    <a:lnTo>
                      <a:pt x="86" y="36"/>
                    </a:lnTo>
                    <a:lnTo>
                      <a:pt x="80" y="31"/>
                    </a:lnTo>
                    <a:lnTo>
                      <a:pt x="80" y="31"/>
                    </a:lnTo>
                    <a:lnTo>
                      <a:pt x="72" y="28"/>
                    </a:lnTo>
                    <a:lnTo>
                      <a:pt x="64" y="27"/>
                    </a:lnTo>
                    <a:lnTo>
                      <a:pt x="55" y="28"/>
                    </a:lnTo>
                    <a:lnTo>
                      <a:pt x="47" y="31"/>
                    </a:lnTo>
                    <a:lnTo>
                      <a:pt x="47" y="31"/>
                    </a:lnTo>
                    <a:lnTo>
                      <a:pt x="41" y="36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3" y="52"/>
                    </a:lnTo>
                    <a:lnTo>
                      <a:pt x="32" y="60"/>
                    </a:lnTo>
                    <a:lnTo>
                      <a:pt x="33" y="69"/>
                    </a:lnTo>
                    <a:lnTo>
                      <a:pt x="36" y="77"/>
                    </a:lnTo>
                    <a:lnTo>
                      <a:pt x="36" y="77"/>
                    </a:lnTo>
                    <a:lnTo>
                      <a:pt x="41" y="84"/>
                    </a:lnTo>
                    <a:lnTo>
                      <a:pt x="47" y="89"/>
                    </a:lnTo>
                    <a:lnTo>
                      <a:pt x="47" y="89"/>
                    </a:lnTo>
                    <a:lnTo>
                      <a:pt x="55" y="92"/>
                    </a:lnTo>
                    <a:lnTo>
                      <a:pt x="64" y="93"/>
                    </a:lnTo>
                    <a:lnTo>
                      <a:pt x="72" y="92"/>
                    </a:lnTo>
                    <a:lnTo>
                      <a:pt x="80" y="89"/>
                    </a:lnTo>
                    <a:lnTo>
                      <a:pt x="80" y="8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18">
                <a:extLst>
                  <a:ext uri="{FF2B5EF4-FFF2-40B4-BE49-F238E27FC236}">
                    <a16:creationId xmlns:a16="http://schemas.microsoft.com/office/drawing/2014/main" id="{60204E0F-F260-43AF-A616-8D6477E2D170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564816" y="1535113"/>
                <a:ext cx="84138" cy="90487"/>
              </a:xfrm>
              <a:custGeom>
                <a:avLst/>
                <a:gdLst>
                  <a:gd name="T0" fmla="*/ 99 w 105"/>
                  <a:gd name="T1" fmla="*/ 66 h 115"/>
                  <a:gd name="T2" fmla="*/ 103 w 105"/>
                  <a:gd name="T3" fmla="*/ 74 h 115"/>
                  <a:gd name="T4" fmla="*/ 105 w 105"/>
                  <a:gd name="T5" fmla="*/ 83 h 115"/>
                  <a:gd name="T6" fmla="*/ 104 w 105"/>
                  <a:gd name="T7" fmla="*/ 90 h 115"/>
                  <a:gd name="T8" fmla="*/ 98 w 105"/>
                  <a:gd name="T9" fmla="*/ 102 h 115"/>
                  <a:gd name="T10" fmla="*/ 93 w 105"/>
                  <a:gd name="T11" fmla="*/ 107 h 115"/>
                  <a:gd name="T12" fmla="*/ 77 w 105"/>
                  <a:gd name="T13" fmla="*/ 114 h 115"/>
                  <a:gd name="T14" fmla="*/ 59 w 105"/>
                  <a:gd name="T15" fmla="*/ 115 h 115"/>
                  <a:gd name="T16" fmla="*/ 0 w 105"/>
                  <a:gd name="T17" fmla="*/ 0 h 115"/>
                  <a:gd name="T18" fmla="*/ 56 w 105"/>
                  <a:gd name="T19" fmla="*/ 0 h 115"/>
                  <a:gd name="T20" fmla="*/ 73 w 105"/>
                  <a:gd name="T21" fmla="*/ 2 h 115"/>
                  <a:gd name="T22" fmla="*/ 88 w 105"/>
                  <a:gd name="T23" fmla="*/ 8 h 115"/>
                  <a:gd name="T24" fmla="*/ 93 w 105"/>
                  <a:gd name="T25" fmla="*/ 12 h 115"/>
                  <a:gd name="T26" fmla="*/ 99 w 105"/>
                  <a:gd name="T27" fmla="*/ 24 h 115"/>
                  <a:gd name="T28" fmla="*/ 99 w 105"/>
                  <a:gd name="T29" fmla="*/ 30 h 115"/>
                  <a:gd name="T30" fmla="*/ 95 w 105"/>
                  <a:gd name="T31" fmla="*/ 45 h 115"/>
                  <a:gd name="T32" fmla="*/ 90 w 105"/>
                  <a:gd name="T33" fmla="*/ 52 h 115"/>
                  <a:gd name="T34" fmla="*/ 84 w 105"/>
                  <a:gd name="T35" fmla="*/ 56 h 115"/>
                  <a:gd name="T36" fmla="*/ 92 w 105"/>
                  <a:gd name="T37" fmla="*/ 60 h 115"/>
                  <a:gd name="T38" fmla="*/ 99 w 105"/>
                  <a:gd name="T39" fmla="*/ 66 h 115"/>
                  <a:gd name="T40" fmla="*/ 32 w 105"/>
                  <a:gd name="T41" fmla="*/ 46 h 115"/>
                  <a:gd name="T42" fmla="*/ 53 w 105"/>
                  <a:gd name="T43" fmla="*/ 46 h 115"/>
                  <a:gd name="T44" fmla="*/ 63 w 105"/>
                  <a:gd name="T45" fmla="*/ 43 h 115"/>
                  <a:gd name="T46" fmla="*/ 67 w 105"/>
                  <a:gd name="T47" fmla="*/ 35 h 115"/>
                  <a:gd name="T48" fmla="*/ 66 w 105"/>
                  <a:gd name="T49" fmla="*/ 30 h 115"/>
                  <a:gd name="T50" fmla="*/ 59 w 105"/>
                  <a:gd name="T51" fmla="*/ 24 h 115"/>
                  <a:gd name="T52" fmla="*/ 32 w 105"/>
                  <a:gd name="T53" fmla="*/ 23 h 115"/>
                  <a:gd name="T54" fmla="*/ 72 w 105"/>
                  <a:gd name="T55" fmla="*/ 80 h 115"/>
                  <a:gd name="T56" fmla="*/ 71 w 105"/>
                  <a:gd name="T57" fmla="*/ 75 h 115"/>
                  <a:gd name="T58" fmla="*/ 64 w 105"/>
                  <a:gd name="T59" fmla="*/ 69 h 115"/>
                  <a:gd name="T60" fmla="*/ 32 w 105"/>
                  <a:gd name="T61" fmla="*/ 69 h 115"/>
                  <a:gd name="T62" fmla="*/ 58 w 105"/>
                  <a:gd name="T63" fmla="*/ 92 h 115"/>
                  <a:gd name="T64" fmla="*/ 64 w 105"/>
                  <a:gd name="T65" fmla="*/ 91 h 115"/>
                  <a:gd name="T66" fmla="*/ 71 w 105"/>
                  <a:gd name="T67" fmla="*/ 85 h 115"/>
                  <a:gd name="T68" fmla="*/ 72 w 105"/>
                  <a:gd name="T69" fmla="*/ 8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5" h="115">
                    <a:moveTo>
                      <a:pt x="99" y="66"/>
                    </a:moveTo>
                    <a:lnTo>
                      <a:pt x="99" y="66"/>
                    </a:lnTo>
                    <a:lnTo>
                      <a:pt x="102" y="70"/>
                    </a:lnTo>
                    <a:lnTo>
                      <a:pt x="103" y="74"/>
                    </a:lnTo>
                    <a:lnTo>
                      <a:pt x="104" y="78"/>
                    </a:lnTo>
                    <a:lnTo>
                      <a:pt x="105" y="83"/>
                    </a:lnTo>
                    <a:lnTo>
                      <a:pt x="105" y="83"/>
                    </a:lnTo>
                    <a:lnTo>
                      <a:pt x="104" y="90"/>
                    </a:lnTo>
                    <a:lnTo>
                      <a:pt x="102" y="96"/>
                    </a:lnTo>
                    <a:lnTo>
                      <a:pt x="98" y="102"/>
                    </a:lnTo>
                    <a:lnTo>
                      <a:pt x="93" y="107"/>
                    </a:lnTo>
                    <a:lnTo>
                      <a:pt x="93" y="107"/>
                    </a:lnTo>
                    <a:lnTo>
                      <a:pt x="85" y="111"/>
                    </a:lnTo>
                    <a:lnTo>
                      <a:pt x="77" y="114"/>
                    </a:lnTo>
                    <a:lnTo>
                      <a:pt x="68" y="115"/>
                    </a:lnTo>
                    <a:lnTo>
                      <a:pt x="59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5" y="1"/>
                    </a:lnTo>
                    <a:lnTo>
                      <a:pt x="73" y="2"/>
                    </a:lnTo>
                    <a:lnTo>
                      <a:pt x="81" y="4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93" y="12"/>
                    </a:lnTo>
                    <a:lnTo>
                      <a:pt x="97" y="18"/>
                    </a:lnTo>
                    <a:lnTo>
                      <a:pt x="99" y="24"/>
                    </a:lnTo>
                    <a:lnTo>
                      <a:pt x="99" y="30"/>
                    </a:lnTo>
                    <a:lnTo>
                      <a:pt x="99" y="30"/>
                    </a:lnTo>
                    <a:lnTo>
                      <a:pt x="98" y="38"/>
                    </a:lnTo>
                    <a:lnTo>
                      <a:pt x="95" y="45"/>
                    </a:lnTo>
                    <a:lnTo>
                      <a:pt x="95" y="45"/>
                    </a:lnTo>
                    <a:lnTo>
                      <a:pt x="90" y="52"/>
                    </a:lnTo>
                    <a:lnTo>
                      <a:pt x="84" y="56"/>
                    </a:lnTo>
                    <a:lnTo>
                      <a:pt x="84" y="56"/>
                    </a:lnTo>
                    <a:lnTo>
                      <a:pt x="88" y="57"/>
                    </a:lnTo>
                    <a:lnTo>
                      <a:pt x="92" y="60"/>
                    </a:lnTo>
                    <a:lnTo>
                      <a:pt x="96" y="62"/>
                    </a:lnTo>
                    <a:lnTo>
                      <a:pt x="99" y="66"/>
                    </a:lnTo>
                    <a:lnTo>
                      <a:pt x="99" y="66"/>
                    </a:lnTo>
                    <a:close/>
                    <a:moveTo>
                      <a:pt x="32" y="46"/>
                    </a:moveTo>
                    <a:lnTo>
                      <a:pt x="53" y="46"/>
                    </a:lnTo>
                    <a:lnTo>
                      <a:pt x="53" y="46"/>
                    </a:lnTo>
                    <a:lnTo>
                      <a:pt x="59" y="45"/>
                    </a:lnTo>
                    <a:lnTo>
                      <a:pt x="63" y="43"/>
                    </a:lnTo>
                    <a:lnTo>
                      <a:pt x="66" y="40"/>
                    </a:lnTo>
                    <a:lnTo>
                      <a:pt x="67" y="35"/>
                    </a:lnTo>
                    <a:lnTo>
                      <a:pt x="67" y="35"/>
                    </a:lnTo>
                    <a:lnTo>
                      <a:pt x="66" y="30"/>
                    </a:lnTo>
                    <a:lnTo>
                      <a:pt x="63" y="26"/>
                    </a:lnTo>
                    <a:lnTo>
                      <a:pt x="59" y="24"/>
                    </a:lnTo>
                    <a:lnTo>
                      <a:pt x="53" y="23"/>
                    </a:lnTo>
                    <a:lnTo>
                      <a:pt x="32" y="23"/>
                    </a:lnTo>
                    <a:lnTo>
                      <a:pt x="32" y="46"/>
                    </a:lnTo>
                    <a:close/>
                    <a:moveTo>
                      <a:pt x="72" y="80"/>
                    </a:moveTo>
                    <a:lnTo>
                      <a:pt x="72" y="80"/>
                    </a:lnTo>
                    <a:lnTo>
                      <a:pt x="71" y="75"/>
                    </a:lnTo>
                    <a:lnTo>
                      <a:pt x="69" y="72"/>
                    </a:lnTo>
                    <a:lnTo>
                      <a:pt x="64" y="69"/>
                    </a:lnTo>
                    <a:lnTo>
                      <a:pt x="58" y="69"/>
                    </a:lnTo>
                    <a:lnTo>
                      <a:pt x="32" y="69"/>
                    </a:lnTo>
                    <a:lnTo>
                      <a:pt x="32" y="92"/>
                    </a:lnTo>
                    <a:lnTo>
                      <a:pt x="58" y="92"/>
                    </a:lnTo>
                    <a:lnTo>
                      <a:pt x="58" y="92"/>
                    </a:lnTo>
                    <a:lnTo>
                      <a:pt x="64" y="91"/>
                    </a:lnTo>
                    <a:lnTo>
                      <a:pt x="69" y="89"/>
                    </a:lnTo>
                    <a:lnTo>
                      <a:pt x="71" y="85"/>
                    </a:lnTo>
                    <a:lnTo>
                      <a:pt x="72" y="80"/>
                    </a:lnTo>
                    <a:lnTo>
                      <a:pt x="72" y="8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19">
                <a:extLst>
                  <a:ext uri="{FF2B5EF4-FFF2-40B4-BE49-F238E27FC236}">
                    <a16:creationId xmlns:a16="http://schemas.microsoft.com/office/drawing/2014/main" id="{AD8FEB2B-164B-4B4E-9A72-442CD06DF859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664829" y="1535113"/>
                <a:ext cx="115888" cy="90487"/>
              </a:xfrm>
              <a:custGeom>
                <a:avLst/>
                <a:gdLst>
                  <a:gd name="T0" fmla="*/ 92 w 147"/>
                  <a:gd name="T1" fmla="*/ 46 h 115"/>
                  <a:gd name="T2" fmla="*/ 92 w 147"/>
                  <a:gd name="T3" fmla="*/ 46 h 115"/>
                  <a:gd name="T4" fmla="*/ 97 w 147"/>
                  <a:gd name="T5" fmla="*/ 53 h 115"/>
                  <a:gd name="T6" fmla="*/ 101 w 147"/>
                  <a:gd name="T7" fmla="*/ 60 h 115"/>
                  <a:gd name="T8" fmla="*/ 103 w 147"/>
                  <a:gd name="T9" fmla="*/ 67 h 115"/>
                  <a:gd name="T10" fmla="*/ 103 w 147"/>
                  <a:gd name="T11" fmla="*/ 75 h 115"/>
                  <a:gd name="T12" fmla="*/ 103 w 147"/>
                  <a:gd name="T13" fmla="*/ 75 h 115"/>
                  <a:gd name="T14" fmla="*/ 103 w 147"/>
                  <a:gd name="T15" fmla="*/ 83 h 115"/>
                  <a:gd name="T16" fmla="*/ 100 w 147"/>
                  <a:gd name="T17" fmla="*/ 91 h 115"/>
                  <a:gd name="T18" fmla="*/ 96 w 147"/>
                  <a:gd name="T19" fmla="*/ 99 h 115"/>
                  <a:gd name="T20" fmla="*/ 90 w 147"/>
                  <a:gd name="T21" fmla="*/ 105 h 115"/>
                  <a:gd name="T22" fmla="*/ 90 w 147"/>
                  <a:gd name="T23" fmla="*/ 105 h 115"/>
                  <a:gd name="T24" fmla="*/ 82 w 147"/>
                  <a:gd name="T25" fmla="*/ 110 h 115"/>
                  <a:gd name="T26" fmla="*/ 74 w 147"/>
                  <a:gd name="T27" fmla="*/ 113 h 115"/>
                  <a:gd name="T28" fmla="*/ 65 w 147"/>
                  <a:gd name="T29" fmla="*/ 115 h 115"/>
                  <a:gd name="T30" fmla="*/ 55 w 147"/>
                  <a:gd name="T31" fmla="*/ 115 h 115"/>
                  <a:gd name="T32" fmla="*/ 0 w 147"/>
                  <a:gd name="T33" fmla="*/ 115 h 115"/>
                  <a:gd name="T34" fmla="*/ 0 w 147"/>
                  <a:gd name="T35" fmla="*/ 1 h 115"/>
                  <a:gd name="T36" fmla="*/ 32 w 147"/>
                  <a:gd name="T37" fmla="*/ 1 h 115"/>
                  <a:gd name="T38" fmla="*/ 32 w 147"/>
                  <a:gd name="T39" fmla="*/ 37 h 115"/>
                  <a:gd name="T40" fmla="*/ 59 w 147"/>
                  <a:gd name="T41" fmla="*/ 37 h 115"/>
                  <a:gd name="T42" fmla="*/ 59 w 147"/>
                  <a:gd name="T43" fmla="*/ 37 h 115"/>
                  <a:gd name="T44" fmla="*/ 68 w 147"/>
                  <a:gd name="T45" fmla="*/ 37 h 115"/>
                  <a:gd name="T46" fmla="*/ 76 w 147"/>
                  <a:gd name="T47" fmla="*/ 39 h 115"/>
                  <a:gd name="T48" fmla="*/ 84 w 147"/>
                  <a:gd name="T49" fmla="*/ 42 h 115"/>
                  <a:gd name="T50" fmla="*/ 92 w 147"/>
                  <a:gd name="T51" fmla="*/ 46 h 115"/>
                  <a:gd name="T52" fmla="*/ 92 w 147"/>
                  <a:gd name="T53" fmla="*/ 46 h 115"/>
                  <a:gd name="T54" fmla="*/ 66 w 147"/>
                  <a:gd name="T55" fmla="*/ 88 h 115"/>
                  <a:gd name="T56" fmla="*/ 66 w 147"/>
                  <a:gd name="T57" fmla="*/ 88 h 115"/>
                  <a:gd name="T58" fmla="*/ 68 w 147"/>
                  <a:gd name="T59" fmla="*/ 85 h 115"/>
                  <a:gd name="T60" fmla="*/ 70 w 147"/>
                  <a:gd name="T61" fmla="*/ 82 h 115"/>
                  <a:gd name="T62" fmla="*/ 71 w 147"/>
                  <a:gd name="T63" fmla="*/ 79 h 115"/>
                  <a:gd name="T64" fmla="*/ 71 w 147"/>
                  <a:gd name="T65" fmla="*/ 76 h 115"/>
                  <a:gd name="T66" fmla="*/ 71 w 147"/>
                  <a:gd name="T67" fmla="*/ 76 h 115"/>
                  <a:gd name="T68" fmla="*/ 71 w 147"/>
                  <a:gd name="T69" fmla="*/ 72 h 115"/>
                  <a:gd name="T70" fmla="*/ 70 w 147"/>
                  <a:gd name="T71" fmla="*/ 69 h 115"/>
                  <a:gd name="T72" fmla="*/ 68 w 147"/>
                  <a:gd name="T73" fmla="*/ 67 h 115"/>
                  <a:gd name="T74" fmla="*/ 66 w 147"/>
                  <a:gd name="T75" fmla="*/ 64 h 115"/>
                  <a:gd name="T76" fmla="*/ 64 w 147"/>
                  <a:gd name="T77" fmla="*/ 63 h 115"/>
                  <a:gd name="T78" fmla="*/ 61 w 147"/>
                  <a:gd name="T79" fmla="*/ 62 h 115"/>
                  <a:gd name="T80" fmla="*/ 53 w 147"/>
                  <a:gd name="T81" fmla="*/ 61 h 115"/>
                  <a:gd name="T82" fmla="*/ 32 w 147"/>
                  <a:gd name="T83" fmla="*/ 61 h 115"/>
                  <a:gd name="T84" fmla="*/ 32 w 147"/>
                  <a:gd name="T85" fmla="*/ 92 h 115"/>
                  <a:gd name="T86" fmla="*/ 53 w 147"/>
                  <a:gd name="T87" fmla="*/ 92 h 115"/>
                  <a:gd name="T88" fmla="*/ 53 w 147"/>
                  <a:gd name="T89" fmla="*/ 92 h 115"/>
                  <a:gd name="T90" fmla="*/ 57 w 147"/>
                  <a:gd name="T91" fmla="*/ 92 h 115"/>
                  <a:gd name="T92" fmla="*/ 60 w 147"/>
                  <a:gd name="T93" fmla="*/ 91 h 115"/>
                  <a:gd name="T94" fmla="*/ 63 w 147"/>
                  <a:gd name="T95" fmla="*/ 90 h 115"/>
                  <a:gd name="T96" fmla="*/ 66 w 147"/>
                  <a:gd name="T97" fmla="*/ 88 h 115"/>
                  <a:gd name="T98" fmla="*/ 66 w 147"/>
                  <a:gd name="T99" fmla="*/ 88 h 115"/>
                  <a:gd name="T100" fmla="*/ 116 w 147"/>
                  <a:gd name="T101" fmla="*/ 0 h 115"/>
                  <a:gd name="T102" fmla="*/ 147 w 147"/>
                  <a:gd name="T103" fmla="*/ 0 h 115"/>
                  <a:gd name="T104" fmla="*/ 147 w 147"/>
                  <a:gd name="T105" fmla="*/ 115 h 115"/>
                  <a:gd name="T106" fmla="*/ 116 w 147"/>
                  <a:gd name="T107" fmla="*/ 115 h 115"/>
                  <a:gd name="T108" fmla="*/ 116 w 147"/>
                  <a:gd name="T109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47" h="115">
                    <a:moveTo>
                      <a:pt x="92" y="46"/>
                    </a:moveTo>
                    <a:lnTo>
                      <a:pt x="92" y="46"/>
                    </a:lnTo>
                    <a:lnTo>
                      <a:pt x="97" y="53"/>
                    </a:lnTo>
                    <a:lnTo>
                      <a:pt x="101" y="60"/>
                    </a:lnTo>
                    <a:lnTo>
                      <a:pt x="103" y="67"/>
                    </a:lnTo>
                    <a:lnTo>
                      <a:pt x="103" y="75"/>
                    </a:lnTo>
                    <a:lnTo>
                      <a:pt x="103" y="75"/>
                    </a:lnTo>
                    <a:lnTo>
                      <a:pt x="103" y="83"/>
                    </a:lnTo>
                    <a:lnTo>
                      <a:pt x="100" y="91"/>
                    </a:lnTo>
                    <a:lnTo>
                      <a:pt x="96" y="99"/>
                    </a:lnTo>
                    <a:lnTo>
                      <a:pt x="90" y="105"/>
                    </a:lnTo>
                    <a:lnTo>
                      <a:pt x="90" y="105"/>
                    </a:lnTo>
                    <a:lnTo>
                      <a:pt x="82" y="110"/>
                    </a:lnTo>
                    <a:lnTo>
                      <a:pt x="74" y="113"/>
                    </a:lnTo>
                    <a:lnTo>
                      <a:pt x="65" y="115"/>
                    </a:lnTo>
                    <a:lnTo>
                      <a:pt x="55" y="115"/>
                    </a:lnTo>
                    <a:lnTo>
                      <a:pt x="0" y="115"/>
                    </a:lnTo>
                    <a:lnTo>
                      <a:pt x="0" y="1"/>
                    </a:lnTo>
                    <a:lnTo>
                      <a:pt x="32" y="1"/>
                    </a:lnTo>
                    <a:lnTo>
                      <a:pt x="32" y="37"/>
                    </a:lnTo>
                    <a:lnTo>
                      <a:pt x="59" y="37"/>
                    </a:lnTo>
                    <a:lnTo>
                      <a:pt x="59" y="37"/>
                    </a:lnTo>
                    <a:lnTo>
                      <a:pt x="68" y="37"/>
                    </a:lnTo>
                    <a:lnTo>
                      <a:pt x="76" y="39"/>
                    </a:lnTo>
                    <a:lnTo>
                      <a:pt x="84" y="42"/>
                    </a:lnTo>
                    <a:lnTo>
                      <a:pt x="92" y="46"/>
                    </a:lnTo>
                    <a:lnTo>
                      <a:pt x="92" y="46"/>
                    </a:lnTo>
                    <a:close/>
                    <a:moveTo>
                      <a:pt x="66" y="88"/>
                    </a:moveTo>
                    <a:lnTo>
                      <a:pt x="66" y="88"/>
                    </a:lnTo>
                    <a:lnTo>
                      <a:pt x="68" y="85"/>
                    </a:lnTo>
                    <a:lnTo>
                      <a:pt x="70" y="82"/>
                    </a:lnTo>
                    <a:lnTo>
                      <a:pt x="71" y="79"/>
                    </a:lnTo>
                    <a:lnTo>
                      <a:pt x="71" y="76"/>
                    </a:lnTo>
                    <a:lnTo>
                      <a:pt x="71" y="76"/>
                    </a:lnTo>
                    <a:lnTo>
                      <a:pt x="71" y="72"/>
                    </a:lnTo>
                    <a:lnTo>
                      <a:pt x="70" y="69"/>
                    </a:lnTo>
                    <a:lnTo>
                      <a:pt x="68" y="67"/>
                    </a:lnTo>
                    <a:lnTo>
                      <a:pt x="66" y="64"/>
                    </a:lnTo>
                    <a:lnTo>
                      <a:pt x="64" y="63"/>
                    </a:lnTo>
                    <a:lnTo>
                      <a:pt x="61" y="62"/>
                    </a:lnTo>
                    <a:lnTo>
                      <a:pt x="53" y="61"/>
                    </a:lnTo>
                    <a:lnTo>
                      <a:pt x="32" y="61"/>
                    </a:lnTo>
                    <a:lnTo>
                      <a:pt x="32" y="92"/>
                    </a:lnTo>
                    <a:lnTo>
                      <a:pt x="53" y="92"/>
                    </a:lnTo>
                    <a:lnTo>
                      <a:pt x="53" y="92"/>
                    </a:lnTo>
                    <a:lnTo>
                      <a:pt x="57" y="92"/>
                    </a:lnTo>
                    <a:lnTo>
                      <a:pt x="60" y="91"/>
                    </a:lnTo>
                    <a:lnTo>
                      <a:pt x="63" y="90"/>
                    </a:lnTo>
                    <a:lnTo>
                      <a:pt x="66" y="88"/>
                    </a:lnTo>
                    <a:lnTo>
                      <a:pt x="66" y="88"/>
                    </a:lnTo>
                    <a:close/>
                    <a:moveTo>
                      <a:pt x="116" y="0"/>
                    </a:moveTo>
                    <a:lnTo>
                      <a:pt x="147" y="0"/>
                    </a:lnTo>
                    <a:lnTo>
                      <a:pt x="147" y="115"/>
                    </a:lnTo>
                    <a:lnTo>
                      <a:pt x="116" y="115"/>
                    </a:lnTo>
                    <a:lnTo>
                      <a:pt x="116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20">
                <a:extLst>
                  <a:ext uri="{FF2B5EF4-FFF2-40B4-BE49-F238E27FC236}">
                    <a16:creationId xmlns:a16="http://schemas.microsoft.com/office/drawing/2014/main" id="{6E04CE63-50C4-409B-B101-32D7C72B197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802941" y="1535113"/>
                <a:ext cx="74613" cy="90487"/>
              </a:xfrm>
              <a:custGeom>
                <a:avLst/>
                <a:gdLst>
                  <a:gd name="T0" fmla="*/ 92 w 92"/>
                  <a:gd name="T1" fmla="*/ 90 h 115"/>
                  <a:gd name="T2" fmla="*/ 92 w 92"/>
                  <a:gd name="T3" fmla="*/ 115 h 115"/>
                  <a:gd name="T4" fmla="*/ 0 w 92"/>
                  <a:gd name="T5" fmla="*/ 115 h 115"/>
                  <a:gd name="T6" fmla="*/ 0 w 92"/>
                  <a:gd name="T7" fmla="*/ 0 h 115"/>
                  <a:gd name="T8" fmla="*/ 90 w 92"/>
                  <a:gd name="T9" fmla="*/ 0 h 115"/>
                  <a:gd name="T10" fmla="*/ 90 w 92"/>
                  <a:gd name="T11" fmla="*/ 25 h 115"/>
                  <a:gd name="T12" fmla="*/ 32 w 92"/>
                  <a:gd name="T13" fmla="*/ 25 h 115"/>
                  <a:gd name="T14" fmla="*/ 32 w 92"/>
                  <a:gd name="T15" fmla="*/ 44 h 115"/>
                  <a:gd name="T16" fmla="*/ 83 w 92"/>
                  <a:gd name="T17" fmla="*/ 44 h 115"/>
                  <a:gd name="T18" fmla="*/ 83 w 92"/>
                  <a:gd name="T19" fmla="*/ 69 h 115"/>
                  <a:gd name="T20" fmla="*/ 32 w 92"/>
                  <a:gd name="T21" fmla="*/ 69 h 115"/>
                  <a:gd name="T22" fmla="*/ 32 w 92"/>
                  <a:gd name="T23" fmla="*/ 90 h 115"/>
                  <a:gd name="T24" fmla="*/ 92 w 92"/>
                  <a:gd name="T25" fmla="*/ 9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2" h="115">
                    <a:moveTo>
                      <a:pt x="92" y="90"/>
                    </a:moveTo>
                    <a:lnTo>
                      <a:pt x="9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25"/>
                    </a:lnTo>
                    <a:lnTo>
                      <a:pt x="32" y="25"/>
                    </a:lnTo>
                    <a:lnTo>
                      <a:pt x="32" y="44"/>
                    </a:lnTo>
                    <a:lnTo>
                      <a:pt x="83" y="44"/>
                    </a:lnTo>
                    <a:lnTo>
                      <a:pt x="83" y="69"/>
                    </a:lnTo>
                    <a:lnTo>
                      <a:pt x="32" y="69"/>
                    </a:lnTo>
                    <a:lnTo>
                      <a:pt x="32" y="90"/>
                    </a:lnTo>
                    <a:lnTo>
                      <a:pt x="92" y="9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1">
                <a:extLst>
                  <a:ext uri="{FF2B5EF4-FFF2-40B4-BE49-F238E27FC236}">
                    <a16:creationId xmlns:a16="http://schemas.microsoft.com/office/drawing/2014/main" id="{12AD3D59-E12A-4602-B49D-685DFABB07BA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934704" y="1535113"/>
                <a:ext cx="82550" cy="90487"/>
              </a:xfrm>
              <a:custGeom>
                <a:avLst/>
                <a:gdLst>
                  <a:gd name="T0" fmla="*/ 79 w 104"/>
                  <a:gd name="T1" fmla="*/ 5 h 115"/>
                  <a:gd name="T2" fmla="*/ 79 w 104"/>
                  <a:gd name="T3" fmla="*/ 5 h 115"/>
                  <a:gd name="T4" fmla="*/ 85 w 104"/>
                  <a:gd name="T5" fmla="*/ 8 h 115"/>
                  <a:gd name="T6" fmla="*/ 90 w 104"/>
                  <a:gd name="T7" fmla="*/ 12 h 115"/>
                  <a:gd name="T8" fmla="*/ 94 w 104"/>
                  <a:gd name="T9" fmla="*/ 16 h 115"/>
                  <a:gd name="T10" fmla="*/ 98 w 104"/>
                  <a:gd name="T11" fmla="*/ 20 h 115"/>
                  <a:gd name="T12" fmla="*/ 98 w 104"/>
                  <a:gd name="T13" fmla="*/ 20 h 115"/>
                  <a:gd name="T14" fmla="*/ 101 w 104"/>
                  <a:gd name="T15" fmla="*/ 27 h 115"/>
                  <a:gd name="T16" fmla="*/ 104 w 104"/>
                  <a:gd name="T17" fmla="*/ 35 h 115"/>
                  <a:gd name="T18" fmla="*/ 104 w 104"/>
                  <a:gd name="T19" fmla="*/ 43 h 115"/>
                  <a:gd name="T20" fmla="*/ 104 w 104"/>
                  <a:gd name="T21" fmla="*/ 51 h 115"/>
                  <a:gd name="T22" fmla="*/ 102 w 104"/>
                  <a:gd name="T23" fmla="*/ 59 h 115"/>
                  <a:gd name="T24" fmla="*/ 98 w 104"/>
                  <a:gd name="T25" fmla="*/ 66 h 115"/>
                  <a:gd name="T26" fmla="*/ 93 w 104"/>
                  <a:gd name="T27" fmla="*/ 72 h 115"/>
                  <a:gd name="T28" fmla="*/ 87 w 104"/>
                  <a:gd name="T29" fmla="*/ 77 h 115"/>
                  <a:gd name="T30" fmla="*/ 87 w 104"/>
                  <a:gd name="T31" fmla="*/ 77 h 115"/>
                  <a:gd name="T32" fmla="*/ 79 w 104"/>
                  <a:gd name="T33" fmla="*/ 81 h 115"/>
                  <a:gd name="T34" fmla="*/ 79 w 104"/>
                  <a:gd name="T35" fmla="*/ 81 h 115"/>
                  <a:gd name="T36" fmla="*/ 72 w 104"/>
                  <a:gd name="T37" fmla="*/ 83 h 115"/>
                  <a:gd name="T38" fmla="*/ 66 w 104"/>
                  <a:gd name="T39" fmla="*/ 85 h 115"/>
                  <a:gd name="T40" fmla="*/ 59 w 104"/>
                  <a:gd name="T41" fmla="*/ 85 h 115"/>
                  <a:gd name="T42" fmla="*/ 52 w 104"/>
                  <a:gd name="T43" fmla="*/ 86 h 115"/>
                  <a:gd name="T44" fmla="*/ 32 w 104"/>
                  <a:gd name="T45" fmla="*/ 86 h 115"/>
                  <a:gd name="T46" fmla="*/ 32 w 104"/>
                  <a:gd name="T47" fmla="*/ 115 h 115"/>
                  <a:gd name="T48" fmla="*/ 0 w 104"/>
                  <a:gd name="T49" fmla="*/ 115 h 115"/>
                  <a:gd name="T50" fmla="*/ 0 w 104"/>
                  <a:gd name="T51" fmla="*/ 0 h 115"/>
                  <a:gd name="T52" fmla="*/ 52 w 104"/>
                  <a:gd name="T53" fmla="*/ 0 h 115"/>
                  <a:gd name="T54" fmla="*/ 52 w 104"/>
                  <a:gd name="T55" fmla="*/ 0 h 115"/>
                  <a:gd name="T56" fmla="*/ 59 w 104"/>
                  <a:gd name="T57" fmla="*/ 1 h 115"/>
                  <a:gd name="T58" fmla="*/ 66 w 104"/>
                  <a:gd name="T59" fmla="*/ 2 h 115"/>
                  <a:gd name="T60" fmla="*/ 73 w 104"/>
                  <a:gd name="T61" fmla="*/ 3 h 115"/>
                  <a:gd name="T62" fmla="*/ 79 w 104"/>
                  <a:gd name="T63" fmla="*/ 5 h 115"/>
                  <a:gd name="T64" fmla="*/ 79 w 104"/>
                  <a:gd name="T65" fmla="*/ 5 h 115"/>
                  <a:gd name="T66" fmla="*/ 65 w 104"/>
                  <a:gd name="T67" fmla="*/ 56 h 115"/>
                  <a:gd name="T68" fmla="*/ 65 w 104"/>
                  <a:gd name="T69" fmla="*/ 56 h 115"/>
                  <a:gd name="T70" fmla="*/ 67 w 104"/>
                  <a:gd name="T71" fmla="*/ 53 h 115"/>
                  <a:gd name="T72" fmla="*/ 69 w 104"/>
                  <a:gd name="T73" fmla="*/ 50 h 115"/>
                  <a:gd name="T74" fmla="*/ 70 w 104"/>
                  <a:gd name="T75" fmla="*/ 46 h 115"/>
                  <a:gd name="T76" fmla="*/ 70 w 104"/>
                  <a:gd name="T77" fmla="*/ 43 h 115"/>
                  <a:gd name="T78" fmla="*/ 70 w 104"/>
                  <a:gd name="T79" fmla="*/ 43 h 115"/>
                  <a:gd name="T80" fmla="*/ 70 w 104"/>
                  <a:gd name="T81" fmla="*/ 39 h 115"/>
                  <a:gd name="T82" fmla="*/ 69 w 104"/>
                  <a:gd name="T83" fmla="*/ 36 h 115"/>
                  <a:gd name="T84" fmla="*/ 67 w 104"/>
                  <a:gd name="T85" fmla="*/ 33 h 115"/>
                  <a:gd name="T86" fmla="*/ 65 w 104"/>
                  <a:gd name="T87" fmla="*/ 30 h 115"/>
                  <a:gd name="T88" fmla="*/ 65 w 104"/>
                  <a:gd name="T89" fmla="*/ 30 h 115"/>
                  <a:gd name="T90" fmla="*/ 62 w 104"/>
                  <a:gd name="T91" fmla="*/ 28 h 115"/>
                  <a:gd name="T92" fmla="*/ 58 w 104"/>
                  <a:gd name="T93" fmla="*/ 27 h 115"/>
                  <a:gd name="T94" fmla="*/ 54 w 104"/>
                  <a:gd name="T95" fmla="*/ 26 h 115"/>
                  <a:gd name="T96" fmla="*/ 50 w 104"/>
                  <a:gd name="T97" fmla="*/ 26 h 115"/>
                  <a:gd name="T98" fmla="*/ 32 w 104"/>
                  <a:gd name="T99" fmla="*/ 26 h 115"/>
                  <a:gd name="T100" fmla="*/ 32 w 104"/>
                  <a:gd name="T101" fmla="*/ 60 h 115"/>
                  <a:gd name="T102" fmla="*/ 50 w 104"/>
                  <a:gd name="T103" fmla="*/ 60 h 115"/>
                  <a:gd name="T104" fmla="*/ 50 w 104"/>
                  <a:gd name="T105" fmla="*/ 60 h 115"/>
                  <a:gd name="T106" fmla="*/ 54 w 104"/>
                  <a:gd name="T107" fmla="*/ 60 h 115"/>
                  <a:gd name="T108" fmla="*/ 58 w 104"/>
                  <a:gd name="T109" fmla="*/ 59 h 115"/>
                  <a:gd name="T110" fmla="*/ 62 w 104"/>
                  <a:gd name="T111" fmla="*/ 58 h 115"/>
                  <a:gd name="T112" fmla="*/ 65 w 104"/>
                  <a:gd name="T113" fmla="*/ 56 h 115"/>
                  <a:gd name="T114" fmla="*/ 65 w 104"/>
                  <a:gd name="T115" fmla="*/ 56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04" h="115">
                    <a:moveTo>
                      <a:pt x="79" y="5"/>
                    </a:moveTo>
                    <a:lnTo>
                      <a:pt x="79" y="5"/>
                    </a:lnTo>
                    <a:lnTo>
                      <a:pt x="85" y="8"/>
                    </a:lnTo>
                    <a:lnTo>
                      <a:pt x="90" y="12"/>
                    </a:lnTo>
                    <a:lnTo>
                      <a:pt x="94" y="16"/>
                    </a:lnTo>
                    <a:lnTo>
                      <a:pt x="98" y="20"/>
                    </a:lnTo>
                    <a:lnTo>
                      <a:pt x="98" y="20"/>
                    </a:lnTo>
                    <a:lnTo>
                      <a:pt x="101" y="27"/>
                    </a:lnTo>
                    <a:lnTo>
                      <a:pt x="104" y="35"/>
                    </a:lnTo>
                    <a:lnTo>
                      <a:pt x="104" y="43"/>
                    </a:lnTo>
                    <a:lnTo>
                      <a:pt x="104" y="51"/>
                    </a:lnTo>
                    <a:lnTo>
                      <a:pt x="102" y="59"/>
                    </a:lnTo>
                    <a:lnTo>
                      <a:pt x="98" y="66"/>
                    </a:lnTo>
                    <a:lnTo>
                      <a:pt x="93" y="72"/>
                    </a:lnTo>
                    <a:lnTo>
                      <a:pt x="87" y="77"/>
                    </a:lnTo>
                    <a:lnTo>
                      <a:pt x="87" y="77"/>
                    </a:lnTo>
                    <a:lnTo>
                      <a:pt x="79" y="81"/>
                    </a:lnTo>
                    <a:lnTo>
                      <a:pt x="79" y="81"/>
                    </a:lnTo>
                    <a:lnTo>
                      <a:pt x="72" y="83"/>
                    </a:lnTo>
                    <a:lnTo>
                      <a:pt x="66" y="85"/>
                    </a:lnTo>
                    <a:lnTo>
                      <a:pt x="59" y="85"/>
                    </a:lnTo>
                    <a:lnTo>
                      <a:pt x="52" y="86"/>
                    </a:lnTo>
                    <a:lnTo>
                      <a:pt x="32" y="86"/>
                    </a:lnTo>
                    <a:lnTo>
                      <a:pt x="3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52" y="0"/>
                    </a:lnTo>
                    <a:lnTo>
                      <a:pt x="52" y="0"/>
                    </a:lnTo>
                    <a:lnTo>
                      <a:pt x="59" y="1"/>
                    </a:lnTo>
                    <a:lnTo>
                      <a:pt x="66" y="2"/>
                    </a:lnTo>
                    <a:lnTo>
                      <a:pt x="73" y="3"/>
                    </a:lnTo>
                    <a:lnTo>
                      <a:pt x="79" y="5"/>
                    </a:lnTo>
                    <a:lnTo>
                      <a:pt x="79" y="5"/>
                    </a:lnTo>
                    <a:close/>
                    <a:moveTo>
                      <a:pt x="65" y="56"/>
                    </a:moveTo>
                    <a:lnTo>
                      <a:pt x="65" y="56"/>
                    </a:lnTo>
                    <a:lnTo>
                      <a:pt x="67" y="53"/>
                    </a:lnTo>
                    <a:lnTo>
                      <a:pt x="69" y="50"/>
                    </a:lnTo>
                    <a:lnTo>
                      <a:pt x="70" y="46"/>
                    </a:lnTo>
                    <a:lnTo>
                      <a:pt x="70" y="43"/>
                    </a:lnTo>
                    <a:lnTo>
                      <a:pt x="70" y="43"/>
                    </a:lnTo>
                    <a:lnTo>
                      <a:pt x="70" y="39"/>
                    </a:lnTo>
                    <a:lnTo>
                      <a:pt x="69" y="36"/>
                    </a:lnTo>
                    <a:lnTo>
                      <a:pt x="67" y="33"/>
                    </a:lnTo>
                    <a:lnTo>
                      <a:pt x="65" y="30"/>
                    </a:lnTo>
                    <a:lnTo>
                      <a:pt x="65" y="30"/>
                    </a:lnTo>
                    <a:lnTo>
                      <a:pt x="62" y="28"/>
                    </a:lnTo>
                    <a:lnTo>
                      <a:pt x="58" y="27"/>
                    </a:lnTo>
                    <a:lnTo>
                      <a:pt x="54" y="26"/>
                    </a:lnTo>
                    <a:lnTo>
                      <a:pt x="50" y="26"/>
                    </a:lnTo>
                    <a:lnTo>
                      <a:pt x="32" y="26"/>
                    </a:lnTo>
                    <a:lnTo>
                      <a:pt x="32" y="60"/>
                    </a:lnTo>
                    <a:lnTo>
                      <a:pt x="50" y="60"/>
                    </a:lnTo>
                    <a:lnTo>
                      <a:pt x="50" y="60"/>
                    </a:lnTo>
                    <a:lnTo>
                      <a:pt x="54" y="60"/>
                    </a:lnTo>
                    <a:lnTo>
                      <a:pt x="58" y="59"/>
                    </a:lnTo>
                    <a:lnTo>
                      <a:pt x="62" y="58"/>
                    </a:lnTo>
                    <a:lnTo>
                      <a:pt x="65" y="56"/>
                    </a:lnTo>
                    <a:lnTo>
                      <a:pt x="65" y="5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2">
                <a:extLst>
                  <a:ext uri="{FF2B5EF4-FFF2-40B4-BE49-F238E27FC236}">
                    <a16:creationId xmlns:a16="http://schemas.microsoft.com/office/drawing/2014/main" id="{F46061F0-567C-4E8F-A458-E321BAC5D3A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029954" y="1535113"/>
                <a:ext cx="74613" cy="90487"/>
              </a:xfrm>
              <a:custGeom>
                <a:avLst/>
                <a:gdLst>
                  <a:gd name="T0" fmla="*/ 93 w 93"/>
                  <a:gd name="T1" fmla="*/ 90 h 115"/>
                  <a:gd name="T2" fmla="*/ 93 w 93"/>
                  <a:gd name="T3" fmla="*/ 115 h 115"/>
                  <a:gd name="T4" fmla="*/ 0 w 93"/>
                  <a:gd name="T5" fmla="*/ 115 h 115"/>
                  <a:gd name="T6" fmla="*/ 0 w 93"/>
                  <a:gd name="T7" fmla="*/ 0 h 115"/>
                  <a:gd name="T8" fmla="*/ 91 w 93"/>
                  <a:gd name="T9" fmla="*/ 0 h 115"/>
                  <a:gd name="T10" fmla="*/ 91 w 93"/>
                  <a:gd name="T11" fmla="*/ 25 h 115"/>
                  <a:gd name="T12" fmla="*/ 32 w 93"/>
                  <a:gd name="T13" fmla="*/ 25 h 115"/>
                  <a:gd name="T14" fmla="*/ 32 w 93"/>
                  <a:gd name="T15" fmla="*/ 44 h 115"/>
                  <a:gd name="T16" fmla="*/ 83 w 93"/>
                  <a:gd name="T17" fmla="*/ 44 h 115"/>
                  <a:gd name="T18" fmla="*/ 83 w 93"/>
                  <a:gd name="T19" fmla="*/ 69 h 115"/>
                  <a:gd name="T20" fmla="*/ 32 w 93"/>
                  <a:gd name="T21" fmla="*/ 69 h 115"/>
                  <a:gd name="T22" fmla="*/ 32 w 93"/>
                  <a:gd name="T23" fmla="*/ 90 h 115"/>
                  <a:gd name="T24" fmla="*/ 93 w 93"/>
                  <a:gd name="T25" fmla="*/ 9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3" h="115">
                    <a:moveTo>
                      <a:pt x="93" y="90"/>
                    </a:moveTo>
                    <a:lnTo>
                      <a:pt x="93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91" y="0"/>
                    </a:lnTo>
                    <a:lnTo>
                      <a:pt x="91" y="25"/>
                    </a:lnTo>
                    <a:lnTo>
                      <a:pt x="32" y="25"/>
                    </a:lnTo>
                    <a:lnTo>
                      <a:pt x="32" y="44"/>
                    </a:lnTo>
                    <a:lnTo>
                      <a:pt x="83" y="44"/>
                    </a:lnTo>
                    <a:lnTo>
                      <a:pt x="83" y="69"/>
                    </a:lnTo>
                    <a:lnTo>
                      <a:pt x="32" y="69"/>
                    </a:lnTo>
                    <a:lnTo>
                      <a:pt x="32" y="90"/>
                    </a:lnTo>
                    <a:lnTo>
                      <a:pt x="93" y="9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3">
                <a:extLst>
                  <a:ext uri="{FF2B5EF4-FFF2-40B4-BE49-F238E27FC236}">
                    <a16:creationId xmlns:a16="http://schemas.microsoft.com/office/drawing/2014/main" id="{278FC24E-7491-4DB6-9078-22307462244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122029" y="1535113"/>
                <a:ext cx="122238" cy="90487"/>
              </a:xfrm>
              <a:custGeom>
                <a:avLst/>
                <a:gdLst>
                  <a:gd name="T0" fmla="*/ 155 w 155"/>
                  <a:gd name="T1" fmla="*/ 0 h 115"/>
                  <a:gd name="T2" fmla="*/ 155 w 155"/>
                  <a:gd name="T3" fmla="*/ 115 h 115"/>
                  <a:gd name="T4" fmla="*/ 0 w 155"/>
                  <a:gd name="T5" fmla="*/ 115 h 115"/>
                  <a:gd name="T6" fmla="*/ 0 w 155"/>
                  <a:gd name="T7" fmla="*/ 0 h 115"/>
                  <a:gd name="T8" fmla="*/ 31 w 155"/>
                  <a:gd name="T9" fmla="*/ 0 h 115"/>
                  <a:gd name="T10" fmla="*/ 31 w 155"/>
                  <a:gd name="T11" fmla="*/ 90 h 115"/>
                  <a:gd name="T12" fmla="*/ 61 w 155"/>
                  <a:gd name="T13" fmla="*/ 90 h 115"/>
                  <a:gd name="T14" fmla="*/ 61 w 155"/>
                  <a:gd name="T15" fmla="*/ 0 h 115"/>
                  <a:gd name="T16" fmla="*/ 93 w 155"/>
                  <a:gd name="T17" fmla="*/ 0 h 115"/>
                  <a:gd name="T18" fmla="*/ 93 w 155"/>
                  <a:gd name="T19" fmla="*/ 90 h 115"/>
                  <a:gd name="T20" fmla="*/ 123 w 155"/>
                  <a:gd name="T21" fmla="*/ 90 h 115"/>
                  <a:gd name="T22" fmla="*/ 123 w 155"/>
                  <a:gd name="T23" fmla="*/ 0 h 115"/>
                  <a:gd name="T24" fmla="*/ 155 w 155"/>
                  <a:gd name="T25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5" h="115">
                    <a:moveTo>
                      <a:pt x="155" y="0"/>
                    </a:moveTo>
                    <a:lnTo>
                      <a:pt x="155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1" y="0"/>
                    </a:lnTo>
                    <a:lnTo>
                      <a:pt x="31" y="90"/>
                    </a:lnTo>
                    <a:lnTo>
                      <a:pt x="61" y="90"/>
                    </a:lnTo>
                    <a:lnTo>
                      <a:pt x="61" y="0"/>
                    </a:lnTo>
                    <a:lnTo>
                      <a:pt x="93" y="0"/>
                    </a:lnTo>
                    <a:lnTo>
                      <a:pt x="93" y="90"/>
                    </a:lnTo>
                    <a:lnTo>
                      <a:pt x="123" y="90"/>
                    </a:lnTo>
                    <a:lnTo>
                      <a:pt x="123" y="0"/>
                    </a:lnTo>
                    <a:lnTo>
                      <a:pt x="15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4">
                <a:extLst>
                  <a:ext uri="{FF2B5EF4-FFF2-40B4-BE49-F238E27FC236}">
                    <a16:creationId xmlns:a16="http://schemas.microsoft.com/office/drawing/2014/main" id="{D2607145-D0B7-4BDE-B58D-DAFA1B613D9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268079" y="1535113"/>
                <a:ext cx="71438" cy="90487"/>
              </a:xfrm>
              <a:custGeom>
                <a:avLst/>
                <a:gdLst>
                  <a:gd name="T0" fmla="*/ 92 w 92"/>
                  <a:gd name="T1" fmla="*/ 90 h 115"/>
                  <a:gd name="T2" fmla="*/ 92 w 92"/>
                  <a:gd name="T3" fmla="*/ 115 h 115"/>
                  <a:gd name="T4" fmla="*/ 0 w 92"/>
                  <a:gd name="T5" fmla="*/ 115 h 115"/>
                  <a:gd name="T6" fmla="*/ 0 w 92"/>
                  <a:gd name="T7" fmla="*/ 0 h 115"/>
                  <a:gd name="T8" fmla="*/ 90 w 92"/>
                  <a:gd name="T9" fmla="*/ 0 h 115"/>
                  <a:gd name="T10" fmla="*/ 90 w 92"/>
                  <a:gd name="T11" fmla="*/ 25 h 115"/>
                  <a:gd name="T12" fmla="*/ 32 w 92"/>
                  <a:gd name="T13" fmla="*/ 25 h 115"/>
                  <a:gd name="T14" fmla="*/ 32 w 92"/>
                  <a:gd name="T15" fmla="*/ 44 h 115"/>
                  <a:gd name="T16" fmla="*/ 83 w 92"/>
                  <a:gd name="T17" fmla="*/ 44 h 115"/>
                  <a:gd name="T18" fmla="*/ 83 w 92"/>
                  <a:gd name="T19" fmla="*/ 69 h 115"/>
                  <a:gd name="T20" fmla="*/ 32 w 92"/>
                  <a:gd name="T21" fmla="*/ 69 h 115"/>
                  <a:gd name="T22" fmla="*/ 32 w 92"/>
                  <a:gd name="T23" fmla="*/ 90 h 115"/>
                  <a:gd name="T24" fmla="*/ 92 w 92"/>
                  <a:gd name="T25" fmla="*/ 9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2" h="115">
                    <a:moveTo>
                      <a:pt x="92" y="90"/>
                    </a:moveTo>
                    <a:lnTo>
                      <a:pt x="9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25"/>
                    </a:lnTo>
                    <a:lnTo>
                      <a:pt x="32" y="25"/>
                    </a:lnTo>
                    <a:lnTo>
                      <a:pt x="32" y="44"/>
                    </a:lnTo>
                    <a:lnTo>
                      <a:pt x="83" y="44"/>
                    </a:lnTo>
                    <a:lnTo>
                      <a:pt x="83" y="69"/>
                    </a:lnTo>
                    <a:lnTo>
                      <a:pt x="32" y="69"/>
                    </a:lnTo>
                    <a:lnTo>
                      <a:pt x="32" y="90"/>
                    </a:lnTo>
                    <a:lnTo>
                      <a:pt x="92" y="9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5">
                <a:extLst>
                  <a:ext uri="{FF2B5EF4-FFF2-40B4-BE49-F238E27FC236}">
                    <a16:creationId xmlns:a16="http://schemas.microsoft.com/office/drawing/2014/main" id="{B0810280-F386-4EFA-8781-3B3D5AB5F1D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358566" y="1535113"/>
                <a:ext cx="85725" cy="90487"/>
              </a:xfrm>
              <a:custGeom>
                <a:avLst/>
                <a:gdLst>
                  <a:gd name="T0" fmla="*/ 109 w 109"/>
                  <a:gd name="T1" fmla="*/ 0 h 115"/>
                  <a:gd name="T2" fmla="*/ 109 w 109"/>
                  <a:gd name="T3" fmla="*/ 115 h 115"/>
                  <a:gd name="T4" fmla="*/ 77 w 109"/>
                  <a:gd name="T5" fmla="*/ 115 h 115"/>
                  <a:gd name="T6" fmla="*/ 77 w 109"/>
                  <a:gd name="T7" fmla="*/ 71 h 115"/>
                  <a:gd name="T8" fmla="*/ 32 w 109"/>
                  <a:gd name="T9" fmla="*/ 71 h 115"/>
                  <a:gd name="T10" fmla="*/ 32 w 109"/>
                  <a:gd name="T11" fmla="*/ 115 h 115"/>
                  <a:gd name="T12" fmla="*/ 0 w 109"/>
                  <a:gd name="T13" fmla="*/ 115 h 115"/>
                  <a:gd name="T14" fmla="*/ 0 w 109"/>
                  <a:gd name="T15" fmla="*/ 0 h 115"/>
                  <a:gd name="T16" fmla="*/ 32 w 109"/>
                  <a:gd name="T17" fmla="*/ 0 h 115"/>
                  <a:gd name="T18" fmla="*/ 32 w 109"/>
                  <a:gd name="T19" fmla="*/ 43 h 115"/>
                  <a:gd name="T20" fmla="*/ 77 w 109"/>
                  <a:gd name="T21" fmla="*/ 43 h 115"/>
                  <a:gd name="T22" fmla="*/ 77 w 109"/>
                  <a:gd name="T23" fmla="*/ 0 h 115"/>
                  <a:gd name="T24" fmla="*/ 109 w 109"/>
                  <a:gd name="T25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9" h="115">
                    <a:moveTo>
                      <a:pt x="109" y="0"/>
                    </a:moveTo>
                    <a:lnTo>
                      <a:pt x="109" y="115"/>
                    </a:lnTo>
                    <a:lnTo>
                      <a:pt x="77" y="115"/>
                    </a:lnTo>
                    <a:lnTo>
                      <a:pt x="77" y="71"/>
                    </a:lnTo>
                    <a:lnTo>
                      <a:pt x="32" y="71"/>
                    </a:lnTo>
                    <a:lnTo>
                      <a:pt x="3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2" y="0"/>
                    </a:lnTo>
                    <a:lnTo>
                      <a:pt x="32" y="43"/>
                    </a:lnTo>
                    <a:lnTo>
                      <a:pt x="77" y="43"/>
                    </a:lnTo>
                    <a:lnTo>
                      <a:pt x="77" y="0"/>
                    </a:lnTo>
                    <a:lnTo>
                      <a:pt x="109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6">
                <a:extLst>
                  <a:ext uri="{FF2B5EF4-FFF2-40B4-BE49-F238E27FC236}">
                    <a16:creationId xmlns:a16="http://schemas.microsoft.com/office/drawing/2014/main" id="{D15C06EC-5998-46DA-8FDB-73574A01AC6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466516" y="1535113"/>
                <a:ext cx="87313" cy="90487"/>
              </a:xfrm>
              <a:custGeom>
                <a:avLst/>
                <a:gdLst>
                  <a:gd name="T0" fmla="*/ 0 w 110"/>
                  <a:gd name="T1" fmla="*/ 0 h 115"/>
                  <a:gd name="T2" fmla="*/ 32 w 110"/>
                  <a:gd name="T3" fmla="*/ 0 h 115"/>
                  <a:gd name="T4" fmla="*/ 32 w 110"/>
                  <a:gd name="T5" fmla="*/ 68 h 115"/>
                  <a:gd name="T6" fmla="*/ 80 w 110"/>
                  <a:gd name="T7" fmla="*/ 0 h 115"/>
                  <a:gd name="T8" fmla="*/ 110 w 110"/>
                  <a:gd name="T9" fmla="*/ 0 h 115"/>
                  <a:gd name="T10" fmla="*/ 110 w 110"/>
                  <a:gd name="T11" fmla="*/ 115 h 115"/>
                  <a:gd name="T12" fmla="*/ 78 w 110"/>
                  <a:gd name="T13" fmla="*/ 115 h 115"/>
                  <a:gd name="T14" fmla="*/ 78 w 110"/>
                  <a:gd name="T15" fmla="*/ 48 h 115"/>
                  <a:gd name="T16" fmla="*/ 30 w 110"/>
                  <a:gd name="T17" fmla="*/ 115 h 115"/>
                  <a:gd name="T18" fmla="*/ 0 w 110"/>
                  <a:gd name="T19" fmla="*/ 115 h 115"/>
                  <a:gd name="T20" fmla="*/ 0 w 110"/>
                  <a:gd name="T21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0" h="115">
                    <a:moveTo>
                      <a:pt x="0" y="0"/>
                    </a:moveTo>
                    <a:lnTo>
                      <a:pt x="32" y="0"/>
                    </a:lnTo>
                    <a:lnTo>
                      <a:pt x="32" y="68"/>
                    </a:lnTo>
                    <a:lnTo>
                      <a:pt x="80" y="0"/>
                    </a:lnTo>
                    <a:lnTo>
                      <a:pt x="110" y="0"/>
                    </a:lnTo>
                    <a:lnTo>
                      <a:pt x="110" y="115"/>
                    </a:lnTo>
                    <a:lnTo>
                      <a:pt x="78" y="115"/>
                    </a:lnTo>
                    <a:lnTo>
                      <a:pt x="78" y="48"/>
                    </a:lnTo>
                    <a:lnTo>
                      <a:pt x="30" y="115"/>
                    </a:lnTo>
                    <a:lnTo>
                      <a:pt x="0" y="11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7">
                <a:extLst>
                  <a:ext uri="{FF2B5EF4-FFF2-40B4-BE49-F238E27FC236}">
                    <a16:creationId xmlns:a16="http://schemas.microsoft.com/office/drawing/2014/main" id="{2AD6D604-C69C-4FB5-A7A8-3F644223EDCB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1571291" y="1535113"/>
                <a:ext cx="80963" cy="90487"/>
              </a:xfrm>
              <a:custGeom>
                <a:avLst/>
                <a:gdLst>
                  <a:gd name="T0" fmla="*/ 103 w 103"/>
                  <a:gd name="T1" fmla="*/ 0 h 115"/>
                  <a:gd name="T2" fmla="*/ 103 w 103"/>
                  <a:gd name="T3" fmla="*/ 115 h 115"/>
                  <a:gd name="T4" fmla="*/ 71 w 103"/>
                  <a:gd name="T5" fmla="*/ 115 h 115"/>
                  <a:gd name="T6" fmla="*/ 71 w 103"/>
                  <a:gd name="T7" fmla="*/ 87 h 115"/>
                  <a:gd name="T8" fmla="*/ 54 w 103"/>
                  <a:gd name="T9" fmla="*/ 87 h 115"/>
                  <a:gd name="T10" fmla="*/ 34 w 103"/>
                  <a:gd name="T11" fmla="*/ 115 h 115"/>
                  <a:gd name="T12" fmla="*/ 0 w 103"/>
                  <a:gd name="T13" fmla="*/ 115 h 115"/>
                  <a:gd name="T14" fmla="*/ 23 w 103"/>
                  <a:gd name="T15" fmla="*/ 82 h 115"/>
                  <a:gd name="T16" fmla="*/ 23 w 103"/>
                  <a:gd name="T17" fmla="*/ 82 h 115"/>
                  <a:gd name="T18" fmla="*/ 18 w 103"/>
                  <a:gd name="T19" fmla="*/ 79 h 115"/>
                  <a:gd name="T20" fmla="*/ 13 w 103"/>
                  <a:gd name="T21" fmla="*/ 76 h 115"/>
                  <a:gd name="T22" fmla="*/ 9 w 103"/>
                  <a:gd name="T23" fmla="*/ 72 h 115"/>
                  <a:gd name="T24" fmla="*/ 6 w 103"/>
                  <a:gd name="T25" fmla="*/ 67 h 115"/>
                  <a:gd name="T26" fmla="*/ 6 w 103"/>
                  <a:gd name="T27" fmla="*/ 67 h 115"/>
                  <a:gd name="T28" fmla="*/ 3 w 103"/>
                  <a:gd name="T29" fmla="*/ 62 h 115"/>
                  <a:gd name="T30" fmla="*/ 1 w 103"/>
                  <a:gd name="T31" fmla="*/ 57 h 115"/>
                  <a:gd name="T32" fmla="*/ 0 w 103"/>
                  <a:gd name="T33" fmla="*/ 51 h 115"/>
                  <a:gd name="T34" fmla="*/ 0 w 103"/>
                  <a:gd name="T35" fmla="*/ 44 h 115"/>
                  <a:gd name="T36" fmla="*/ 0 w 103"/>
                  <a:gd name="T37" fmla="*/ 44 h 115"/>
                  <a:gd name="T38" fmla="*/ 0 w 103"/>
                  <a:gd name="T39" fmla="*/ 38 h 115"/>
                  <a:gd name="T40" fmla="*/ 1 w 103"/>
                  <a:gd name="T41" fmla="*/ 32 h 115"/>
                  <a:gd name="T42" fmla="*/ 3 w 103"/>
                  <a:gd name="T43" fmla="*/ 26 h 115"/>
                  <a:gd name="T44" fmla="*/ 6 w 103"/>
                  <a:gd name="T45" fmla="*/ 21 h 115"/>
                  <a:gd name="T46" fmla="*/ 6 w 103"/>
                  <a:gd name="T47" fmla="*/ 21 h 115"/>
                  <a:gd name="T48" fmla="*/ 10 w 103"/>
                  <a:gd name="T49" fmla="*/ 16 h 115"/>
                  <a:gd name="T50" fmla="*/ 14 w 103"/>
                  <a:gd name="T51" fmla="*/ 12 h 115"/>
                  <a:gd name="T52" fmla="*/ 19 w 103"/>
                  <a:gd name="T53" fmla="*/ 8 h 115"/>
                  <a:gd name="T54" fmla="*/ 24 w 103"/>
                  <a:gd name="T55" fmla="*/ 6 h 115"/>
                  <a:gd name="T56" fmla="*/ 24 w 103"/>
                  <a:gd name="T57" fmla="*/ 6 h 115"/>
                  <a:gd name="T58" fmla="*/ 30 w 103"/>
                  <a:gd name="T59" fmla="*/ 3 h 115"/>
                  <a:gd name="T60" fmla="*/ 37 w 103"/>
                  <a:gd name="T61" fmla="*/ 2 h 115"/>
                  <a:gd name="T62" fmla="*/ 45 w 103"/>
                  <a:gd name="T63" fmla="*/ 1 h 115"/>
                  <a:gd name="T64" fmla="*/ 52 w 103"/>
                  <a:gd name="T65" fmla="*/ 1 h 115"/>
                  <a:gd name="T66" fmla="*/ 103 w 103"/>
                  <a:gd name="T67" fmla="*/ 0 h 115"/>
                  <a:gd name="T68" fmla="*/ 32 w 103"/>
                  <a:gd name="T69" fmla="*/ 43 h 115"/>
                  <a:gd name="T70" fmla="*/ 32 w 103"/>
                  <a:gd name="T71" fmla="*/ 43 h 115"/>
                  <a:gd name="T72" fmla="*/ 33 w 103"/>
                  <a:gd name="T73" fmla="*/ 48 h 115"/>
                  <a:gd name="T74" fmla="*/ 34 w 103"/>
                  <a:gd name="T75" fmla="*/ 51 h 115"/>
                  <a:gd name="T76" fmla="*/ 35 w 103"/>
                  <a:gd name="T77" fmla="*/ 54 h 115"/>
                  <a:gd name="T78" fmla="*/ 37 w 103"/>
                  <a:gd name="T79" fmla="*/ 57 h 115"/>
                  <a:gd name="T80" fmla="*/ 37 w 103"/>
                  <a:gd name="T81" fmla="*/ 57 h 115"/>
                  <a:gd name="T82" fmla="*/ 42 w 103"/>
                  <a:gd name="T83" fmla="*/ 59 h 115"/>
                  <a:gd name="T84" fmla="*/ 45 w 103"/>
                  <a:gd name="T85" fmla="*/ 61 h 115"/>
                  <a:gd name="T86" fmla="*/ 49 w 103"/>
                  <a:gd name="T87" fmla="*/ 62 h 115"/>
                  <a:gd name="T88" fmla="*/ 52 w 103"/>
                  <a:gd name="T89" fmla="*/ 62 h 115"/>
                  <a:gd name="T90" fmla="*/ 72 w 103"/>
                  <a:gd name="T91" fmla="*/ 62 h 115"/>
                  <a:gd name="T92" fmla="*/ 72 w 103"/>
                  <a:gd name="T93" fmla="*/ 26 h 115"/>
                  <a:gd name="T94" fmla="*/ 53 w 103"/>
                  <a:gd name="T95" fmla="*/ 26 h 115"/>
                  <a:gd name="T96" fmla="*/ 53 w 103"/>
                  <a:gd name="T97" fmla="*/ 26 h 115"/>
                  <a:gd name="T98" fmla="*/ 48 w 103"/>
                  <a:gd name="T99" fmla="*/ 26 h 115"/>
                  <a:gd name="T100" fmla="*/ 44 w 103"/>
                  <a:gd name="T101" fmla="*/ 27 h 115"/>
                  <a:gd name="T102" fmla="*/ 41 w 103"/>
                  <a:gd name="T103" fmla="*/ 28 h 115"/>
                  <a:gd name="T104" fmla="*/ 37 w 103"/>
                  <a:gd name="T105" fmla="*/ 30 h 115"/>
                  <a:gd name="T106" fmla="*/ 35 w 103"/>
                  <a:gd name="T107" fmla="*/ 32 h 115"/>
                  <a:gd name="T108" fmla="*/ 34 w 103"/>
                  <a:gd name="T109" fmla="*/ 35 h 115"/>
                  <a:gd name="T110" fmla="*/ 33 w 103"/>
                  <a:gd name="T111" fmla="*/ 39 h 115"/>
                  <a:gd name="T112" fmla="*/ 32 w 103"/>
                  <a:gd name="T113" fmla="*/ 43 h 115"/>
                  <a:gd name="T114" fmla="*/ 32 w 103"/>
                  <a:gd name="T115" fmla="*/ 43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03" h="115">
                    <a:moveTo>
                      <a:pt x="103" y="0"/>
                    </a:moveTo>
                    <a:lnTo>
                      <a:pt x="103" y="115"/>
                    </a:lnTo>
                    <a:lnTo>
                      <a:pt x="71" y="115"/>
                    </a:lnTo>
                    <a:lnTo>
                      <a:pt x="71" y="87"/>
                    </a:lnTo>
                    <a:lnTo>
                      <a:pt x="54" y="87"/>
                    </a:lnTo>
                    <a:lnTo>
                      <a:pt x="34" y="115"/>
                    </a:lnTo>
                    <a:lnTo>
                      <a:pt x="0" y="115"/>
                    </a:lnTo>
                    <a:lnTo>
                      <a:pt x="23" y="82"/>
                    </a:lnTo>
                    <a:lnTo>
                      <a:pt x="23" y="82"/>
                    </a:lnTo>
                    <a:lnTo>
                      <a:pt x="18" y="79"/>
                    </a:lnTo>
                    <a:lnTo>
                      <a:pt x="13" y="76"/>
                    </a:lnTo>
                    <a:lnTo>
                      <a:pt x="9" y="72"/>
                    </a:lnTo>
                    <a:lnTo>
                      <a:pt x="6" y="67"/>
                    </a:lnTo>
                    <a:lnTo>
                      <a:pt x="6" y="67"/>
                    </a:lnTo>
                    <a:lnTo>
                      <a:pt x="3" y="62"/>
                    </a:lnTo>
                    <a:lnTo>
                      <a:pt x="1" y="57"/>
                    </a:lnTo>
                    <a:lnTo>
                      <a:pt x="0" y="51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38"/>
                    </a:lnTo>
                    <a:lnTo>
                      <a:pt x="1" y="32"/>
                    </a:lnTo>
                    <a:lnTo>
                      <a:pt x="3" y="26"/>
                    </a:lnTo>
                    <a:lnTo>
                      <a:pt x="6" y="21"/>
                    </a:lnTo>
                    <a:lnTo>
                      <a:pt x="6" y="21"/>
                    </a:lnTo>
                    <a:lnTo>
                      <a:pt x="10" y="16"/>
                    </a:lnTo>
                    <a:lnTo>
                      <a:pt x="14" y="12"/>
                    </a:lnTo>
                    <a:lnTo>
                      <a:pt x="19" y="8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30" y="3"/>
                    </a:lnTo>
                    <a:lnTo>
                      <a:pt x="37" y="2"/>
                    </a:lnTo>
                    <a:lnTo>
                      <a:pt x="45" y="1"/>
                    </a:lnTo>
                    <a:lnTo>
                      <a:pt x="52" y="1"/>
                    </a:lnTo>
                    <a:lnTo>
                      <a:pt x="103" y="0"/>
                    </a:lnTo>
                    <a:close/>
                    <a:moveTo>
                      <a:pt x="32" y="43"/>
                    </a:moveTo>
                    <a:lnTo>
                      <a:pt x="32" y="43"/>
                    </a:lnTo>
                    <a:lnTo>
                      <a:pt x="33" y="48"/>
                    </a:lnTo>
                    <a:lnTo>
                      <a:pt x="34" y="51"/>
                    </a:lnTo>
                    <a:lnTo>
                      <a:pt x="35" y="54"/>
                    </a:lnTo>
                    <a:lnTo>
                      <a:pt x="37" y="57"/>
                    </a:lnTo>
                    <a:lnTo>
                      <a:pt x="37" y="57"/>
                    </a:lnTo>
                    <a:lnTo>
                      <a:pt x="42" y="59"/>
                    </a:lnTo>
                    <a:lnTo>
                      <a:pt x="45" y="61"/>
                    </a:lnTo>
                    <a:lnTo>
                      <a:pt x="49" y="62"/>
                    </a:lnTo>
                    <a:lnTo>
                      <a:pt x="52" y="62"/>
                    </a:lnTo>
                    <a:lnTo>
                      <a:pt x="72" y="62"/>
                    </a:lnTo>
                    <a:lnTo>
                      <a:pt x="72" y="26"/>
                    </a:lnTo>
                    <a:lnTo>
                      <a:pt x="53" y="26"/>
                    </a:lnTo>
                    <a:lnTo>
                      <a:pt x="53" y="26"/>
                    </a:lnTo>
                    <a:lnTo>
                      <a:pt x="48" y="26"/>
                    </a:lnTo>
                    <a:lnTo>
                      <a:pt x="44" y="27"/>
                    </a:lnTo>
                    <a:lnTo>
                      <a:pt x="41" y="28"/>
                    </a:lnTo>
                    <a:lnTo>
                      <a:pt x="37" y="30"/>
                    </a:lnTo>
                    <a:lnTo>
                      <a:pt x="35" y="32"/>
                    </a:lnTo>
                    <a:lnTo>
                      <a:pt x="34" y="35"/>
                    </a:lnTo>
                    <a:lnTo>
                      <a:pt x="33" y="39"/>
                    </a:lnTo>
                    <a:lnTo>
                      <a:pt x="32" y="43"/>
                    </a:lnTo>
                    <a:lnTo>
                      <a:pt x="32" y="4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11C8A163-FB29-4627-BCAD-CF17C4D2CBA4}"/>
                </a:ext>
              </a:extLst>
            </p:cNvPr>
            <p:cNvGrpSpPr/>
            <p:nvPr userDrawn="1"/>
          </p:nvGrpSpPr>
          <p:grpSpPr>
            <a:xfrm>
              <a:off x="10332720" y="658368"/>
              <a:ext cx="670092" cy="617763"/>
              <a:chOff x="10301291" y="611188"/>
              <a:chExt cx="731838" cy="674687"/>
            </a:xfrm>
          </p:grpSpPr>
          <p:sp>
            <p:nvSpPr>
              <p:cNvPr id="42" name="Freeform 28">
                <a:extLst>
                  <a:ext uri="{FF2B5EF4-FFF2-40B4-BE49-F238E27FC236}">
                    <a16:creationId xmlns:a16="http://schemas.microsoft.com/office/drawing/2014/main" id="{97F384C3-93F7-4EDA-8EDB-49CA9DC7C10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301291" y="611188"/>
                <a:ext cx="731838" cy="674687"/>
              </a:xfrm>
              <a:custGeom>
                <a:avLst/>
                <a:gdLst>
                  <a:gd name="T0" fmla="*/ 922 w 922"/>
                  <a:gd name="T1" fmla="*/ 0 h 850"/>
                  <a:gd name="T2" fmla="*/ 922 w 922"/>
                  <a:gd name="T3" fmla="*/ 850 h 850"/>
                  <a:gd name="T4" fmla="*/ 0 w 922"/>
                  <a:gd name="T5" fmla="*/ 850 h 850"/>
                  <a:gd name="T6" fmla="*/ 922 w 922"/>
                  <a:gd name="T7" fmla="*/ 0 h 8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22" h="850">
                    <a:moveTo>
                      <a:pt x="922" y="0"/>
                    </a:moveTo>
                    <a:lnTo>
                      <a:pt x="922" y="850"/>
                    </a:lnTo>
                    <a:lnTo>
                      <a:pt x="0" y="850"/>
                    </a:lnTo>
                    <a:lnTo>
                      <a:pt x="922" y="0"/>
                    </a:lnTo>
                    <a:close/>
                  </a:path>
                </a:pathLst>
              </a:custGeom>
              <a:solidFill>
                <a:srgbClr val="46AC4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29">
                <a:extLst>
                  <a:ext uri="{FF2B5EF4-FFF2-40B4-BE49-F238E27FC236}">
                    <a16:creationId xmlns:a16="http://schemas.microsoft.com/office/drawing/2014/main" id="{FB5F85B2-1A9A-4613-B366-A913C4354AF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877554" y="611188"/>
                <a:ext cx="155575" cy="674687"/>
              </a:xfrm>
              <a:custGeom>
                <a:avLst/>
                <a:gdLst>
                  <a:gd name="T0" fmla="*/ 196 w 196"/>
                  <a:gd name="T1" fmla="*/ 0 h 850"/>
                  <a:gd name="T2" fmla="*/ 196 w 196"/>
                  <a:gd name="T3" fmla="*/ 850 h 850"/>
                  <a:gd name="T4" fmla="*/ 0 w 196"/>
                  <a:gd name="T5" fmla="*/ 850 h 850"/>
                  <a:gd name="T6" fmla="*/ 0 w 196"/>
                  <a:gd name="T7" fmla="*/ 181 h 850"/>
                  <a:gd name="T8" fmla="*/ 196 w 196"/>
                  <a:gd name="T9" fmla="*/ 0 h 8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6" h="850">
                    <a:moveTo>
                      <a:pt x="196" y="0"/>
                    </a:moveTo>
                    <a:lnTo>
                      <a:pt x="196" y="850"/>
                    </a:lnTo>
                    <a:lnTo>
                      <a:pt x="0" y="850"/>
                    </a:lnTo>
                    <a:lnTo>
                      <a:pt x="0" y="181"/>
                    </a:lnTo>
                    <a:lnTo>
                      <a:pt x="196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30">
                <a:extLst>
                  <a:ext uri="{FF2B5EF4-FFF2-40B4-BE49-F238E27FC236}">
                    <a16:creationId xmlns:a16="http://schemas.microsoft.com/office/drawing/2014/main" id="{878A53AC-4EC6-4BF1-B59E-F5D1999F7BBB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301291" y="625475"/>
                <a:ext cx="493713" cy="660400"/>
              </a:xfrm>
              <a:custGeom>
                <a:avLst/>
                <a:gdLst>
                  <a:gd name="T0" fmla="*/ 339 w 622"/>
                  <a:gd name="T1" fmla="*/ 302 h 833"/>
                  <a:gd name="T2" fmla="*/ 366 w 622"/>
                  <a:gd name="T3" fmla="*/ 303 h 833"/>
                  <a:gd name="T4" fmla="*/ 419 w 622"/>
                  <a:gd name="T5" fmla="*/ 309 h 833"/>
                  <a:gd name="T6" fmla="*/ 447 w 622"/>
                  <a:gd name="T7" fmla="*/ 315 h 833"/>
                  <a:gd name="T8" fmla="*/ 493 w 622"/>
                  <a:gd name="T9" fmla="*/ 332 h 833"/>
                  <a:gd name="T10" fmla="*/ 536 w 622"/>
                  <a:gd name="T11" fmla="*/ 358 h 833"/>
                  <a:gd name="T12" fmla="*/ 546 w 622"/>
                  <a:gd name="T13" fmla="*/ 366 h 833"/>
                  <a:gd name="T14" fmla="*/ 564 w 622"/>
                  <a:gd name="T15" fmla="*/ 383 h 833"/>
                  <a:gd name="T16" fmla="*/ 580 w 622"/>
                  <a:gd name="T17" fmla="*/ 404 h 833"/>
                  <a:gd name="T18" fmla="*/ 594 w 622"/>
                  <a:gd name="T19" fmla="*/ 428 h 833"/>
                  <a:gd name="T20" fmla="*/ 600 w 622"/>
                  <a:gd name="T21" fmla="*/ 440 h 833"/>
                  <a:gd name="T22" fmla="*/ 609 w 622"/>
                  <a:gd name="T23" fmla="*/ 468 h 833"/>
                  <a:gd name="T24" fmla="*/ 616 w 622"/>
                  <a:gd name="T25" fmla="*/ 500 h 833"/>
                  <a:gd name="T26" fmla="*/ 620 w 622"/>
                  <a:gd name="T27" fmla="*/ 532 h 833"/>
                  <a:gd name="T28" fmla="*/ 622 w 622"/>
                  <a:gd name="T29" fmla="*/ 568 h 833"/>
                  <a:gd name="T30" fmla="*/ 621 w 622"/>
                  <a:gd name="T31" fmla="*/ 586 h 833"/>
                  <a:gd name="T32" fmla="*/ 619 w 622"/>
                  <a:gd name="T33" fmla="*/ 620 h 833"/>
                  <a:gd name="T34" fmla="*/ 613 w 622"/>
                  <a:gd name="T35" fmla="*/ 653 h 833"/>
                  <a:gd name="T36" fmla="*/ 605 w 622"/>
                  <a:gd name="T37" fmla="*/ 682 h 833"/>
                  <a:gd name="T38" fmla="*/ 600 w 622"/>
                  <a:gd name="T39" fmla="*/ 695 h 833"/>
                  <a:gd name="T40" fmla="*/ 587 w 622"/>
                  <a:gd name="T41" fmla="*/ 720 h 833"/>
                  <a:gd name="T42" fmla="*/ 573 w 622"/>
                  <a:gd name="T43" fmla="*/ 742 h 833"/>
                  <a:gd name="T44" fmla="*/ 555 w 622"/>
                  <a:gd name="T45" fmla="*/ 761 h 833"/>
                  <a:gd name="T46" fmla="*/ 536 w 622"/>
                  <a:gd name="T47" fmla="*/ 779 h 833"/>
                  <a:gd name="T48" fmla="*/ 515 w 622"/>
                  <a:gd name="T49" fmla="*/ 792 h 833"/>
                  <a:gd name="T50" fmla="*/ 470 w 622"/>
                  <a:gd name="T51" fmla="*/ 813 h 833"/>
                  <a:gd name="T52" fmla="*/ 447 w 622"/>
                  <a:gd name="T53" fmla="*/ 820 h 833"/>
                  <a:gd name="T54" fmla="*/ 392 w 622"/>
                  <a:gd name="T55" fmla="*/ 830 h 833"/>
                  <a:gd name="T56" fmla="*/ 338 w 622"/>
                  <a:gd name="T57" fmla="*/ 833 h 833"/>
                  <a:gd name="T58" fmla="*/ 0 w 622"/>
                  <a:gd name="T59" fmla="*/ 0 h 833"/>
                  <a:gd name="T60" fmla="*/ 558 w 622"/>
                  <a:gd name="T61" fmla="*/ 187 h 833"/>
                  <a:gd name="T62" fmla="*/ 187 w 622"/>
                  <a:gd name="T63" fmla="*/ 302 h 833"/>
                  <a:gd name="T64" fmla="*/ 338 w 622"/>
                  <a:gd name="T65" fmla="*/ 661 h 833"/>
                  <a:gd name="T66" fmla="*/ 349 w 622"/>
                  <a:gd name="T67" fmla="*/ 660 h 833"/>
                  <a:gd name="T68" fmla="*/ 368 w 622"/>
                  <a:gd name="T69" fmla="*/ 658 h 833"/>
                  <a:gd name="T70" fmla="*/ 384 w 622"/>
                  <a:gd name="T71" fmla="*/ 652 h 833"/>
                  <a:gd name="T72" fmla="*/ 397 w 622"/>
                  <a:gd name="T73" fmla="*/ 644 h 833"/>
                  <a:gd name="T74" fmla="*/ 408 w 622"/>
                  <a:gd name="T75" fmla="*/ 634 h 833"/>
                  <a:gd name="T76" fmla="*/ 416 w 622"/>
                  <a:gd name="T77" fmla="*/ 620 h 833"/>
                  <a:gd name="T78" fmla="*/ 422 w 622"/>
                  <a:gd name="T79" fmla="*/ 604 h 833"/>
                  <a:gd name="T80" fmla="*/ 424 w 622"/>
                  <a:gd name="T81" fmla="*/ 586 h 833"/>
                  <a:gd name="T82" fmla="*/ 425 w 622"/>
                  <a:gd name="T83" fmla="*/ 575 h 833"/>
                  <a:gd name="T84" fmla="*/ 423 w 622"/>
                  <a:gd name="T85" fmla="*/ 556 h 833"/>
                  <a:gd name="T86" fmla="*/ 419 w 622"/>
                  <a:gd name="T87" fmla="*/ 539 h 833"/>
                  <a:gd name="T88" fmla="*/ 413 w 622"/>
                  <a:gd name="T89" fmla="*/ 524 h 833"/>
                  <a:gd name="T90" fmla="*/ 403 w 622"/>
                  <a:gd name="T91" fmla="*/ 512 h 833"/>
                  <a:gd name="T92" fmla="*/ 391 w 622"/>
                  <a:gd name="T93" fmla="*/ 503 h 833"/>
                  <a:gd name="T94" fmla="*/ 376 w 622"/>
                  <a:gd name="T95" fmla="*/ 497 h 833"/>
                  <a:gd name="T96" fmla="*/ 358 w 622"/>
                  <a:gd name="T97" fmla="*/ 493 h 833"/>
                  <a:gd name="T98" fmla="*/ 338 w 622"/>
                  <a:gd name="T99" fmla="*/ 491 h 833"/>
                  <a:gd name="T100" fmla="*/ 187 w 622"/>
                  <a:gd name="T101" fmla="*/ 661 h 8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622" h="833">
                    <a:moveTo>
                      <a:pt x="187" y="302"/>
                    </a:moveTo>
                    <a:lnTo>
                      <a:pt x="339" y="302"/>
                    </a:lnTo>
                    <a:lnTo>
                      <a:pt x="339" y="302"/>
                    </a:lnTo>
                    <a:lnTo>
                      <a:pt x="366" y="303"/>
                    </a:lnTo>
                    <a:lnTo>
                      <a:pt x="393" y="305"/>
                    </a:lnTo>
                    <a:lnTo>
                      <a:pt x="419" y="309"/>
                    </a:lnTo>
                    <a:lnTo>
                      <a:pt x="447" y="315"/>
                    </a:lnTo>
                    <a:lnTo>
                      <a:pt x="447" y="315"/>
                    </a:lnTo>
                    <a:lnTo>
                      <a:pt x="471" y="323"/>
                    </a:lnTo>
                    <a:lnTo>
                      <a:pt x="493" y="332"/>
                    </a:lnTo>
                    <a:lnTo>
                      <a:pt x="515" y="345"/>
                    </a:lnTo>
                    <a:lnTo>
                      <a:pt x="536" y="358"/>
                    </a:lnTo>
                    <a:lnTo>
                      <a:pt x="536" y="358"/>
                    </a:lnTo>
                    <a:lnTo>
                      <a:pt x="546" y="366"/>
                    </a:lnTo>
                    <a:lnTo>
                      <a:pt x="555" y="374"/>
                    </a:lnTo>
                    <a:lnTo>
                      <a:pt x="564" y="383"/>
                    </a:lnTo>
                    <a:lnTo>
                      <a:pt x="573" y="393"/>
                    </a:lnTo>
                    <a:lnTo>
                      <a:pt x="580" y="404"/>
                    </a:lnTo>
                    <a:lnTo>
                      <a:pt x="587" y="415"/>
                    </a:lnTo>
                    <a:lnTo>
                      <a:pt x="594" y="428"/>
                    </a:lnTo>
                    <a:lnTo>
                      <a:pt x="600" y="440"/>
                    </a:lnTo>
                    <a:lnTo>
                      <a:pt x="600" y="440"/>
                    </a:lnTo>
                    <a:lnTo>
                      <a:pt x="605" y="454"/>
                    </a:lnTo>
                    <a:lnTo>
                      <a:pt x="609" y="468"/>
                    </a:lnTo>
                    <a:lnTo>
                      <a:pt x="613" y="484"/>
                    </a:lnTo>
                    <a:lnTo>
                      <a:pt x="616" y="500"/>
                    </a:lnTo>
                    <a:lnTo>
                      <a:pt x="619" y="516"/>
                    </a:lnTo>
                    <a:lnTo>
                      <a:pt x="620" y="532"/>
                    </a:lnTo>
                    <a:lnTo>
                      <a:pt x="621" y="550"/>
                    </a:lnTo>
                    <a:lnTo>
                      <a:pt x="622" y="568"/>
                    </a:lnTo>
                    <a:lnTo>
                      <a:pt x="622" y="568"/>
                    </a:lnTo>
                    <a:lnTo>
                      <a:pt x="621" y="586"/>
                    </a:lnTo>
                    <a:lnTo>
                      <a:pt x="620" y="603"/>
                    </a:lnTo>
                    <a:lnTo>
                      <a:pt x="619" y="620"/>
                    </a:lnTo>
                    <a:lnTo>
                      <a:pt x="616" y="637"/>
                    </a:lnTo>
                    <a:lnTo>
                      <a:pt x="613" y="653"/>
                    </a:lnTo>
                    <a:lnTo>
                      <a:pt x="609" y="668"/>
                    </a:lnTo>
                    <a:lnTo>
                      <a:pt x="605" y="682"/>
                    </a:lnTo>
                    <a:lnTo>
                      <a:pt x="600" y="695"/>
                    </a:lnTo>
                    <a:lnTo>
                      <a:pt x="600" y="695"/>
                    </a:lnTo>
                    <a:lnTo>
                      <a:pt x="594" y="708"/>
                    </a:lnTo>
                    <a:lnTo>
                      <a:pt x="587" y="720"/>
                    </a:lnTo>
                    <a:lnTo>
                      <a:pt x="580" y="732"/>
                    </a:lnTo>
                    <a:lnTo>
                      <a:pt x="573" y="742"/>
                    </a:lnTo>
                    <a:lnTo>
                      <a:pt x="564" y="752"/>
                    </a:lnTo>
                    <a:lnTo>
                      <a:pt x="555" y="761"/>
                    </a:lnTo>
                    <a:lnTo>
                      <a:pt x="546" y="771"/>
                    </a:lnTo>
                    <a:lnTo>
                      <a:pt x="536" y="779"/>
                    </a:lnTo>
                    <a:lnTo>
                      <a:pt x="536" y="779"/>
                    </a:lnTo>
                    <a:lnTo>
                      <a:pt x="515" y="792"/>
                    </a:lnTo>
                    <a:lnTo>
                      <a:pt x="493" y="804"/>
                    </a:lnTo>
                    <a:lnTo>
                      <a:pt x="470" y="813"/>
                    </a:lnTo>
                    <a:lnTo>
                      <a:pt x="447" y="820"/>
                    </a:lnTo>
                    <a:lnTo>
                      <a:pt x="447" y="820"/>
                    </a:lnTo>
                    <a:lnTo>
                      <a:pt x="419" y="826"/>
                    </a:lnTo>
                    <a:lnTo>
                      <a:pt x="392" y="830"/>
                    </a:lnTo>
                    <a:lnTo>
                      <a:pt x="365" y="833"/>
                    </a:lnTo>
                    <a:lnTo>
                      <a:pt x="338" y="833"/>
                    </a:lnTo>
                    <a:lnTo>
                      <a:pt x="0" y="833"/>
                    </a:lnTo>
                    <a:lnTo>
                      <a:pt x="0" y="0"/>
                    </a:lnTo>
                    <a:lnTo>
                      <a:pt x="558" y="0"/>
                    </a:lnTo>
                    <a:lnTo>
                      <a:pt x="558" y="187"/>
                    </a:lnTo>
                    <a:lnTo>
                      <a:pt x="187" y="187"/>
                    </a:lnTo>
                    <a:lnTo>
                      <a:pt x="187" y="302"/>
                    </a:lnTo>
                    <a:close/>
                    <a:moveTo>
                      <a:pt x="187" y="661"/>
                    </a:moveTo>
                    <a:lnTo>
                      <a:pt x="338" y="661"/>
                    </a:lnTo>
                    <a:lnTo>
                      <a:pt x="338" y="661"/>
                    </a:lnTo>
                    <a:lnTo>
                      <a:pt x="349" y="660"/>
                    </a:lnTo>
                    <a:lnTo>
                      <a:pt x="358" y="659"/>
                    </a:lnTo>
                    <a:lnTo>
                      <a:pt x="368" y="658"/>
                    </a:lnTo>
                    <a:lnTo>
                      <a:pt x="376" y="655"/>
                    </a:lnTo>
                    <a:lnTo>
                      <a:pt x="384" y="652"/>
                    </a:lnTo>
                    <a:lnTo>
                      <a:pt x="391" y="649"/>
                    </a:lnTo>
                    <a:lnTo>
                      <a:pt x="397" y="644"/>
                    </a:lnTo>
                    <a:lnTo>
                      <a:pt x="403" y="640"/>
                    </a:lnTo>
                    <a:lnTo>
                      <a:pt x="408" y="634"/>
                    </a:lnTo>
                    <a:lnTo>
                      <a:pt x="413" y="628"/>
                    </a:lnTo>
                    <a:lnTo>
                      <a:pt x="416" y="620"/>
                    </a:lnTo>
                    <a:lnTo>
                      <a:pt x="419" y="612"/>
                    </a:lnTo>
                    <a:lnTo>
                      <a:pt x="422" y="604"/>
                    </a:lnTo>
                    <a:lnTo>
                      <a:pt x="423" y="595"/>
                    </a:lnTo>
                    <a:lnTo>
                      <a:pt x="424" y="586"/>
                    </a:lnTo>
                    <a:lnTo>
                      <a:pt x="425" y="575"/>
                    </a:lnTo>
                    <a:lnTo>
                      <a:pt x="425" y="575"/>
                    </a:lnTo>
                    <a:lnTo>
                      <a:pt x="424" y="565"/>
                    </a:lnTo>
                    <a:lnTo>
                      <a:pt x="423" y="556"/>
                    </a:lnTo>
                    <a:lnTo>
                      <a:pt x="422" y="547"/>
                    </a:lnTo>
                    <a:lnTo>
                      <a:pt x="419" y="539"/>
                    </a:lnTo>
                    <a:lnTo>
                      <a:pt x="416" y="531"/>
                    </a:lnTo>
                    <a:lnTo>
                      <a:pt x="413" y="524"/>
                    </a:lnTo>
                    <a:lnTo>
                      <a:pt x="408" y="518"/>
                    </a:lnTo>
                    <a:lnTo>
                      <a:pt x="403" y="512"/>
                    </a:lnTo>
                    <a:lnTo>
                      <a:pt x="397" y="507"/>
                    </a:lnTo>
                    <a:lnTo>
                      <a:pt x="391" y="503"/>
                    </a:lnTo>
                    <a:lnTo>
                      <a:pt x="384" y="500"/>
                    </a:lnTo>
                    <a:lnTo>
                      <a:pt x="376" y="497"/>
                    </a:lnTo>
                    <a:lnTo>
                      <a:pt x="368" y="494"/>
                    </a:lnTo>
                    <a:lnTo>
                      <a:pt x="358" y="493"/>
                    </a:lnTo>
                    <a:lnTo>
                      <a:pt x="349" y="492"/>
                    </a:lnTo>
                    <a:lnTo>
                      <a:pt x="338" y="491"/>
                    </a:lnTo>
                    <a:lnTo>
                      <a:pt x="187" y="491"/>
                    </a:lnTo>
                    <a:lnTo>
                      <a:pt x="187" y="66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65575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5123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-heading+20pt+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02213154-7AC9-9B25-686C-435DD75D1E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2000" y="540000"/>
            <a:ext cx="10972800" cy="590400"/>
          </a:xfrm>
        </p:spPr>
        <p:txBody>
          <a:bodyPr/>
          <a:lstStyle>
            <a:lvl1pPr>
              <a:defRPr sz="2400">
                <a:solidFill>
                  <a:srgbClr val="4AA851"/>
                </a:solidFill>
              </a:defRPr>
            </a:lvl1pPr>
          </a:lstStyle>
          <a:p>
            <a:r>
              <a:rPr lang="en-US" dirty="0"/>
              <a:t>MONTSERRAT 24</a:t>
            </a:r>
            <a:r>
              <a:rPr lang="ru-RU" dirty="0"/>
              <a:t> </a:t>
            </a:r>
            <a:r>
              <a:rPr lang="en-US" dirty="0" err="1"/>
              <a:t>pt</a:t>
            </a:r>
            <a:endParaRPr lang="en-GB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A03D4F03-792F-AA33-3C88-43D913E74506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612000" y="1152000"/>
            <a:ext cx="10972800" cy="720000"/>
          </a:xfrm>
        </p:spPr>
        <p:txBody>
          <a:bodyPr/>
          <a:lstStyle>
            <a:lvl1pPr marL="0" indent="0">
              <a:lnSpc>
                <a:spcPts val="2000"/>
              </a:lnSpc>
              <a:spcBef>
                <a:spcPts val="984"/>
              </a:spcBef>
              <a:buNone/>
              <a:defRPr sz="2000">
                <a:solidFill>
                  <a:srgbClr val="C4C4CD"/>
                </a:solidFill>
                <a:latin typeface="+mj-lt"/>
              </a:defRPr>
            </a:lvl1pPr>
            <a:lvl2pPr marL="200479" indent="0">
              <a:buNone/>
              <a:defRPr sz="1012">
                <a:solidFill>
                  <a:schemeClr val="bg1"/>
                </a:solidFill>
              </a:defRPr>
            </a:lvl2pPr>
            <a:lvl3pPr marL="400959" indent="0">
              <a:buNone/>
              <a:defRPr sz="900">
                <a:solidFill>
                  <a:schemeClr val="bg1"/>
                </a:solidFill>
              </a:defRPr>
            </a:lvl3pPr>
            <a:lvl4pPr marL="601440" indent="0">
              <a:buNone/>
              <a:defRPr sz="788">
                <a:solidFill>
                  <a:schemeClr val="bg1"/>
                </a:solidFill>
              </a:defRPr>
            </a:lvl4pPr>
            <a:lvl5pPr marL="801919" indent="0">
              <a:buNone/>
              <a:defRPr sz="676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 Monserrat 2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0109343D-A45D-E318-9D6A-304B8A86E1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2000" y="1872000"/>
            <a:ext cx="10972800" cy="360585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00479" indent="-200479">
              <a:buFont typeface="Montserrat Light" panose="00000400000000000000" pitchFamily="2" charset="-52"/>
              <a:buChar char="▶"/>
              <a:defRPr sz="2000"/>
            </a:lvl1pPr>
            <a:lvl2pPr marL="400959" indent="-200479">
              <a:buFont typeface="Montserrat Light" panose="00000400000000000000" pitchFamily="2" charset="-52"/>
              <a:buChar char="▶"/>
              <a:defRPr sz="1800"/>
            </a:lvl2pPr>
            <a:lvl3pPr marL="601440" indent="-200479">
              <a:buFont typeface="Montserrat Light" panose="00000400000000000000" pitchFamily="2" charset="-52"/>
              <a:buChar char="▶"/>
              <a:defRPr sz="1600"/>
            </a:lvl3pPr>
            <a:lvl4pPr marL="801919" indent="-200479">
              <a:buFont typeface="Montserrat Light" panose="00000400000000000000" pitchFamily="2" charset="-52"/>
              <a:buChar char="▶"/>
              <a:defRPr sz="1400"/>
            </a:lvl4pPr>
            <a:lvl5pPr marL="1002398" indent="-200479">
              <a:buFont typeface="Montserrat Light" panose="00000400000000000000" pitchFamily="2" charset="-52"/>
              <a:buChar char="▶"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2E9C0250-8569-4544-A346-FB2D0EF6498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677397" y="6463527"/>
            <a:ext cx="1588344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685767" rtl="0" eaLnBrk="1" latinLnBrk="0" hangingPunct="1">
              <a:defRPr lang="en-IN" sz="800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fld id="{3E9DDD83-BC30-461C-84B3-E766D3BE0EE6}" type="datetime4">
              <a:rPr lang="ru-RU" smtClean="0"/>
              <a:t>16 августа 2022 г.</a:t>
            </a:fld>
            <a:endParaRPr lang="en-US" dirty="0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25185510-6BF5-4CDD-8D7C-FD20CB7C8E7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83077" y="6463527"/>
            <a:ext cx="41148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685767" rtl="0" eaLnBrk="1" latinLnBrk="0" hangingPunct="1">
              <a:defRPr lang="en-IN" sz="8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ru-RU"/>
              <a:t>Название темы</a:t>
            </a:r>
            <a:endParaRPr lang="en-US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2376B76C-004C-4A8E-BC0A-675CA054235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09601" y="6463527"/>
            <a:ext cx="884088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685767" rtl="0" eaLnBrk="1" latinLnBrk="0" hangingPunct="1">
              <a:defRPr lang="en-IN" sz="800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ru-RU"/>
              <a:t>Страница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794000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A4DF8B46-C5EE-FD6A-D4EF-06D1EBC2FE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2000" y="540000"/>
            <a:ext cx="10972800" cy="590400"/>
          </a:xfrm>
        </p:spPr>
        <p:txBody>
          <a:bodyPr/>
          <a:lstStyle>
            <a:lvl1pPr>
              <a:defRPr sz="2400">
                <a:solidFill>
                  <a:srgbClr val="4AA851"/>
                </a:solidFill>
              </a:defRPr>
            </a:lvl1pPr>
          </a:lstStyle>
          <a:p>
            <a:r>
              <a:rPr lang="en-US" dirty="0"/>
              <a:t>MONTSERRAT 24</a:t>
            </a:r>
            <a:r>
              <a:rPr lang="ru-RU" dirty="0"/>
              <a:t> </a:t>
            </a:r>
            <a:r>
              <a:rPr lang="en-US" dirty="0" err="1"/>
              <a:t>pt</a:t>
            </a:r>
            <a:endParaRPr lang="en-GB" dirty="0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CD778415-FC4D-47D8-BD8C-93F3B5FCF95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677397" y="6463527"/>
            <a:ext cx="1588344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685767" rtl="0" eaLnBrk="1" latinLnBrk="0" hangingPunct="1">
              <a:defRPr lang="en-IN" sz="800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fld id="{375DBEDA-7A0A-4370-8D2F-DF5BDD1C6C25}" type="datetime4">
              <a:rPr lang="ru-RU" smtClean="0"/>
              <a:t>16 августа 2022 г.</a:t>
            </a:fld>
            <a:endParaRPr lang="en-US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BD46B95F-DA98-4235-9C96-CBAAE7AB8F9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83077" y="6463527"/>
            <a:ext cx="41148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685767" rtl="0" eaLnBrk="1" latinLnBrk="0" hangingPunct="1">
              <a:defRPr lang="en-IN" sz="8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ru-RU"/>
              <a:t>Название темы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DD66DB83-DBA6-40DA-B80E-27C218256C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09601" y="6463527"/>
            <a:ext cx="884088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685767" rtl="0" eaLnBrk="1" latinLnBrk="0" hangingPunct="1">
              <a:defRPr lang="en-IN" sz="800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ru-RU"/>
              <a:t>Страница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231858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12000" y="1152000"/>
            <a:ext cx="4954924" cy="4267457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IN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18F9F9AA-D1DA-62E9-4330-66E9075CF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2000" y="540000"/>
            <a:ext cx="10972800" cy="590400"/>
          </a:xfrm>
        </p:spPr>
        <p:txBody>
          <a:bodyPr/>
          <a:lstStyle>
            <a:lvl1pPr>
              <a:defRPr sz="2400">
                <a:solidFill>
                  <a:srgbClr val="4AA851"/>
                </a:solidFill>
              </a:defRPr>
            </a:lvl1pPr>
          </a:lstStyle>
          <a:p>
            <a:r>
              <a:rPr lang="en-US" dirty="0"/>
              <a:t>MONTSERRAT 24</a:t>
            </a:r>
            <a:r>
              <a:rPr lang="ru-RU" dirty="0"/>
              <a:t> </a:t>
            </a:r>
            <a:r>
              <a:rPr lang="en-US" dirty="0" err="1"/>
              <a:t>pt</a:t>
            </a:r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3BE798F-0A98-9844-7D33-80AD910CC2DF}"/>
              </a:ext>
            </a:extLst>
          </p:cNvPr>
          <p:cNvSpPr/>
          <p:nvPr userDrawn="1"/>
        </p:nvSpPr>
        <p:spPr>
          <a:xfrm>
            <a:off x="7389153" y="1153639"/>
            <a:ext cx="4193244" cy="2306967"/>
          </a:xfrm>
          <a:prstGeom prst="rect">
            <a:avLst/>
          </a:prstGeom>
          <a:solidFill>
            <a:srgbClr val="4AA85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RU" sz="1200" dirty="0">
              <a:solidFill>
                <a:schemeClr val="tx1"/>
              </a:solidFill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77921" y="1288654"/>
            <a:ext cx="3852079" cy="373807"/>
          </a:xfrm>
        </p:spPr>
        <p:txBody>
          <a:bodyPr/>
          <a:lstStyle>
            <a:lvl1pPr marL="0" indent="0">
              <a:buNone/>
              <a:defRPr b="1">
                <a:latin typeface="Montserrat" panose="00000500000000000000" pitchFamily="2" charset="-52"/>
              </a:defRPr>
            </a:lvl1pPr>
          </a:lstStyle>
          <a:p>
            <a:pPr lvl="0"/>
            <a:r>
              <a:rPr lang="en-US" dirty="0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577921" y="1785727"/>
            <a:ext cx="3852079" cy="1611554"/>
          </a:xfrm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/>
              <a:t>Lorem ipsum dolor, 12pt, </a:t>
            </a:r>
            <a:r>
              <a:rPr lang="en-US" dirty="0" err="1"/>
              <a:t>Utinam</a:t>
            </a:r>
            <a:r>
              <a:rPr lang="en-US" dirty="0"/>
              <a:t>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abhorreant</a:t>
            </a:r>
            <a:r>
              <a:rPr lang="en-US" dirty="0"/>
              <a:t> </a:t>
            </a:r>
            <a:r>
              <a:rPr lang="en-US" dirty="0" err="1"/>
              <a:t>sead</a:t>
            </a:r>
            <a:r>
              <a:rPr lang="en-US" dirty="0"/>
              <a:t>. </a:t>
            </a:r>
            <a:r>
              <a:rPr lang="en-US" dirty="0" err="1"/>
              <a:t>Putant</a:t>
            </a:r>
            <a:r>
              <a:rPr lang="en-US" dirty="0"/>
              <a:t> </a:t>
            </a:r>
            <a:r>
              <a:rPr lang="en-US" dirty="0" err="1"/>
              <a:t>probatus</a:t>
            </a:r>
            <a:r>
              <a:rPr lang="en-US" dirty="0"/>
              <a:t> id vis, ad his </a:t>
            </a:r>
            <a:r>
              <a:rPr lang="en-US" dirty="0" err="1"/>
              <a:t>meis</a:t>
            </a:r>
            <a:r>
              <a:rPr lang="en-US" dirty="0"/>
              <a:t> </a:t>
            </a:r>
            <a:r>
              <a:rPr lang="en-US" dirty="0" err="1"/>
              <a:t>habemus</a:t>
            </a:r>
            <a:r>
              <a:rPr lang="en-US" dirty="0"/>
              <a:t> </a:t>
            </a:r>
            <a:r>
              <a:rPr lang="en-US" dirty="0" err="1"/>
              <a:t>repudiare</a:t>
            </a:r>
            <a:r>
              <a:rPr lang="en-US" dirty="0"/>
              <a:t>, has an </a:t>
            </a:r>
            <a:r>
              <a:rPr lang="en-US" dirty="0" err="1"/>
              <a:t>pericula</a:t>
            </a:r>
            <a:r>
              <a:rPr lang="en-US" dirty="0"/>
              <a:t> </a:t>
            </a:r>
            <a:r>
              <a:rPr lang="en-US" dirty="0" err="1"/>
              <a:t>tractatos</a:t>
            </a:r>
            <a:r>
              <a:rPr lang="en-US" dirty="0"/>
              <a:t>. </a:t>
            </a:r>
            <a:r>
              <a:rPr lang="en-US" dirty="0" err="1"/>
              <a:t>Nec</a:t>
            </a:r>
            <a:r>
              <a:rPr lang="en-US" dirty="0"/>
              <a:t> </a:t>
            </a:r>
            <a:r>
              <a:rPr lang="en-US" dirty="0" err="1"/>
              <a:t>debitis</a:t>
            </a:r>
            <a:r>
              <a:rPr lang="en-US" dirty="0"/>
              <a:t> </a:t>
            </a:r>
            <a:r>
              <a:rPr lang="en-US" dirty="0" err="1"/>
              <a:t>dissentias</a:t>
            </a:r>
            <a:r>
              <a:rPr lang="en-US" dirty="0"/>
              <a:t> ad. </a:t>
            </a:r>
            <a:r>
              <a:rPr lang="en-US" dirty="0" err="1"/>
              <a:t>Patrioque</a:t>
            </a:r>
            <a:r>
              <a:rPr lang="en-US" dirty="0"/>
              <a:t> </a:t>
            </a:r>
            <a:r>
              <a:rPr lang="en-US" dirty="0" err="1"/>
              <a:t>voluptatum</a:t>
            </a:r>
            <a:r>
              <a:rPr lang="en-US" dirty="0"/>
              <a:t> sed ex, id </a:t>
            </a:r>
            <a:r>
              <a:rPr lang="en-US" dirty="0" err="1"/>
              <a:t>admodum</a:t>
            </a:r>
            <a:r>
              <a:rPr lang="en-US" dirty="0"/>
              <a:t>.</a:t>
            </a:r>
          </a:p>
          <a:p>
            <a:pPr lvl="0"/>
            <a:endParaRPr lang="en-US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71E572E4-5F7F-DDDF-1B80-736A4E8DD1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427669" y="4105325"/>
            <a:ext cx="3311486" cy="276593"/>
          </a:xfrm>
        </p:spPr>
        <p:txBody>
          <a:bodyPr/>
          <a:lstStyle>
            <a:lvl1pPr marL="0" indent="0">
              <a:buNone/>
              <a:defRPr sz="1200" b="1" i="0">
                <a:solidFill>
                  <a:srgbClr val="4AA85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DAC1A619-86AF-AE08-CD54-66683CBD60C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427669" y="4404849"/>
            <a:ext cx="3311486" cy="276593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Job Title </a:t>
            </a:r>
            <a:r>
              <a:rPr lang="en-IN"/>
              <a:t>to go here</a:t>
            </a:r>
            <a:endParaRPr lang="en-GB" dirty="0"/>
          </a:p>
        </p:txBody>
      </p:sp>
      <p:sp>
        <p:nvSpPr>
          <p:cNvPr id="19" name="Picture Placeholder 19">
            <a:extLst>
              <a:ext uri="{FF2B5EF4-FFF2-40B4-BE49-F238E27FC236}">
                <a16:creationId xmlns:a16="http://schemas.microsoft.com/office/drawing/2014/main" id="{ED1AF18D-2C2C-B44E-9A53-5F6AA365144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389153" y="4025762"/>
            <a:ext cx="808712" cy="816824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676">
                <a:solidFill>
                  <a:schemeClr val="bg1"/>
                </a:solidFill>
                <a:latin typeface="Montserrat Light" panose="00000400000000000000" pitchFamily="2" charset="-52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0E1709EF-8DF8-4525-855F-1F0726F2ECA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677397" y="6463527"/>
            <a:ext cx="1588344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685767" rtl="0" eaLnBrk="1" latinLnBrk="0" hangingPunct="1">
              <a:defRPr lang="en-IN" sz="800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fld id="{45676AF5-8991-4D52-BB86-D7C50AC8FDBC}" type="datetime4">
              <a:rPr lang="ru-RU" smtClean="0"/>
              <a:t>16 августа 2022 г.</a:t>
            </a:fld>
            <a:endParaRPr lang="en-US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C447C3A7-D125-4B71-AF20-08404061A2A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83077" y="6463527"/>
            <a:ext cx="41148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685767" rtl="0" eaLnBrk="1" latinLnBrk="0" hangingPunct="1">
              <a:defRPr lang="en-IN" sz="8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ru-RU"/>
              <a:t>Название темы</a:t>
            </a:r>
            <a:endParaRPr lang="en-US" dirty="0"/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47505415-3437-4974-BD4D-AC795C3756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09601" y="6463527"/>
            <a:ext cx="884088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685767" rtl="0" eaLnBrk="1" latinLnBrk="0" hangingPunct="1">
              <a:defRPr lang="en-IN" sz="800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ru-RU"/>
              <a:t>Страница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37772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-heading+bullets+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2000" y="1368000"/>
            <a:ext cx="5384800" cy="4621506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012"/>
            </a:lvl6pPr>
            <a:lvl7pPr>
              <a:defRPr sz="1012"/>
            </a:lvl7pPr>
            <a:lvl8pPr>
              <a:defRPr sz="1012"/>
            </a:lvl8pPr>
            <a:lvl9pPr>
              <a:defRPr sz="1012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599" y="1368000"/>
            <a:ext cx="5384800" cy="4621506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012"/>
            </a:lvl6pPr>
            <a:lvl7pPr>
              <a:defRPr sz="1012"/>
            </a:lvl7pPr>
            <a:lvl8pPr>
              <a:defRPr sz="1012"/>
            </a:lvl8pPr>
            <a:lvl9pPr>
              <a:defRPr sz="1012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B053C0B-9972-91DD-6BCC-7C5477B36C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2000" y="540000"/>
            <a:ext cx="10972800" cy="590400"/>
          </a:xfrm>
        </p:spPr>
        <p:txBody>
          <a:bodyPr/>
          <a:lstStyle>
            <a:lvl1pPr>
              <a:defRPr sz="2400">
                <a:solidFill>
                  <a:srgbClr val="4AA851"/>
                </a:solidFill>
              </a:defRPr>
            </a:lvl1pPr>
          </a:lstStyle>
          <a:p>
            <a:r>
              <a:rPr lang="en-US" dirty="0"/>
              <a:t>MONTSERRAT 24</a:t>
            </a:r>
            <a:r>
              <a:rPr lang="ru-RU" dirty="0"/>
              <a:t> </a:t>
            </a:r>
            <a:r>
              <a:rPr lang="en-US" dirty="0" err="1"/>
              <a:t>pt</a:t>
            </a:r>
            <a:endParaRPr lang="en-GB" dirty="0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FE2FFFB6-B62C-4F7A-82F6-EC9987CFAA1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677397" y="6463527"/>
            <a:ext cx="1588344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685767" rtl="0" eaLnBrk="1" latinLnBrk="0" hangingPunct="1">
              <a:defRPr lang="en-IN" sz="800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fld id="{79567EF8-0D00-4C1A-8CEF-CD55DA0F15A2}" type="datetime4">
              <a:rPr lang="ru-RU" smtClean="0"/>
              <a:t>16 августа 2022 г.</a:t>
            </a:fld>
            <a:endParaRPr lang="en-US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4399A09-6A27-41C1-BD70-0BE9574E23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83077" y="6463527"/>
            <a:ext cx="41148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685767" rtl="0" eaLnBrk="1" latinLnBrk="0" hangingPunct="1">
              <a:defRPr lang="en-IN" sz="8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ru-RU"/>
              <a:t>Название темы</a:t>
            </a:r>
            <a:endParaRPr lang="en-US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BD9CF819-1B53-4089-8188-63F1C39FF0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09601" y="6463527"/>
            <a:ext cx="884088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685767" rtl="0" eaLnBrk="1" latinLnBrk="0" hangingPunct="1">
              <a:defRPr lang="en-IN" sz="800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ru-RU"/>
              <a:t>Страница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5967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-headings+bullets+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88A79C75-3BB6-7520-5882-FE59CECA8E3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0000" y="1814502"/>
            <a:ext cx="5390400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9">
            <a:extLst>
              <a:ext uri="{FF2B5EF4-FFF2-40B4-BE49-F238E27FC236}">
                <a16:creationId xmlns:a16="http://schemas.microsoft.com/office/drawing/2014/main" id="{BF2CD787-E0F2-38AE-8435-2731D361D9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1999" y="1814502"/>
            <a:ext cx="5390400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641A608F-260C-6CDE-5B6D-60AC2582021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40000" y="2436117"/>
            <a:ext cx="5486399" cy="3705192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012"/>
            </a:lvl6pPr>
            <a:lvl7pPr>
              <a:defRPr sz="1012"/>
            </a:lvl7pPr>
            <a:lvl8pPr>
              <a:defRPr sz="1012"/>
            </a:lvl8pPr>
            <a:lvl9pPr>
              <a:defRPr sz="1012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2FB34390-3D36-F89D-1FA1-12DD0DD9000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91999" y="2436117"/>
            <a:ext cx="5486399" cy="3705192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012"/>
            </a:lvl6pPr>
            <a:lvl7pPr>
              <a:defRPr sz="1012"/>
            </a:lvl7pPr>
            <a:lvl8pPr>
              <a:defRPr sz="1012"/>
            </a:lvl8pPr>
            <a:lvl9pPr>
              <a:defRPr sz="1012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5E97C40-C83F-4B7F-A395-8F887889C2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2000" y="540000"/>
            <a:ext cx="10972800" cy="590400"/>
          </a:xfrm>
        </p:spPr>
        <p:txBody>
          <a:bodyPr/>
          <a:lstStyle>
            <a:lvl1pPr>
              <a:defRPr sz="2400">
                <a:solidFill>
                  <a:srgbClr val="4AA851"/>
                </a:solidFill>
              </a:defRPr>
            </a:lvl1pPr>
          </a:lstStyle>
          <a:p>
            <a:r>
              <a:rPr lang="en-US" dirty="0"/>
              <a:t>MONTSERRAT 24</a:t>
            </a:r>
            <a:r>
              <a:rPr lang="ru-RU" dirty="0"/>
              <a:t> </a:t>
            </a:r>
            <a:r>
              <a:rPr lang="en-US" dirty="0" err="1"/>
              <a:t>pt</a:t>
            </a:r>
            <a:endParaRPr lang="en-GB" dirty="0"/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294A7F31-A37C-465A-9110-DF7540A2DC26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2677397" y="6463527"/>
            <a:ext cx="1588344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685767" rtl="0" eaLnBrk="1" latinLnBrk="0" hangingPunct="1">
              <a:defRPr lang="en-IN" sz="800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fld id="{7400B545-3CDF-4FCD-A1BC-E7EB49FA647A}" type="datetime4">
              <a:rPr lang="ru-RU" smtClean="0"/>
              <a:t>16 августа 2022 г.</a:t>
            </a:fld>
            <a:endParaRPr lang="en-US" dirty="0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934DA1EE-6E4D-4F4B-878E-899B6BEADA4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83077" y="6463527"/>
            <a:ext cx="41148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685767" rtl="0" eaLnBrk="1" latinLnBrk="0" hangingPunct="1">
              <a:defRPr lang="en-IN" sz="8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ru-RU"/>
              <a:t>Название темы</a:t>
            </a:r>
            <a:endParaRPr lang="en-US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84F9981C-C2DC-4E86-8F9E-F974F73B63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09601" y="6463527"/>
            <a:ext cx="884088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685767" rtl="0" eaLnBrk="1" latinLnBrk="0" hangingPunct="1">
              <a:defRPr lang="en-IN" sz="800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ru-RU"/>
              <a:t>Страница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38143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-slide+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194852" y="0"/>
            <a:ext cx="3997149" cy="6857999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609604" y="2311401"/>
            <a:ext cx="3578253" cy="3844704"/>
          </a:xfrm>
        </p:spPr>
        <p:txBody>
          <a:bodyPr numCol="1"/>
          <a:lstStyle>
            <a:lvl1pPr marL="0" indent="0">
              <a:buNone/>
              <a:defRPr sz="1200">
                <a:solidFill>
                  <a:schemeClr val="bg1"/>
                </a:solidFill>
                <a:latin typeface="+mj-lt"/>
              </a:defRPr>
            </a:lvl1pPr>
            <a:lvl2pPr marL="200479" indent="0">
              <a:buNone/>
              <a:defRPr sz="1012">
                <a:solidFill>
                  <a:schemeClr val="bg1"/>
                </a:solidFill>
              </a:defRPr>
            </a:lvl2pPr>
            <a:lvl3pPr marL="400959" indent="0">
              <a:buNone/>
              <a:defRPr sz="900">
                <a:solidFill>
                  <a:schemeClr val="bg1"/>
                </a:solidFill>
              </a:defRPr>
            </a:lvl3pPr>
            <a:lvl4pPr marL="601440" indent="0">
              <a:buNone/>
              <a:defRPr sz="788">
                <a:solidFill>
                  <a:schemeClr val="bg1"/>
                </a:solidFill>
              </a:defRPr>
            </a:lvl4pPr>
            <a:lvl5pPr marL="801919" indent="0">
              <a:buNone/>
              <a:defRPr sz="676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327192" y="2311417"/>
            <a:ext cx="3578253" cy="1254759"/>
          </a:xfrm>
        </p:spPr>
        <p:txBody>
          <a:bodyPr numCol="1"/>
          <a:lstStyle>
            <a:lvl1pPr marL="0" indent="0">
              <a:buNone/>
              <a:defRPr sz="1200">
                <a:solidFill>
                  <a:schemeClr val="bg1"/>
                </a:solidFill>
                <a:latin typeface="+mj-lt"/>
              </a:defRPr>
            </a:lvl1pPr>
            <a:lvl2pPr marL="200479" indent="0">
              <a:buNone/>
              <a:defRPr sz="1012">
                <a:solidFill>
                  <a:schemeClr val="bg1"/>
                </a:solidFill>
              </a:defRPr>
            </a:lvl2pPr>
            <a:lvl3pPr marL="400959" indent="0">
              <a:buNone/>
              <a:defRPr sz="900">
                <a:solidFill>
                  <a:schemeClr val="bg1"/>
                </a:solidFill>
              </a:defRPr>
            </a:lvl3pPr>
            <a:lvl4pPr marL="601440" indent="0">
              <a:buNone/>
              <a:defRPr sz="788">
                <a:solidFill>
                  <a:schemeClr val="bg1"/>
                </a:solidFill>
              </a:defRPr>
            </a:lvl4pPr>
            <a:lvl5pPr marL="801919" indent="0">
              <a:buNone/>
              <a:defRPr sz="676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27192" y="3834523"/>
            <a:ext cx="3578253" cy="1944160"/>
          </a:xfrm>
        </p:spPr>
        <p:txBody>
          <a:bodyPr numCol="1"/>
          <a:lstStyle>
            <a:lvl1pPr marL="0" indent="0">
              <a:buNone/>
              <a:defRPr sz="1800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200479" indent="0">
              <a:buNone/>
              <a:defRPr sz="1012">
                <a:solidFill>
                  <a:schemeClr val="bg1"/>
                </a:solidFill>
              </a:defRPr>
            </a:lvl2pPr>
            <a:lvl3pPr marL="400959" indent="0">
              <a:buNone/>
              <a:defRPr sz="900">
                <a:solidFill>
                  <a:schemeClr val="bg1"/>
                </a:solidFill>
              </a:defRPr>
            </a:lvl3pPr>
            <a:lvl4pPr marL="601440" indent="0">
              <a:buNone/>
              <a:defRPr sz="788">
                <a:solidFill>
                  <a:schemeClr val="bg1"/>
                </a:solidFill>
              </a:defRPr>
            </a:lvl4pPr>
            <a:lvl5pPr marL="801919" indent="0">
              <a:buNone/>
              <a:defRPr sz="676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Quote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BCB61D0-BF20-0F87-23A3-A82D0A09C5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2000" y="540000"/>
            <a:ext cx="7199869" cy="590400"/>
          </a:xfrm>
        </p:spPr>
        <p:txBody>
          <a:bodyPr/>
          <a:lstStyle>
            <a:lvl1pPr>
              <a:defRPr sz="2400">
                <a:solidFill>
                  <a:srgbClr val="4AA851"/>
                </a:solidFill>
              </a:defRPr>
            </a:lvl1pPr>
          </a:lstStyle>
          <a:p>
            <a:r>
              <a:rPr lang="en-US" dirty="0"/>
              <a:t>MONTSERRAT 24</a:t>
            </a:r>
            <a:r>
              <a:rPr lang="ru-RU" dirty="0"/>
              <a:t> </a:t>
            </a:r>
            <a:r>
              <a:rPr lang="en-US" dirty="0" err="1"/>
              <a:t>pt</a:t>
            </a:r>
            <a:endParaRPr lang="en-GB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31AD3648-063B-DCE0-1337-A6D9C7E59E12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612000" y="1152000"/>
            <a:ext cx="7199869" cy="1012990"/>
          </a:xfrm>
        </p:spPr>
        <p:txBody>
          <a:bodyPr/>
          <a:lstStyle>
            <a:lvl1pPr marL="0" indent="0">
              <a:lnSpc>
                <a:spcPts val="2000"/>
              </a:lnSpc>
              <a:spcBef>
                <a:spcPts val="984"/>
              </a:spcBef>
              <a:buNone/>
              <a:defRPr sz="2000">
                <a:solidFill>
                  <a:srgbClr val="C4C4CD"/>
                </a:solidFill>
                <a:latin typeface="+mj-lt"/>
              </a:defRPr>
            </a:lvl1pPr>
            <a:lvl2pPr marL="200479" indent="0">
              <a:buNone/>
              <a:defRPr sz="1012">
                <a:solidFill>
                  <a:schemeClr val="bg1"/>
                </a:solidFill>
              </a:defRPr>
            </a:lvl2pPr>
            <a:lvl3pPr marL="400959" indent="0">
              <a:buNone/>
              <a:defRPr sz="900">
                <a:solidFill>
                  <a:schemeClr val="bg1"/>
                </a:solidFill>
              </a:defRPr>
            </a:lvl3pPr>
            <a:lvl4pPr marL="601440" indent="0">
              <a:buNone/>
              <a:defRPr sz="788">
                <a:solidFill>
                  <a:schemeClr val="bg1"/>
                </a:solidFill>
              </a:defRPr>
            </a:lvl4pPr>
            <a:lvl5pPr marL="801919" indent="0">
              <a:buNone/>
              <a:defRPr sz="676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8" name="Date Placeholder 3">
            <a:extLst>
              <a:ext uri="{FF2B5EF4-FFF2-40B4-BE49-F238E27FC236}">
                <a16:creationId xmlns:a16="http://schemas.microsoft.com/office/drawing/2014/main" id="{89D4ABF1-794D-4873-897D-D252A880EA5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677397" y="6463527"/>
            <a:ext cx="1588344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685767" rtl="0" eaLnBrk="1" latinLnBrk="0" hangingPunct="1">
              <a:defRPr lang="en-IN" sz="800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fld id="{38A2B811-866D-4098-8E5B-D36C5F4C33AE}" type="datetime4">
              <a:rPr lang="ru-RU" smtClean="0"/>
              <a:t>16 августа 2022 г.</a:t>
            </a:fld>
            <a:endParaRPr lang="en-US" dirty="0"/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6D9B6B6F-A7AB-4267-B881-E1462C8FB9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83077" y="6463527"/>
            <a:ext cx="41148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685767" rtl="0" eaLnBrk="1" latinLnBrk="0" hangingPunct="1">
              <a:defRPr lang="en-IN" sz="8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ru-RU"/>
              <a:t>Название темы</a:t>
            </a:r>
            <a:endParaRPr lang="en-US" dirty="0"/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95903085-429E-44A6-998A-92E45C90A18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09601" y="6463527"/>
            <a:ext cx="884088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685767" rtl="0" eaLnBrk="1" latinLnBrk="0" hangingPunct="1">
              <a:defRPr lang="en-IN" sz="800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ru-RU"/>
              <a:t>Страница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088981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-slide+info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4">
            <a:extLst>
              <a:ext uri="{FF2B5EF4-FFF2-40B4-BE49-F238E27FC236}">
                <a16:creationId xmlns:a16="http://schemas.microsoft.com/office/drawing/2014/main" id="{A795C24F-AF00-2018-2D84-C536A3B498E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4"/>
            <a:ext cx="2383219" cy="6857999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00BFE1C5-CEFE-3529-FB7A-62B18AB2C95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693899" y="1137921"/>
            <a:ext cx="2741455" cy="5018184"/>
          </a:xfrm>
        </p:spPr>
        <p:txBody>
          <a:bodyPr/>
          <a:lstStyle>
            <a:lvl1pPr marL="0" indent="0">
              <a:lnSpc>
                <a:spcPts val="2000"/>
              </a:lnSpc>
              <a:spcBef>
                <a:spcPts val="984"/>
              </a:spcBef>
              <a:buNone/>
              <a:defRPr sz="1600">
                <a:solidFill>
                  <a:srgbClr val="C4C4CD"/>
                </a:solidFill>
                <a:latin typeface="+mj-lt"/>
              </a:defRPr>
            </a:lvl1pPr>
            <a:lvl2pPr marL="200479" indent="0">
              <a:buNone/>
              <a:defRPr sz="1012">
                <a:solidFill>
                  <a:schemeClr val="bg1"/>
                </a:solidFill>
              </a:defRPr>
            </a:lvl2pPr>
            <a:lvl3pPr marL="400959" indent="0">
              <a:buNone/>
              <a:defRPr sz="900">
                <a:solidFill>
                  <a:schemeClr val="bg1"/>
                </a:solidFill>
              </a:defRPr>
            </a:lvl3pPr>
            <a:lvl4pPr marL="601440" indent="0">
              <a:buNone/>
              <a:defRPr sz="788">
                <a:solidFill>
                  <a:schemeClr val="bg1"/>
                </a:solidFill>
              </a:defRPr>
            </a:lvl4pPr>
            <a:lvl5pPr marL="801919" indent="0">
              <a:buNone/>
              <a:defRPr sz="676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AE5017EE-D977-BCF8-F5DF-DC029A814C0D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724111" y="1137921"/>
            <a:ext cx="2802383" cy="5018184"/>
          </a:xfrm>
        </p:spPr>
        <p:txBody>
          <a:bodyPr numCol="1"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200479" indent="0">
              <a:buNone/>
              <a:defRPr sz="1012">
                <a:solidFill>
                  <a:schemeClr val="bg1"/>
                </a:solidFill>
              </a:defRPr>
            </a:lvl2pPr>
            <a:lvl3pPr marL="400959" indent="0">
              <a:buNone/>
              <a:defRPr sz="900">
                <a:solidFill>
                  <a:schemeClr val="bg1"/>
                </a:solidFill>
              </a:defRPr>
            </a:lvl3pPr>
            <a:lvl4pPr marL="601440" indent="0">
              <a:buNone/>
              <a:defRPr sz="788">
                <a:solidFill>
                  <a:schemeClr val="bg1"/>
                </a:solidFill>
              </a:defRPr>
            </a:lvl4pPr>
            <a:lvl5pPr marL="801919" indent="0">
              <a:buNone/>
              <a:defRPr sz="676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A0CE6FDA-D3E8-57F5-7C84-9BB038DED7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92782" y="540000"/>
            <a:ext cx="8889628" cy="590400"/>
          </a:xfrm>
        </p:spPr>
        <p:txBody>
          <a:bodyPr/>
          <a:lstStyle>
            <a:lvl1pPr>
              <a:lnSpc>
                <a:spcPts val="3180"/>
              </a:lnSpc>
              <a:defRPr sz="2400">
                <a:solidFill>
                  <a:srgbClr val="4AA851"/>
                </a:solidFill>
              </a:defRPr>
            </a:lvl1pPr>
          </a:lstStyle>
          <a:p>
            <a:r>
              <a:rPr lang="en-US" dirty="0"/>
              <a:t>MONTSERRAT 24</a:t>
            </a:r>
            <a:r>
              <a:rPr lang="ru-RU" dirty="0"/>
              <a:t> </a:t>
            </a:r>
            <a:r>
              <a:rPr lang="en-US" dirty="0" err="1"/>
              <a:t>pt</a:t>
            </a:r>
            <a:endParaRPr lang="en-GB" dirty="0"/>
          </a:p>
        </p:txBody>
      </p:sp>
      <p:pic>
        <p:nvPicPr>
          <p:cNvPr id="13" name="Рисунок 10">
            <a:extLst>
              <a:ext uri="{FF2B5EF4-FFF2-40B4-BE49-F238E27FC236}">
                <a16:creationId xmlns:a16="http://schemas.microsoft.com/office/drawing/2014/main" id="{DF6E68B5-90D9-0F9D-AADF-4A02D5F047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7926261" y="2910660"/>
            <a:ext cx="4278406" cy="3947352"/>
          </a:xfrm>
          <a:prstGeom prst="rect">
            <a:avLst/>
          </a:prstGeom>
        </p:spPr>
      </p:pic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2BAD3A0A-ECEB-162A-15DC-0F270CBE98F4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8815251" y="1137937"/>
            <a:ext cx="2767159" cy="2796151"/>
          </a:xfrm>
        </p:spPr>
        <p:txBody>
          <a:bodyPr numCol="1"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200479" indent="0">
              <a:buNone/>
              <a:defRPr sz="1012">
                <a:solidFill>
                  <a:schemeClr val="bg1"/>
                </a:solidFill>
              </a:defRPr>
            </a:lvl2pPr>
            <a:lvl3pPr marL="400959" indent="0">
              <a:buNone/>
              <a:defRPr sz="900">
                <a:solidFill>
                  <a:schemeClr val="bg1"/>
                </a:solidFill>
              </a:defRPr>
            </a:lvl3pPr>
            <a:lvl4pPr marL="601440" indent="0">
              <a:buNone/>
              <a:defRPr sz="788">
                <a:solidFill>
                  <a:schemeClr val="bg1"/>
                </a:solidFill>
              </a:defRPr>
            </a:lvl4pPr>
            <a:lvl5pPr marL="801919" indent="0">
              <a:buNone/>
              <a:defRPr sz="676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6" name="Date Placeholder 3">
            <a:extLst>
              <a:ext uri="{FF2B5EF4-FFF2-40B4-BE49-F238E27FC236}">
                <a16:creationId xmlns:a16="http://schemas.microsoft.com/office/drawing/2014/main" id="{3AD8ED12-18F5-4C63-9454-C5859F8CFB0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677397" y="6463527"/>
            <a:ext cx="1588344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685767" rtl="0" eaLnBrk="1" latinLnBrk="0" hangingPunct="1">
              <a:defRPr lang="en-IN" sz="800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fld id="{8B32DA2F-D794-46DC-8273-655491033AA3}" type="datetime4">
              <a:rPr lang="ru-RU" smtClean="0"/>
              <a:t>16 августа 2022 г.</a:t>
            </a:fld>
            <a:endParaRPr lang="en-US" dirty="0"/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72128216-F422-4F04-97A8-E115520D5BA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83077" y="6463527"/>
            <a:ext cx="41148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685767" rtl="0" eaLnBrk="1" latinLnBrk="0" hangingPunct="1">
              <a:defRPr lang="en-IN" sz="8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ru-RU"/>
              <a:t>Название темы</a:t>
            </a:r>
            <a:endParaRPr lang="en-US" dirty="0"/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82A246EB-DB04-43A1-BDDC-8BF08F7D689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09601" y="6463527"/>
            <a:ext cx="884088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685767" rtl="0" eaLnBrk="1" latinLnBrk="0" hangingPunct="1">
              <a:defRPr lang="en-IN" sz="800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ru-RU"/>
              <a:t>Страница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230819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-slide+info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4">
            <a:extLst>
              <a:ext uri="{FF2B5EF4-FFF2-40B4-BE49-F238E27FC236}">
                <a16:creationId xmlns:a16="http://schemas.microsoft.com/office/drawing/2014/main" id="{83A8E8F9-058A-AF59-D2DA-6280527CA06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4"/>
            <a:ext cx="2383219" cy="6857999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FEEC70B5-5BBB-B2FA-82E8-410441EC5D5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693899" y="1137921"/>
            <a:ext cx="2741455" cy="5018184"/>
          </a:xfrm>
        </p:spPr>
        <p:txBody>
          <a:bodyPr/>
          <a:lstStyle>
            <a:lvl1pPr marL="0" indent="0">
              <a:lnSpc>
                <a:spcPts val="2000"/>
              </a:lnSpc>
              <a:spcBef>
                <a:spcPts val="984"/>
              </a:spcBef>
              <a:buNone/>
              <a:defRPr sz="1600">
                <a:solidFill>
                  <a:srgbClr val="C4C4CD"/>
                </a:solidFill>
                <a:latin typeface="+mj-lt"/>
              </a:defRPr>
            </a:lvl1pPr>
            <a:lvl2pPr marL="200479" indent="0">
              <a:buNone/>
              <a:defRPr sz="1012">
                <a:solidFill>
                  <a:schemeClr val="bg1"/>
                </a:solidFill>
              </a:defRPr>
            </a:lvl2pPr>
            <a:lvl3pPr marL="400959" indent="0">
              <a:buNone/>
              <a:defRPr sz="900">
                <a:solidFill>
                  <a:schemeClr val="bg1"/>
                </a:solidFill>
              </a:defRPr>
            </a:lvl3pPr>
            <a:lvl4pPr marL="601440" indent="0">
              <a:buNone/>
              <a:defRPr sz="788">
                <a:solidFill>
                  <a:schemeClr val="bg1"/>
                </a:solidFill>
              </a:defRPr>
            </a:lvl4pPr>
            <a:lvl5pPr marL="801919" indent="0">
              <a:buNone/>
              <a:defRPr sz="676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DB07FD6E-5C74-8224-1B39-E2E50F7C3B17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724111" y="1137921"/>
            <a:ext cx="2802383" cy="5018184"/>
          </a:xfrm>
        </p:spPr>
        <p:txBody>
          <a:bodyPr numCol="1"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200479" indent="0">
              <a:buNone/>
              <a:defRPr sz="1012">
                <a:solidFill>
                  <a:schemeClr val="bg1"/>
                </a:solidFill>
              </a:defRPr>
            </a:lvl2pPr>
            <a:lvl3pPr marL="400959" indent="0">
              <a:buNone/>
              <a:defRPr sz="900">
                <a:solidFill>
                  <a:schemeClr val="bg1"/>
                </a:solidFill>
              </a:defRPr>
            </a:lvl3pPr>
            <a:lvl4pPr marL="601440" indent="0">
              <a:buNone/>
              <a:defRPr sz="788">
                <a:solidFill>
                  <a:schemeClr val="bg1"/>
                </a:solidFill>
              </a:defRPr>
            </a:lvl4pPr>
            <a:lvl5pPr marL="801919" indent="0">
              <a:buNone/>
              <a:defRPr sz="676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1E86EB9B-2EE4-CDC9-FCB5-DCD9F5BED1B6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8815251" y="1137937"/>
            <a:ext cx="2767159" cy="2796151"/>
          </a:xfrm>
        </p:spPr>
        <p:txBody>
          <a:bodyPr numCol="1"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200479" indent="0">
              <a:buNone/>
              <a:defRPr sz="1012">
                <a:solidFill>
                  <a:schemeClr val="bg1"/>
                </a:solidFill>
              </a:defRPr>
            </a:lvl2pPr>
            <a:lvl3pPr marL="400959" indent="0">
              <a:buNone/>
              <a:defRPr sz="900">
                <a:solidFill>
                  <a:schemeClr val="bg1"/>
                </a:solidFill>
              </a:defRPr>
            </a:lvl3pPr>
            <a:lvl4pPr marL="601440" indent="0">
              <a:buNone/>
              <a:defRPr sz="788">
                <a:solidFill>
                  <a:schemeClr val="bg1"/>
                </a:solidFill>
              </a:defRPr>
            </a:lvl4pPr>
            <a:lvl5pPr marL="801919" indent="0">
              <a:buNone/>
              <a:defRPr sz="676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C2DF630C-68EB-3438-543F-92AA35AA7CD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92782" y="540000"/>
            <a:ext cx="8889628" cy="590400"/>
          </a:xfrm>
        </p:spPr>
        <p:txBody>
          <a:bodyPr/>
          <a:lstStyle>
            <a:lvl1pPr>
              <a:lnSpc>
                <a:spcPts val="3180"/>
              </a:lnSpc>
              <a:defRPr sz="2400">
                <a:solidFill>
                  <a:srgbClr val="4AA851"/>
                </a:solidFill>
              </a:defRPr>
            </a:lvl1pPr>
          </a:lstStyle>
          <a:p>
            <a:r>
              <a:rPr lang="en-US" dirty="0"/>
              <a:t>MONTSERRAT 24</a:t>
            </a:r>
            <a:r>
              <a:rPr lang="ru-RU" dirty="0"/>
              <a:t> </a:t>
            </a:r>
            <a:r>
              <a:rPr lang="en-US" dirty="0" err="1"/>
              <a:t>pt</a:t>
            </a:r>
            <a:endParaRPr lang="en-GB" dirty="0"/>
          </a:p>
        </p:txBody>
      </p:sp>
      <p:sp>
        <p:nvSpPr>
          <p:cNvPr id="18" name="Date Placeholder 3">
            <a:extLst>
              <a:ext uri="{FF2B5EF4-FFF2-40B4-BE49-F238E27FC236}">
                <a16:creationId xmlns:a16="http://schemas.microsoft.com/office/drawing/2014/main" id="{D99EBE4E-CB7D-4DF0-87DD-5DFC4C0E630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677397" y="6463527"/>
            <a:ext cx="1588344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685767" rtl="0" eaLnBrk="1" latinLnBrk="0" hangingPunct="1">
              <a:defRPr lang="en-IN" sz="800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fld id="{199C6940-64F3-4ACA-8CAB-A9F1356B6BEE}" type="datetime4">
              <a:rPr lang="ru-RU" smtClean="0"/>
              <a:t>16 августа 2022 г.</a:t>
            </a:fld>
            <a:endParaRPr lang="en-US" dirty="0"/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0A941DC7-A575-4C35-85C8-57053AC79F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83077" y="6463527"/>
            <a:ext cx="41148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685767" rtl="0" eaLnBrk="1" latinLnBrk="0" hangingPunct="1">
              <a:defRPr lang="en-IN" sz="8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ru-RU"/>
              <a:t>Название темы</a:t>
            </a:r>
            <a:endParaRPr lang="en-US" dirty="0"/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759E4E6C-BAD3-492A-B46D-D86EBEE17B9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09601" y="6463527"/>
            <a:ext cx="884088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685767" rtl="0" eaLnBrk="1" latinLnBrk="0" hangingPunct="1">
              <a:defRPr lang="en-IN" sz="800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ru-RU"/>
              <a:t>Страница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13121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8-slide+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12000" y="1152000"/>
            <a:ext cx="2741455" cy="5018184"/>
          </a:xfrm>
        </p:spPr>
        <p:txBody>
          <a:bodyPr/>
          <a:lstStyle>
            <a:lvl1pPr marL="0" indent="0">
              <a:lnSpc>
                <a:spcPts val="2000"/>
              </a:lnSpc>
              <a:spcBef>
                <a:spcPts val="984"/>
              </a:spcBef>
              <a:buNone/>
              <a:defRPr sz="1600">
                <a:solidFill>
                  <a:srgbClr val="C4C4CD"/>
                </a:solidFill>
                <a:latin typeface="+mj-lt"/>
              </a:defRPr>
            </a:lvl1pPr>
            <a:lvl2pPr marL="200479" indent="0">
              <a:buNone/>
              <a:defRPr sz="1012">
                <a:solidFill>
                  <a:schemeClr val="bg1"/>
                </a:solidFill>
              </a:defRPr>
            </a:lvl2pPr>
            <a:lvl3pPr marL="400959" indent="0">
              <a:buNone/>
              <a:defRPr sz="900">
                <a:solidFill>
                  <a:schemeClr val="bg1"/>
                </a:solidFill>
              </a:defRPr>
            </a:lvl3pPr>
            <a:lvl4pPr marL="601440" indent="0">
              <a:buNone/>
              <a:defRPr sz="788">
                <a:solidFill>
                  <a:schemeClr val="bg1"/>
                </a:solidFill>
              </a:defRPr>
            </a:lvl4pPr>
            <a:lvl5pPr marL="801919" indent="0">
              <a:buNone/>
              <a:defRPr sz="676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3580924" y="1152000"/>
            <a:ext cx="2802383" cy="5018184"/>
          </a:xfrm>
        </p:spPr>
        <p:txBody>
          <a:bodyPr numCol="1"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200479" indent="0">
              <a:buNone/>
              <a:defRPr sz="1012">
                <a:solidFill>
                  <a:schemeClr val="bg1"/>
                </a:solidFill>
              </a:defRPr>
            </a:lvl2pPr>
            <a:lvl3pPr marL="400959" indent="0">
              <a:buNone/>
              <a:defRPr sz="900">
                <a:solidFill>
                  <a:schemeClr val="bg1"/>
                </a:solidFill>
              </a:defRPr>
            </a:lvl3pPr>
            <a:lvl4pPr marL="601440" indent="0">
              <a:buNone/>
              <a:defRPr sz="788">
                <a:solidFill>
                  <a:schemeClr val="bg1"/>
                </a:solidFill>
              </a:defRPr>
            </a:lvl4pPr>
            <a:lvl5pPr marL="801919" indent="0">
              <a:buNone/>
              <a:defRPr sz="676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6602283" y="1152000"/>
            <a:ext cx="2767159" cy="2796151"/>
          </a:xfrm>
        </p:spPr>
        <p:txBody>
          <a:bodyPr numCol="1"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200479" indent="0">
              <a:buNone/>
              <a:defRPr sz="1012">
                <a:solidFill>
                  <a:schemeClr val="bg1"/>
                </a:solidFill>
              </a:defRPr>
            </a:lvl2pPr>
            <a:lvl3pPr marL="400959" indent="0">
              <a:buNone/>
              <a:defRPr sz="900">
                <a:solidFill>
                  <a:schemeClr val="bg1"/>
                </a:solidFill>
              </a:defRPr>
            </a:lvl3pPr>
            <a:lvl4pPr marL="601440" indent="0">
              <a:buNone/>
              <a:defRPr sz="788">
                <a:solidFill>
                  <a:schemeClr val="bg1"/>
                </a:solidFill>
              </a:defRPr>
            </a:lvl4pPr>
            <a:lvl5pPr marL="801919" indent="0">
              <a:buNone/>
              <a:defRPr sz="676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9" name="Right Triangle 18">
            <a:extLst>
              <a:ext uri="{FF2B5EF4-FFF2-40B4-BE49-F238E27FC236}">
                <a16:creationId xmlns:a16="http://schemas.microsoft.com/office/drawing/2014/main" id="{A6586DBC-D59A-75A8-07FF-E601E88FD9AE}"/>
              </a:ext>
            </a:extLst>
          </p:cNvPr>
          <p:cNvSpPr/>
          <p:nvPr userDrawn="1"/>
        </p:nvSpPr>
        <p:spPr>
          <a:xfrm flipH="1">
            <a:off x="6610775" y="1693857"/>
            <a:ext cx="5582859" cy="5164144"/>
          </a:xfrm>
          <a:prstGeom prst="rtTriangle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l="34"/>
            </a:stretch>
          </a:blipFill>
          <a:ln w="9525">
            <a:noFill/>
          </a:ln>
          <a:scene3d>
            <a:camera prst="orthographicFront">
              <a:rot lat="0" lon="0" rev="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RU" sz="1200" dirty="0">
              <a:solidFill>
                <a:schemeClr val="tx1"/>
              </a:solidFill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6B99BF74-1D40-4A3A-8926-D3C578DD45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2000" y="540000"/>
            <a:ext cx="8757442" cy="590400"/>
          </a:xfrm>
        </p:spPr>
        <p:txBody>
          <a:bodyPr/>
          <a:lstStyle>
            <a:lvl1pPr>
              <a:defRPr sz="2400">
                <a:solidFill>
                  <a:srgbClr val="4AA851"/>
                </a:solidFill>
              </a:defRPr>
            </a:lvl1pPr>
          </a:lstStyle>
          <a:p>
            <a:r>
              <a:rPr lang="en-US" dirty="0"/>
              <a:t>MONTSERRAT 24</a:t>
            </a:r>
            <a:r>
              <a:rPr lang="ru-RU" dirty="0"/>
              <a:t> </a:t>
            </a:r>
            <a:r>
              <a:rPr lang="en-US" dirty="0" err="1"/>
              <a:t>pt</a:t>
            </a:r>
            <a:endParaRPr lang="en-GB" dirty="0"/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A70D7F4C-6409-42C4-B5E7-0717AAEC5DB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677397" y="6463527"/>
            <a:ext cx="1588344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685767" rtl="0" eaLnBrk="1" latinLnBrk="0" hangingPunct="1">
              <a:defRPr lang="en-IN" sz="800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fld id="{A1449664-DFC4-459B-BD8A-71CC3C15E058}" type="datetime4">
              <a:rPr lang="ru-RU" smtClean="0"/>
              <a:t>16 августа 2022 г.</a:t>
            </a:fld>
            <a:endParaRPr lang="en-US" dirty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E0CCFB5D-632B-4FB7-ABB8-1101BA9699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83077" y="6463527"/>
            <a:ext cx="41148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685767" rtl="0" eaLnBrk="1" latinLnBrk="0" hangingPunct="1">
              <a:defRPr lang="en-IN" sz="8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ru-RU"/>
              <a:t>Название темы</a:t>
            </a:r>
            <a:endParaRPr lang="en-US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C1BB1D77-339E-4E7F-A620-85CD31520D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09601" y="6463527"/>
            <a:ext cx="884088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685767" rtl="0" eaLnBrk="1" latinLnBrk="0" hangingPunct="1">
              <a:defRPr lang="en-IN" sz="800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ru-RU"/>
              <a:t>Страница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62181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D39A233B-C47C-4B5A-B2BE-307805BA8D4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677397" y="6463527"/>
            <a:ext cx="1588344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685767" rtl="0" eaLnBrk="1" latinLnBrk="0" hangingPunct="1">
              <a:defRPr lang="en-IN" sz="800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fld id="{CC996659-4EF7-4A6D-87C9-03E3AFCAA855}" type="datetime4">
              <a:rPr lang="ru-RU" smtClean="0"/>
              <a:t>16 августа 2022 г.</a:t>
            </a:fld>
            <a:endParaRPr lang="en-US" dirty="0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67B03B07-3091-44EE-A749-80E09F89B5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83077" y="6463527"/>
            <a:ext cx="41148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685767" rtl="0" eaLnBrk="1" latinLnBrk="0" hangingPunct="1">
              <a:defRPr lang="en-IN" sz="8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ru-RU"/>
              <a:t>Название темы</a:t>
            </a:r>
            <a:endParaRPr lang="en-US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99F6BDAC-EB6D-42C0-BDAE-83AEF4BBC25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09601" y="6463527"/>
            <a:ext cx="884088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685767" rtl="0" eaLnBrk="1" latinLnBrk="0" hangingPunct="1">
              <a:defRPr lang="en-IN" sz="800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ru-RU"/>
              <a:t>Страница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653603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-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6386BE0E-7185-42D1-A7C5-6C88FC18218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958" y="-9442"/>
            <a:ext cx="12204142" cy="6867439"/>
          </a:xfrm>
          <a:prstGeom prst="rect">
            <a:avLst/>
          </a:prstGeom>
        </p:spPr>
      </p:pic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A4C455EF-2D55-45C7-B0CC-3F7A55776450}"/>
              </a:ext>
            </a:extLst>
          </p:cNvPr>
          <p:cNvSpPr/>
          <p:nvPr userDrawn="1"/>
        </p:nvSpPr>
        <p:spPr>
          <a:xfrm>
            <a:off x="0" y="0"/>
            <a:ext cx="12192000" cy="6867440"/>
          </a:xfrm>
          <a:prstGeom prst="rect">
            <a:avLst/>
          </a:prstGeom>
          <a:solidFill>
            <a:schemeClr val="bg2">
              <a:alpha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ru-RU" sz="9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A739BE59-C4F8-D5BD-A3AA-C74AD1188E2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05345" y="2155923"/>
            <a:ext cx="7448353" cy="1273077"/>
          </a:xfrm>
        </p:spPr>
        <p:txBody>
          <a:bodyPr/>
          <a:lstStyle>
            <a:lvl1pPr>
              <a:lnSpc>
                <a:spcPts val="4000"/>
              </a:lnSpc>
              <a:defRPr sz="3200" b="1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GB" dirty="0"/>
              <a:t>TITLE CAPS</a:t>
            </a:r>
            <a:br>
              <a:rPr lang="en-GB" dirty="0"/>
            </a:br>
            <a:r>
              <a:rPr lang="en-GB" dirty="0"/>
              <a:t>(MONTSERRAT 32 POINT)</a:t>
            </a:r>
          </a:p>
        </p:txBody>
      </p:sp>
      <p:pic>
        <p:nvPicPr>
          <p:cNvPr id="9" name="Рисунок 10">
            <a:extLst>
              <a:ext uri="{FF2B5EF4-FFF2-40B4-BE49-F238E27FC236}">
                <a16:creationId xmlns:a16="http://schemas.microsoft.com/office/drawing/2014/main" id="{85538616-173B-78B6-A526-DA270E37CD2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8208818" y="3175737"/>
            <a:ext cx="3993572" cy="3684558"/>
          </a:xfrm>
          <a:prstGeom prst="rect">
            <a:avLst/>
          </a:prstGeom>
        </p:spPr>
      </p:pic>
      <p:sp>
        <p:nvSpPr>
          <p:cNvPr id="43" name="Text Placeholder 73">
            <a:extLst>
              <a:ext uri="{FF2B5EF4-FFF2-40B4-BE49-F238E27FC236}">
                <a16:creationId xmlns:a16="http://schemas.microsoft.com/office/drawing/2014/main" id="{03D90C93-6A99-42F9-B8D9-54A8F0EC6E0F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04913" y="3383279"/>
            <a:ext cx="5210175" cy="35964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Subtitle (Montserrat 20 point)</a:t>
            </a:r>
          </a:p>
        </p:txBody>
      </p:sp>
      <p:sp>
        <p:nvSpPr>
          <p:cNvPr id="44" name="Text Placeholder 77">
            <a:extLst>
              <a:ext uri="{FF2B5EF4-FFF2-40B4-BE49-F238E27FC236}">
                <a16:creationId xmlns:a16="http://schemas.microsoft.com/office/drawing/2014/main" id="{02CF5FE5-6B42-4F34-AAFC-A95495409E10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04913" y="3822733"/>
            <a:ext cx="5210175" cy="326348"/>
          </a:xfrm>
        </p:spPr>
        <p:txBody>
          <a:bodyPr/>
          <a:lstStyle>
            <a:lvl1pPr marL="0" indent="0">
              <a:buNone/>
              <a:defRPr sz="1600" b="0" i="0" u="none">
                <a:latin typeface="Montserrat Alternates SemiBold" panose="00000700000000000000" pitchFamily="50" charset="-52"/>
              </a:defRPr>
            </a:lvl1pPr>
          </a:lstStyle>
          <a:p>
            <a:pPr>
              <a:lnSpc>
                <a:spcPts val="2400"/>
              </a:lnSpc>
              <a:spcBef>
                <a:spcPts val="0"/>
              </a:spcBef>
              <a:spcAft>
                <a:spcPts val="600"/>
              </a:spcAft>
            </a:pPr>
            <a:r>
              <a:rPr lang="en-IN" b="1">
                <a:solidFill>
                  <a:schemeClr val="bg1"/>
                </a:solidFill>
                <a:latin typeface="Montserrat" pitchFamily="2" charset="77"/>
              </a:rPr>
              <a:t>XX Month 200X (Montserrat bold 16 point)</a:t>
            </a:r>
            <a:endParaRPr lang="en-IN" b="1" dirty="0">
              <a:solidFill>
                <a:schemeClr val="bg1"/>
              </a:solidFill>
              <a:latin typeface="Montserrat" pitchFamily="2" charset="77"/>
            </a:endParaRP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3072DE1B-707C-46F1-AAF1-E0F4A8100215}"/>
              </a:ext>
            </a:extLst>
          </p:cNvPr>
          <p:cNvGrpSpPr/>
          <p:nvPr userDrawn="1"/>
        </p:nvGrpSpPr>
        <p:grpSpPr>
          <a:xfrm>
            <a:off x="10346853" y="658368"/>
            <a:ext cx="1319534" cy="970407"/>
            <a:chOff x="10332720" y="658368"/>
            <a:chExt cx="1319534" cy="970407"/>
          </a:xfrm>
        </p:grpSpPr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5919A3D3-DBD3-4643-83BF-18E13E1B1C3D}"/>
                </a:ext>
              </a:extLst>
            </p:cNvPr>
            <p:cNvGrpSpPr/>
            <p:nvPr userDrawn="1"/>
          </p:nvGrpSpPr>
          <p:grpSpPr>
            <a:xfrm>
              <a:off x="10344154" y="1376363"/>
              <a:ext cx="1308100" cy="252412"/>
              <a:chOff x="10344154" y="1376363"/>
              <a:chExt cx="1308100" cy="252412"/>
            </a:xfrm>
          </p:grpSpPr>
          <p:sp>
            <p:nvSpPr>
              <p:cNvPr id="78" name="Freeform 5">
                <a:extLst>
                  <a:ext uri="{FF2B5EF4-FFF2-40B4-BE49-F238E27FC236}">
                    <a16:creationId xmlns:a16="http://schemas.microsoft.com/office/drawing/2014/main" id="{161CAA74-C58E-4640-A70E-C4AEA44F479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344154" y="1379538"/>
                <a:ext cx="85725" cy="90487"/>
              </a:xfrm>
              <a:custGeom>
                <a:avLst/>
                <a:gdLst>
                  <a:gd name="T0" fmla="*/ 109 w 109"/>
                  <a:gd name="T1" fmla="*/ 0 h 115"/>
                  <a:gd name="T2" fmla="*/ 109 w 109"/>
                  <a:gd name="T3" fmla="*/ 115 h 115"/>
                  <a:gd name="T4" fmla="*/ 77 w 109"/>
                  <a:gd name="T5" fmla="*/ 115 h 115"/>
                  <a:gd name="T6" fmla="*/ 77 w 109"/>
                  <a:gd name="T7" fmla="*/ 69 h 115"/>
                  <a:gd name="T8" fmla="*/ 32 w 109"/>
                  <a:gd name="T9" fmla="*/ 69 h 115"/>
                  <a:gd name="T10" fmla="*/ 32 w 109"/>
                  <a:gd name="T11" fmla="*/ 115 h 115"/>
                  <a:gd name="T12" fmla="*/ 0 w 109"/>
                  <a:gd name="T13" fmla="*/ 115 h 115"/>
                  <a:gd name="T14" fmla="*/ 0 w 109"/>
                  <a:gd name="T15" fmla="*/ 0 h 115"/>
                  <a:gd name="T16" fmla="*/ 32 w 109"/>
                  <a:gd name="T17" fmla="*/ 0 h 115"/>
                  <a:gd name="T18" fmla="*/ 32 w 109"/>
                  <a:gd name="T19" fmla="*/ 43 h 115"/>
                  <a:gd name="T20" fmla="*/ 77 w 109"/>
                  <a:gd name="T21" fmla="*/ 43 h 115"/>
                  <a:gd name="T22" fmla="*/ 77 w 109"/>
                  <a:gd name="T23" fmla="*/ 0 h 115"/>
                  <a:gd name="T24" fmla="*/ 109 w 109"/>
                  <a:gd name="T25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9" h="115">
                    <a:moveTo>
                      <a:pt x="109" y="0"/>
                    </a:moveTo>
                    <a:lnTo>
                      <a:pt x="109" y="115"/>
                    </a:lnTo>
                    <a:lnTo>
                      <a:pt x="77" y="115"/>
                    </a:lnTo>
                    <a:lnTo>
                      <a:pt x="77" y="69"/>
                    </a:lnTo>
                    <a:lnTo>
                      <a:pt x="32" y="69"/>
                    </a:lnTo>
                    <a:lnTo>
                      <a:pt x="3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2" y="0"/>
                    </a:lnTo>
                    <a:lnTo>
                      <a:pt x="32" y="43"/>
                    </a:lnTo>
                    <a:lnTo>
                      <a:pt x="77" y="43"/>
                    </a:lnTo>
                    <a:lnTo>
                      <a:pt x="77" y="0"/>
                    </a:lnTo>
                    <a:lnTo>
                      <a:pt x="109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6">
                <a:extLst>
                  <a:ext uri="{FF2B5EF4-FFF2-40B4-BE49-F238E27FC236}">
                    <a16:creationId xmlns:a16="http://schemas.microsoft.com/office/drawing/2014/main" id="{1C9CBE61-CAF5-436E-BD01-E857F18B633D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447341" y="1377950"/>
                <a:ext cx="101600" cy="93662"/>
              </a:xfrm>
              <a:custGeom>
                <a:avLst/>
                <a:gdLst>
                  <a:gd name="T0" fmla="*/ 31 w 128"/>
                  <a:gd name="T1" fmla="*/ 112 h 119"/>
                  <a:gd name="T2" fmla="*/ 21 w 128"/>
                  <a:gd name="T3" fmla="*/ 105 h 119"/>
                  <a:gd name="T4" fmla="*/ 6 w 128"/>
                  <a:gd name="T5" fmla="*/ 87 h 119"/>
                  <a:gd name="T6" fmla="*/ 0 w 128"/>
                  <a:gd name="T7" fmla="*/ 65 h 119"/>
                  <a:gd name="T8" fmla="*/ 2 w 128"/>
                  <a:gd name="T9" fmla="*/ 43 h 119"/>
                  <a:gd name="T10" fmla="*/ 6 w 128"/>
                  <a:gd name="T11" fmla="*/ 32 h 119"/>
                  <a:gd name="T12" fmla="*/ 11 w 128"/>
                  <a:gd name="T13" fmla="*/ 24 h 119"/>
                  <a:gd name="T14" fmla="*/ 23 w 128"/>
                  <a:gd name="T15" fmla="*/ 12 h 119"/>
                  <a:gd name="T16" fmla="*/ 31 w 128"/>
                  <a:gd name="T17" fmla="*/ 7 h 119"/>
                  <a:gd name="T18" fmla="*/ 46 w 128"/>
                  <a:gd name="T19" fmla="*/ 2 h 119"/>
                  <a:gd name="T20" fmla="*/ 64 w 128"/>
                  <a:gd name="T21" fmla="*/ 0 h 119"/>
                  <a:gd name="T22" fmla="*/ 81 w 128"/>
                  <a:gd name="T23" fmla="*/ 2 h 119"/>
                  <a:gd name="T24" fmla="*/ 97 w 128"/>
                  <a:gd name="T25" fmla="*/ 7 h 119"/>
                  <a:gd name="T26" fmla="*/ 102 w 128"/>
                  <a:gd name="T27" fmla="*/ 10 h 119"/>
                  <a:gd name="T28" fmla="*/ 115 w 128"/>
                  <a:gd name="T29" fmla="*/ 22 h 119"/>
                  <a:gd name="T30" fmla="*/ 125 w 128"/>
                  <a:gd name="T31" fmla="*/ 42 h 119"/>
                  <a:gd name="T32" fmla="*/ 128 w 128"/>
                  <a:gd name="T33" fmla="*/ 64 h 119"/>
                  <a:gd name="T34" fmla="*/ 124 w 128"/>
                  <a:gd name="T35" fmla="*/ 81 h 119"/>
                  <a:gd name="T36" fmla="*/ 121 w 128"/>
                  <a:gd name="T37" fmla="*/ 86 h 119"/>
                  <a:gd name="T38" fmla="*/ 111 w 128"/>
                  <a:gd name="T39" fmla="*/ 100 h 119"/>
                  <a:gd name="T40" fmla="*/ 97 w 128"/>
                  <a:gd name="T41" fmla="*/ 112 h 119"/>
                  <a:gd name="T42" fmla="*/ 89 w 128"/>
                  <a:gd name="T43" fmla="*/ 115 h 119"/>
                  <a:gd name="T44" fmla="*/ 72 w 128"/>
                  <a:gd name="T45" fmla="*/ 119 h 119"/>
                  <a:gd name="T46" fmla="*/ 55 w 128"/>
                  <a:gd name="T47" fmla="*/ 119 h 119"/>
                  <a:gd name="T48" fmla="*/ 38 w 128"/>
                  <a:gd name="T49" fmla="*/ 115 h 119"/>
                  <a:gd name="T50" fmla="*/ 31 w 128"/>
                  <a:gd name="T51" fmla="*/ 112 h 119"/>
                  <a:gd name="T52" fmla="*/ 80 w 128"/>
                  <a:gd name="T53" fmla="*/ 87 h 119"/>
                  <a:gd name="T54" fmla="*/ 91 w 128"/>
                  <a:gd name="T55" fmla="*/ 76 h 119"/>
                  <a:gd name="T56" fmla="*/ 94 w 128"/>
                  <a:gd name="T57" fmla="*/ 68 h 119"/>
                  <a:gd name="T58" fmla="*/ 94 w 128"/>
                  <a:gd name="T59" fmla="*/ 50 h 119"/>
                  <a:gd name="T60" fmla="*/ 91 w 128"/>
                  <a:gd name="T61" fmla="*/ 42 h 119"/>
                  <a:gd name="T62" fmla="*/ 80 w 128"/>
                  <a:gd name="T63" fmla="*/ 30 h 119"/>
                  <a:gd name="T64" fmla="*/ 72 w 128"/>
                  <a:gd name="T65" fmla="*/ 27 h 119"/>
                  <a:gd name="T66" fmla="*/ 55 w 128"/>
                  <a:gd name="T67" fmla="*/ 27 h 119"/>
                  <a:gd name="T68" fmla="*/ 47 w 128"/>
                  <a:gd name="T69" fmla="*/ 30 h 119"/>
                  <a:gd name="T70" fmla="*/ 36 w 128"/>
                  <a:gd name="T71" fmla="*/ 42 h 119"/>
                  <a:gd name="T72" fmla="*/ 33 w 128"/>
                  <a:gd name="T73" fmla="*/ 50 h 119"/>
                  <a:gd name="T74" fmla="*/ 33 w 128"/>
                  <a:gd name="T75" fmla="*/ 68 h 119"/>
                  <a:gd name="T76" fmla="*/ 36 w 128"/>
                  <a:gd name="T77" fmla="*/ 76 h 119"/>
                  <a:gd name="T78" fmla="*/ 47 w 128"/>
                  <a:gd name="T79" fmla="*/ 87 h 119"/>
                  <a:gd name="T80" fmla="*/ 55 w 128"/>
                  <a:gd name="T81" fmla="*/ 90 h 119"/>
                  <a:gd name="T82" fmla="*/ 72 w 128"/>
                  <a:gd name="T83" fmla="*/ 90 h 119"/>
                  <a:gd name="T84" fmla="*/ 80 w 128"/>
                  <a:gd name="T85" fmla="*/ 87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28" h="119">
                    <a:moveTo>
                      <a:pt x="31" y="112"/>
                    </a:moveTo>
                    <a:lnTo>
                      <a:pt x="31" y="112"/>
                    </a:lnTo>
                    <a:lnTo>
                      <a:pt x="25" y="109"/>
                    </a:lnTo>
                    <a:lnTo>
                      <a:pt x="21" y="105"/>
                    </a:lnTo>
                    <a:lnTo>
                      <a:pt x="13" y="96"/>
                    </a:lnTo>
                    <a:lnTo>
                      <a:pt x="6" y="87"/>
                    </a:lnTo>
                    <a:lnTo>
                      <a:pt x="2" y="76"/>
                    </a:lnTo>
                    <a:lnTo>
                      <a:pt x="0" y="65"/>
                    </a:lnTo>
                    <a:lnTo>
                      <a:pt x="0" y="54"/>
                    </a:lnTo>
                    <a:lnTo>
                      <a:pt x="2" y="43"/>
                    </a:lnTo>
                    <a:lnTo>
                      <a:pt x="4" y="37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11" y="24"/>
                    </a:lnTo>
                    <a:lnTo>
                      <a:pt x="16" y="18"/>
                    </a:lnTo>
                    <a:lnTo>
                      <a:pt x="23" y="12"/>
                    </a:lnTo>
                    <a:lnTo>
                      <a:pt x="31" y="7"/>
                    </a:lnTo>
                    <a:lnTo>
                      <a:pt x="31" y="7"/>
                    </a:lnTo>
                    <a:lnTo>
                      <a:pt x="38" y="4"/>
                    </a:lnTo>
                    <a:lnTo>
                      <a:pt x="46" y="2"/>
                    </a:lnTo>
                    <a:lnTo>
                      <a:pt x="55" y="0"/>
                    </a:lnTo>
                    <a:lnTo>
                      <a:pt x="64" y="0"/>
                    </a:lnTo>
                    <a:lnTo>
                      <a:pt x="72" y="0"/>
                    </a:lnTo>
                    <a:lnTo>
                      <a:pt x="81" y="2"/>
                    </a:lnTo>
                    <a:lnTo>
                      <a:pt x="89" y="4"/>
                    </a:lnTo>
                    <a:lnTo>
                      <a:pt x="97" y="7"/>
                    </a:lnTo>
                    <a:lnTo>
                      <a:pt x="97" y="7"/>
                    </a:lnTo>
                    <a:lnTo>
                      <a:pt x="102" y="10"/>
                    </a:lnTo>
                    <a:lnTo>
                      <a:pt x="106" y="14"/>
                    </a:lnTo>
                    <a:lnTo>
                      <a:pt x="115" y="22"/>
                    </a:lnTo>
                    <a:lnTo>
                      <a:pt x="121" y="31"/>
                    </a:lnTo>
                    <a:lnTo>
                      <a:pt x="125" y="42"/>
                    </a:lnTo>
                    <a:lnTo>
                      <a:pt x="127" y="53"/>
                    </a:lnTo>
                    <a:lnTo>
                      <a:pt x="128" y="64"/>
                    </a:lnTo>
                    <a:lnTo>
                      <a:pt x="125" y="75"/>
                    </a:lnTo>
                    <a:lnTo>
                      <a:pt x="124" y="81"/>
                    </a:lnTo>
                    <a:lnTo>
                      <a:pt x="121" y="86"/>
                    </a:lnTo>
                    <a:lnTo>
                      <a:pt x="121" y="86"/>
                    </a:lnTo>
                    <a:lnTo>
                      <a:pt x="116" y="94"/>
                    </a:lnTo>
                    <a:lnTo>
                      <a:pt x="111" y="100"/>
                    </a:lnTo>
                    <a:lnTo>
                      <a:pt x="104" y="107"/>
                    </a:lnTo>
                    <a:lnTo>
                      <a:pt x="97" y="112"/>
                    </a:lnTo>
                    <a:lnTo>
                      <a:pt x="97" y="112"/>
                    </a:lnTo>
                    <a:lnTo>
                      <a:pt x="89" y="115"/>
                    </a:lnTo>
                    <a:lnTo>
                      <a:pt x="81" y="117"/>
                    </a:lnTo>
                    <a:lnTo>
                      <a:pt x="72" y="119"/>
                    </a:lnTo>
                    <a:lnTo>
                      <a:pt x="64" y="119"/>
                    </a:lnTo>
                    <a:lnTo>
                      <a:pt x="55" y="119"/>
                    </a:lnTo>
                    <a:lnTo>
                      <a:pt x="46" y="117"/>
                    </a:lnTo>
                    <a:lnTo>
                      <a:pt x="38" y="115"/>
                    </a:lnTo>
                    <a:lnTo>
                      <a:pt x="31" y="112"/>
                    </a:lnTo>
                    <a:lnTo>
                      <a:pt x="31" y="112"/>
                    </a:lnTo>
                    <a:close/>
                    <a:moveTo>
                      <a:pt x="80" y="87"/>
                    </a:moveTo>
                    <a:lnTo>
                      <a:pt x="80" y="87"/>
                    </a:lnTo>
                    <a:lnTo>
                      <a:pt x="86" y="82"/>
                    </a:lnTo>
                    <a:lnTo>
                      <a:pt x="91" y="76"/>
                    </a:lnTo>
                    <a:lnTo>
                      <a:pt x="91" y="76"/>
                    </a:lnTo>
                    <a:lnTo>
                      <a:pt x="94" y="68"/>
                    </a:lnTo>
                    <a:lnTo>
                      <a:pt x="95" y="59"/>
                    </a:lnTo>
                    <a:lnTo>
                      <a:pt x="94" y="50"/>
                    </a:lnTo>
                    <a:lnTo>
                      <a:pt x="91" y="42"/>
                    </a:lnTo>
                    <a:lnTo>
                      <a:pt x="91" y="42"/>
                    </a:lnTo>
                    <a:lnTo>
                      <a:pt x="86" y="35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72" y="27"/>
                    </a:lnTo>
                    <a:lnTo>
                      <a:pt x="64" y="26"/>
                    </a:lnTo>
                    <a:lnTo>
                      <a:pt x="55" y="27"/>
                    </a:lnTo>
                    <a:lnTo>
                      <a:pt x="47" y="30"/>
                    </a:lnTo>
                    <a:lnTo>
                      <a:pt x="47" y="30"/>
                    </a:lnTo>
                    <a:lnTo>
                      <a:pt x="41" y="35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3" y="50"/>
                    </a:lnTo>
                    <a:lnTo>
                      <a:pt x="32" y="59"/>
                    </a:lnTo>
                    <a:lnTo>
                      <a:pt x="33" y="68"/>
                    </a:lnTo>
                    <a:lnTo>
                      <a:pt x="36" y="76"/>
                    </a:lnTo>
                    <a:lnTo>
                      <a:pt x="36" y="76"/>
                    </a:lnTo>
                    <a:lnTo>
                      <a:pt x="41" y="82"/>
                    </a:lnTo>
                    <a:lnTo>
                      <a:pt x="47" y="87"/>
                    </a:lnTo>
                    <a:lnTo>
                      <a:pt x="47" y="87"/>
                    </a:lnTo>
                    <a:lnTo>
                      <a:pt x="55" y="90"/>
                    </a:lnTo>
                    <a:lnTo>
                      <a:pt x="64" y="91"/>
                    </a:lnTo>
                    <a:lnTo>
                      <a:pt x="72" y="90"/>
                    </a:lnTo>
                    <a:lnTo>
                      <a:pt x="80" y="87"/>
                    </a:lnTo>
                    <a:lnTo>
                      <a:pt x="80" y="8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7">
                <a:extLst>
                  <a:ext uri="{FF2B5EF4-FFF2-40B4-BE49-F238E27FC236}">
                    <a16:creationId xmlns:a16="http://schemas.microsoft.com/office/drawing/2014/main" id="{7C830D5D-69B4-4A35-9CD2-27A6F4A4EB69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564816" y="1379538"/>
                <a:ext cx="84138" cy="90487"/>
              </a:xfrm>
              <a:custGeom>
                <a:avLst/>
                <a:gdLst>
                  <a:gd name="T0" fmla="*/ 99 w 105"/>
                  <a:gd name="T1" fmla="*/ 64 h 115"/>
                  <a:gd name="T2" fmla="*/ 103 w 105"/>
                  <a:gd name="T3" fmla="*/ 72 h 115"/>
                  <a:gd name="T4" fmla="*/ 105 w 105"/>
                  <a:gd name="T5" fmla="*/ 81 h 115"/>
                  <a:gd name="T6" fmla="*/ 104 w 105"/>
                  <a:gd name="T7" fmla="*/ 88 h 115"/>
                  <a:gd name="T8" fmla="*/ 98 w 105"/>
                  <a:gd name="T9" fmla="*/ 101 h 115"/>
                  <a:gd name="T10" fmla="*/ 93 w 105"/>
                  <a:gd name="T11" fmla="*/ 106 h 115"/>
                  <a:gd name="T12" fmla="*/ 77 w 105"/>
                  <a:gd name="T13" fmla="*/ 113 h 115"/>
                  <a:gd name="T14" fmla="*/ 59 w 105"/>
                  <a:gd name="T15" fmla="*/ 115 h 115"/>
                  <a:gd name="T16" fmla="*/ 0 w 105"/>
                  <a:gd name="T17" fmla="*/ 0 h 115"/>
                  <a:gd name="T18" fmla="*/ 56 w 105"/>
                  <a:gd name="T19" fmla="*/ 0 h 115"/>
                  <a:gd name="T20" fmla="*/ 73 w 105"/>
                  <a:gd name="T21" fmla="*/ 2 h 115"/>
                  <a:gd name="T22" fmla="*/ 88 w 105"/>
                  <a:gd name="T23" fmla="*/ 8 h 115"/>
                  <a:gd name="T24" fmla="*/ 93 w 105"/>
                  <a:gd name="T25" fmla="*/ 12 h 115"/>
                  <a:gd name="T26" fmla="*/ 99 w 105"/>
                  <a:gd name="T27" fmla="*/ 23 h 115"/>
                  <a:gd name="T28" fmla="*/ 99 w 105"/>
                  <a:gd name="T29" fmla="*/ 30 h 115"/>
                  <a:gd name="T30" fmla="*/ 95 w 105"/>
                  <a:gd name="T31" fmla="*/ 45 h 115"/>
                  <a:gd name="T32" fmla="*/ 90 w 105"/>
                  <a:gd name="T33" fmla="*/ 50 h 115"/>
                  <a:gd name="T34" fmla="*/ 84 w 105"/>
                  <a:gd name="T35" fmla="*/ 54 h 115"/>
                  <a:gd name="T36" fmla="*/ 92 w 105"/>
                  <a:gd name="T37" fmla="*/ 58 h 115"/>
                  <a:gd name="T38" fmla="*/ 99 w 105"/>
                  <a:gd name="T39" fmla="*/ 64 h 115"/>
                  <a:gd name="T40" fmla="*/ 32 w 105"/>
                  <a:gd name="T41" fmla="*/ 46 h 115"/>
                  <a:gd name="T42" fmla="*/ 53 w 105"/>
                  <a:gd name="T43" fmla="*/ 46 h 115"/>
                  <a:gd name="T44" fmla="*/ 63 w 105"/>
                  <a:gd name="T45" fmla="*/ 43 h 115"/>
                  <a:gd name="T46" fmla="*/ 67 w 105"/>
                  <a:gd name="T47" fmla="*/ 34 h 115"/>
                  <a:gd name="T48" fmla="*/ 66 w 105"/>
                  <a:gd name="T49" fmla="*/ 29 h 115"/>
                  <a:gd name="T50" fmla="*/ 59 w 105"/>
                  <a:gd name="T51" fmla="*/ 24 h 115"/>
                  <a:gd name="T52" fmla="*/ 32 w 105"/>
                  <a:gd name="T53" fmla="*/ 23 h 115"/>
                  <a:gd name="T54" fmla="*/ 72 w 105"/>
                  <a:gd name="T55" fmla="*/ 79 h 115"/>
                  <a:gd name="T56" fmla="*/ 71 w 105"/>
                  <a:gd name="T57" fmla="*/ 74 h 115"/>
                  <a:gd name="T58" fmla="*/ 64 w 105"/>
                  <a:gd name="T59" fmla="*/ 68 h 115"/>
                  <a:gd name="T60" fmla="*/ 32 w 105"/>
                  <a:gd name="T61" fmla="*/ 67 h 115"/>
                  <a:gd name="T62" fmla="*/ 58 w 105"/>
                  <a:gd name="T63" fmla="*/ 91 h 115"/>
                  <a:gd name="T64" fmla="*/ 64 w 105"/>
                  <a:gd name="T65" fmla="*/ 90 h 115"/>
                  <a:gd name="T66" fmla="*/ 71 w 105"/>
                  <a:gd name="T67" fmla="*/ 84 h 115"/>
                  <a:gd name="T68" fmla="*/ 72 w 105"/>
                  <a:gd name="T69" fmla="*/ 79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5" h="115">
                    <a:moveTo>
                      <a:pt x="99" y="64"/>
                    </a:moveTo>
                    <a:lnTo>
                      <a:pt x="99" y="64"/>
                    </a:lnTo>
                    <a:lnTo>
                      <a:pt x="102" y="68"/>
                    </a:lnTo>
                    <a:lnTo>
                      <a:pt x="103" y="72"/>
                    </a:lnTo>
                    <a:lnTo>
                      <a:pt x="104" y="77"/>
                    </a:lnTo>
                    <a:lnTo>
                      <a:pt x="105" y="81"/>
                    </a:lnTo>
                    <a:lnTo>
                      <a:pt x="105" y="81"/>
                    </a:lnTo>
                    <a:lnTo>
                      <a:pt x="104" y="88"/>
                    </a:lnTo>
                    <a:lnTo>
                      <a:pt x="102" y="95"/>
                    </a:lnTo>
                    <a:lnTo>
                      <a:pt x="98" y="101"/>
                    </a:lnTo>
                    <a:lnTo>
                      <a:pt x="93" y="106"/>
                    </a:lnTo>
                    <a:lnTo>
                      <a:pt x="93" y="106"/>
                    </a:lnTo>
                    <a:lnTo>
                      <a:pt x="85" y="110"/>
                    </a:lnTo>
                    <a:lnTo>
                      <a:pt x="77" y="113"/>
                    </a:lnTo>
                    <a:lnTo>
                      <a:pt x="68" y="115"/>
                    </a:lnTo>
                    <a:lnTo>
                      <a:pt x="59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5" y="0"/>
                    </a:lnTo>
                    <a:lnTo>
                      <a:pt x="73" y="2"/>
                    </a:lnTo>
                    <a:lnTo>
                      <a:pt x="81" y="4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93" y="12"/>
                    </a:lnTo>
                    <a:lnTo>
                      <a:pt x="97" y="17"/>
                    </a:lnTo>
                    <a:lnTo>
                      <a:pt x="99" y="23"/>
                    </a:lnTo>
                    <a:lnTo>
                      <a:pt x="99" y="30"/>
                    </a:lnTo>
                    <a:lnTo>
                      <a:pt x="99" y="30"/>
                    </a:lnTo>
                    <a:lnTo>
                      <a:pt x="98" y="37"/>
                    </a:lnTo>
                    <a:lnTo>
                      <a:pt x="95" y="45"/>
                    </a:lnTo>
                    <a:lnTo>
                      <a:pt x="95" y="45"/>
                    </a:lnTo>
                    <a:lnTo>
                      <a:pt x="90" y="50"/>
                    </a:lnTo>
                    <a:lnTo>
                      <a:pt x="84" y="54"/>
                    </a:lnTo>
                    <a:lnTo>
                      <a:pt x="84" y="54"/>
                    </a:lnTo>
                    <a:lnTo>
                      <a:pt x="88" y="56"/>
                    </a:lnTo>
                    <a:lnTo>
                      <a:pt x="92" y="58"/>
                    </a:lnTo>
                    <a:lnTo>
                      <a:pt x="96" y="61"/>
                    </a:lnTo>
                    <a:lnTo>
                      <a:pt x="99" y="64"/>
                    </a:lnTo>
                    <a:lnTo>
                      <a:pt x="99" y="64"/>
                    </a:lnTo>
                    <a:close/>
                    <a:moveTo>
                      <a:pt x="32" y="46"/>
                    </a:moveTo>
                    <a:lnTo>
                      <a:pt x="53" y="46"/>
                    </a:lnTo>
                    <a:lnTo>
                      <a:pt x="53" y="46"/>
                    </a:lnTo>
                    <a:lnTo>
                      <a:pt x="59" y="45"/>
                    </a:lnTo>
                    <a:lnTo>
                      <a:pt x="63" y="43"/>
                    </a:lnTo>
                    <a:lnTo>
                      <a:pt x="66" y="39"/>
                    </a:lnTo>
                    <a:lnTo>
                      <a:pt x="67" y="34"/>
                    </a:lnTo>
                    <a:lnTo>
                      <a:pt x="67" y="34"/>
                    </a:lnTo>
                    <a:lnTo>
                      <a:pt x="66" y="29"/>
                    </a:lnTo>
                    <a:lnTo>
                      <a:pt x="63" y="26"/>
                    </a:lnTo>
                    <a:lnTo>
                      <a:pt x="59" y="24"/>
                    </a:lnTo>
                    <a:lnTo>
                      <a:pt x="53" y="23"/>
                    </a:lnTo>
                    <a:lnTo>
                      <a:pt x="32" y="23"/>
                    </a:lnTo>
                    <a:lnTo>
                      <a:pt x="32" y="46"/>
                    </a:lnTo>
                    <a:close/>
                    <a:moveTo>
                      <a:pt x="72" y="79"/>
                    </a:moveTo>
                    <a:lnTo>
                      <a:pt x="72" y="79"/>
                    </a:lnTo>
                    <a:lnTo>
                      <a:pt x="71" y="74"/>
                    </a:lnTo>
                    <a:lnTo>
                      <a:pt x="69" y="70"/>
                    </a:lnTo>
                    <a:lnTo>
                      <a:pt x="64" y="68"/>
                    </a:lnTo>
                    <a:lnTo>
                      <a:pt x="58" y="67"/>
                    </a:lnTo>
                    <a:lnTo>
                      <a:pt x="32" y="67"/>
                    </a:lnTo>
                    <a:lnTo>
                      <a:pt x="32" y="91"/>
                    </a:lnTo>
                    <a:lnTo>
                      <a:pt x="58" y="91"/>
                    </a:lnTo>
                    <a:lnTo>
                      <a:pt x="58" y="91"/>
                    </a:lnTo>
                    <a:lnTo>
                      <a:pt x="64" y="90"/>
                    </a:lnTo>
                    <a:lnTo>
                      <a:pt x="69" y="88"/>
                    </a:lnTo>
                    <a:lnTo>
                      <a:pt x="71" y="84"/>
                    </a:lnTo>
                    <a:lnTo>
                      <a:pt x="72" y="79"/>
                    </a:lnTo>
                    <a:lnTo>
                      <a:pt x="72" y="7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8">
                <a:extLst>
                  <a:ext uri="{FF2B5EF4-FFF2-40B4-BE49-F238E27FC236}">
                    <a16:creationId xmlns:a16="http://schemas.microsoft.com/office/drawing/2014/main" id="{1E263A63-B206-4B78-B0B0-1D32C17B281F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664829" y="1379538"/>
                <a:ext cx="115888" cy="90487"/>
              </a:xfrm>
              <a:custGeom>
                <a:avLst/>
                <a:gdLst>
                  <a:gd name="T0" fmla="*/ 92 w 147"/>
                  <a:gd name="T1" fmla="*/ 46 h 115"/>
                  <a:gd name="T2" fmla="*/ 92 w 147"/>
                  <a:gd name="T3" fmla="*/ 46 h 115"/>
                  <a:gd name="T4" fmla="*/ 97 w 147"/>
                  <a:gd name="T5" fmla="*/ 51 h 115"/>
                  <a:gd name="T6" fmla="*/ 101 w 147"/>
                  <a:gd name="T7" fmla="*/ 58 h 115"/>
                  <a:gd name="T8" fmla="*/ 103 w 147"/>
                  <a:gd name="T9" fmla="*/ 66 h 115"/>
                  <a:gd name="T10" fmla="*/ 103 w 147"/>
                  <a:gd name="T11" fmla="*/ 73 h 115"/>
                  <a:gd name="T12" fmla="*/ 103 w 147"/>
                  <a:gd name="T13" fmla="*/ 73 h 115"/>
                  <a:gd name="T14" fmla="*/ 103 w 147"/>
                  <a:gd name="T15" fmla="*/ 82 h 115"/>
                  <a:gd name="T16" fmla="*/ 100 w 147"/>
                  <a:gd name="T17" fmla="*/ 90 h 115"/>
                  <a:gd name="T18" fmla="*/ 96 w 147"/>
                  <a:gd name="T19" fmla="*/ 97 h 115"/>
                  <a:gd name="T20" fmla="*/ 90 w 147"/>
                  <a:gd name="T21" fmla="*/ 104 h 115"/>
                  <a:gd name="T22" fmla="*/ 90 w 147"/>
                  <a:gd name="T23" fmla="*/ 104 h 115"/>
                  <a:gd name="T24" fmla="*/ 82 w 147"/>
                  <a:gd name="T25" fmla="*/ 109 h 115"/>
                  <a:gd name="T26" fmla="*/ 74 w 147"/>
                  <a:gd name="T27" fmla="*/ 113 h 115"/>
                  <a:gd name="T28" fmla="*/ 65 w 147"/>
                  <a:gd name="T29" fmla="*/ 115 h 115"/>
                  <a:gd name="T30" fmla="*/ 55 w 147"/>
                  <a:gd name="T31" fmla="*/ 115 h 115"/>
                  <a:gd name="T32" fmla="*/ 0 w 147"/>
                  <a:gd name="T33" fmla="*/ 115 h 115"/>
                  <a:gd name="T34" fmla="*/ 0 w 147"/>
                  <a:gd name="T35" fmla="*/ 0 h 115"/>
                  <a:gd name="T36" fmla="*/ 32 w 147"/>
                  <a:gd name="T37" fmla="*/ 0 h 115"/>
                  <a:gd name="T38" fmla="*/ 32 w 147"/>
                  <a:gd name="T39" fmla="*/ 36 h 115"/>
                  <a:gd name="T40" fmla="*/ 59 w 147"/>
                  <a:gd name="T41" fmla="*/ 36 h 115"/>
                  <a:gd name="T42" fmla="*/ 59 w 147"/>
                  <a:gd name="T43" fmla="*/ 36 h 115"/>
                  <a:gd name="T44" fmla="*/ 68 w 147"/>
                  <a:gd name="T45" fmla="*/ 37 h 115"/>
                  <a:gd name="T46" fmla="*/ 76 w 147"/>
                  <a:gd name="T47" fmla="*/ 38 h 115"/>
                  <a:gd name="T48" fmla="*/ 84 w 147"/>
                  <a:gd name="T49" fmla="*/ 41 h 115"/>
                  <a:gd name="T50" fmla="*/ 92 w 147"/>
                  <a:gd name="T51" fmla="*/ 46 h 115"/>
                  <a:gd name="T52" fmla="*/ 92 w 147"/>
                  <a:gd name="T53" fmla="*/ 46 h 115"/>
                  <a:gd name="T54" fmla="*/ 66 w 147"/>
                  <a:gd name="T55" fmla="*/ 86 h 115"/>
                  <a:gd name="T56" fmla="*/ 66 w 147"/>
                  <a:gd name="T57" fmla="*/ 86 h 115"/>
                  <a:gd name="T58" fmla="*/ 68 w 147"/>
                  <a:gd name="T59" fmla="*/ 84 h 115"/>
                  <a:gd name="T60" fmla="*/ 70 w 147"/>
                  <a:gd name="T61" fmla="*/ 81 h 115"/>
                  <a:gd name="T62" fmla="*/ 71 w 147"/>
                  <a:gd name="T63" fmla="*/ 77 h 115"/>
                  <a:gd name="T64" fmla="*/ 71 w 147"/>
                  <a:gd name="T65" fmla="*/ 74 h 115"/>
                  <a:gd name="T66" fmla="*/ 71 w 147"/>
                  <a:gd name="T67" fmla="*/ 74 h 115"/>
                  <a:gd name="T68" fmla="*/ 71 w 147"/>
                  <a:gd name="T69" fmla="*/ 71 h 115"/>
                  <a:gd name="T70" fmla="*/ 70 w 147"/>
                  <a:gd name="T71" fmla="*/ 68 h 115"/>
                  <a:gd name="T72" fmla="*/ 68 w 147"/>
                  <a:gd name="T73" fmla="*/ 65 h 115"/>
                  <a:gd name="T74" fmla="*/ 67 w 147"/>
                  <a:gd name="T75" fmla="*/ 63 h 115"/>
                  <a:gd name="T76" fmla="*/ 64 w 147"/>
                  <a:gd name="T77" fmla="*/ 61 h 115"/>
                  <a:gd name="T78" fmla="*/ 61 w 147"/>
                  <a:gd name="T79" fmla="*/ 60 h 115"/>
                  <a:gd name="T80" fmla="*/ 53 w 147"/>
                  <a:gd name="T81" fmla="*/ 59 h 115"/>
                  <a:gd name="T82" fmla="*/ 32 w 147"/>
                  <a:gd name="T83" fmla="*/ 59 h 115"/>
                  <a:gd name="T84" fmla="*/ 32 w 147"/>
                  <a:gd name="T85" fmla="*/ 91 h 115"/>
                  <a:gd name="T86" fmla="*/ 53 w 147"/>
                  <a:gd name="T87" fmla="*/ 91 h 115"/>
                  <a:gd name="T88" fmla="*/ 53 w 147"/>
                  <a:gd name="T89" fmla="*/ 91 h 115"/>
                  <a:gd name="T90" fmla="*/ 57 w 147"/>
                  <a:gd name="T91" fmla="*/ 91 h 115"/>
                  <a:gd name="T92" fmla="*/ 60 w 147"/>
                  <a:gd name="T93" fmla="*/ 90 h 115"/>
                  <a:gd name="T94" fmla="*/ 63 w 147"/>
                  <a:gd name="T95" fmla="*/ 88 h 115"/>
                  <a:gd name="T96" fmla="*/ 66 w 147"/>
                  <a:gd name="T97" fmla="*/ 86 h 115"/>
                  <a:gd name="T98" fmla="*/ 66 w 147"/>
                  <a:gd name="T99" fmla="*/ 86 h 115"/>
                  <a:gd name="T100" fmla="*/ 116 w 147"/>
                  <a:gd name="T101" fmla="*/ 0 h 115"/>
                  <a:gd name="T102" fmla="*/ 147 w 147"/>
                  <a:gd name="T103" fmla="*/ 0 h 115"/>
                  <a:gd name="T104" fmla="*/ 147 w 147"/>
                  <a:gd name="T105" fmla="*/ 115 h 115"/>
                  <a:gd name="T106" fmla="*/ 116 w 147"/>
                  <a:gd name="T107" fmla="*/ 115 h 115"/>
                  <a:gd name="T108" fmla="*/ 116 w 147"/>
                  <a:gd name="T109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47" h="115">
                    <a:moveTo>
                      <a:pt x="92" y="46"/>
                    </a:moveTo>
                    <a:lnTo>
                      <a:pt x="92" y="46"/>
                    </a:lnTo>
                    <a:lnTo>
                      <a:pt x="97" y="51"/>
                    </a:lnTo>
                    <a:lnTo>
                      <a:pt x="101" y="58"/>
                    </a:lnTo>
                    <a:lnTo>
                      <a:pt x="103" y="66"/>
                    </a:lnTo>
                    <a:lnTo>
                      <a:pt x="103" y="73"/>
                    </a:lnTo>
                    <a:lnTo>
                      <a:pt x="103" y="73"/>
                    </a:lnTo>
                    <a:lnTo>
                      <a:pt x="103" y="82"/>
                    </a:lnTo>
                    <a:lnTo>
                      <a:pt x="100" y="90"/>
                    </a:lnTo>
                    <a:lnTo>
                      <a:pt x="96" y="97"/>
                    </a:lnTo>
                    <a:lnTo>
                      <a:pt x="90" y="104"/>
                    </a:lnTo>
                    <a:lnTo>
                      <a:pt x="90" y="104"/>
                    </a:lnTo>
                    <a:lnTo>
                      <a:pt x="82" y="109"/>
                    </a:lnTo>
                    <a:lnTo>
                      <a:pt x="74" y="113"/>
                    </a:lnTo>
                    <a:lnTo>
                      <a:pt x="65" y="115"/>
                    </a:lnTo>
                    <a:lnTo>
                      <a:pt x="55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2" y="0"/>
                    </a:lnTo>
                    <a:lnTo>
                      <a:pt x="32" y="36"/>
                    </a:lnTo>
                    <a:lnTo>
                      <a:pt x="59" y="36"/>
                    </a:lnTo>
                    <a:lnTo>
                      <a:pt x="59" y="36"/>
                    </a:lnTo>
                    <a:lnTo>
                      <a:pt x="68" y="37"/>
                    </a:lnTo>
                    <a:lnTo>
                      <a:pt x="76" y="38"/>
                    </a:lnTo>
                    <a:lnTo>
                      <a:pt x="84" y="41"/>
                    </a:lnTo>
                    <a:lnTo>
                      <a:pt x="92" y="46"/>
                    </a:lnTo>
                    <a:lnTo>
                      <a:pt x="92" y="46"/>
                    </a:lnTo>
                    <a:close/>
                    <a:moveTo>
                      <a:pt x="66" y="86"/>
                    </a:moveTo>
                    <a:lnTo>
                      <a:pt x="66" y="86"/>
                    </a:lnTo>
                    <a:lnTo>
                      <a:pt x="68" y="84"/>
                    </a:lnTo>
                    <a:lnTo>
                      <a:pt x="70" y="81"/>
                    </a:lnTo>
                    <a:lnTo>
                      <a:pt x="71" y="77"/>
                    </a:lnTo>
                    <a:lnTo>
                      <a:pt x="71" y="74"/>
                    </a:lnTo>
                    <a:lnTo>
                      <a:pt x="71" y="74"/>
                    </a:lnTo>
                    <a:lnTo>
                      <a:pt x="71" y="71"/>
                    </a:lnTo>
                    <a:lnTo>
                      <a:pt x="70" y="68"/>
                    </a:lnTo>
                    <a:lnTo>
                      <a:pt x="68" y="65"/>
                    </a:lnTo>
                    <a:lnTo>
                      <a:pt x="67" y="63"/>
                    </a:lnTo>
                    <a:lnTo>
                      <a:pt x="64" y="61"/>
                    </a:lnTo>
                    <a:lnTo>
                      <a:pt x="61" y="60"/>
                    </a:lnTo>
                    <a:lnTo>
                      <a:pt x="53" y="59"/>
                    </a:lnTo>
                    <a:lnTo>
                      <a:pt x="32" y="59"/>
                    </a:lnTo>
                    <a:lnTo>
                      <a:pt x="32" y="91"/>
                    </a:lnTo>
                    <a:lnTo>
                      <a:pt x="53" y="91"/>
                    </a:lnTo>
                    <a:lnTo>
                      <a:pt x="53" y="91"/>
                    </a:lnTo>
                    <a:lnTo>
                      <a:pt x="57" y="91"/>
                    </a:lnTo>
                    <a:lnTo>
                      <a:pt x="60" y="90"/>
                    </a:lnTo>
                    <a:lnTo>
                      <a:pt x="63" y="88"/>
                    </a:lnTo>
                    <a:lnTo>
                      <a:pt x="66" y="86"/>
                    </a:lnTo>
                    <a:lnTo>
                      <a:pt x="66" y="86"/>
                    </a:lnTo>
                    <a:close/>
                    <a:moveTo>
                      <a:pt x="116" y="0"/>
                    </a:moveTo>
                    <a:lnTo>
                      <a:pt x="147" y="0"/>
                    </a:lnTo>
                    <a:lnTo>
                      <a:pt x="147" y="115"/>
                    </a:lnTo>
                    <a:lnTo>
                      <a:pt x="116" y="115"/>
                    </a:lnTo>
                    <a:lnTo>
                      <a:pt x="116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9">
                <a:extLst>
                  <a:ext uri="{FF2B5EF4-FFF2-40B4-BE49-F238E27FC236}">
                    <a16:creationId xmlns:a16="http://schemas.microsoft.com/office/drawing/2014/main" id="{208240C4-06E0-468D-B27E-3B9E39F4096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802941" y="1379538"/>
                <a:ext cx="74613" cy="90487"/>
              </a:xfrm>
              <a:custGeom>
                <a:avLst/>
                <a:gdLst>
                  <a:gd name="T0" fmla="*/ 92 w 92"/>
                  <a:gd name="T1" fmla="*/ 89 h 115"/>
                  <a:gd name="T2" fmla="*/ 92 w 92"/>
                  <a:gd name="T3" fmla="*/ 115 h 115"/>
                  <a:gd name="T4" fmla="*/ 0 w 92"/>
                  <a:gd name="T5" fmla="*/ 115 h 115"/>
                  <a:gd name="T6" fmla="*/ 0 w 92"/>
                  <a:gd name="T7" fmla="*/ 0 h 115"/>
                  <a:gd name="T8" fmla="*/ 90 w 92"/>
                  <a:gd name="T9" fmla="*/ 0 h 115"/>
                  <a:gd name="T10" fmla="*/ 90 w 92"/>
                  <a:gd name="T11" fmla="*/ 25 h 115"/>
                  <a:gd name="T12" fmla="*/ 32 w 92"/>
                  <a:gd name="T13" fmla="*/ 25 h 115"/>
                  <a:gd name="T14" fmla="*/ 32 w 92"/>
                  <a:gd name="T15" fmla="*/ 44 h 115"/>
                  <a:gd name="T16" fmla="*/ 83 w 92"/>
                  <a:gd name="T17" fmla="*/ 44 h 115"/>
                  <a:gd name="T18" fmla="*/ 83 w 92"/>
                  <a:gd name="T19" fmla="*/ 68 h 115"/>
                  <a:gd name="T20" fmla="*/ 32 w 92"/>
                  <a:gd name="T21" fmla="*/ 68 h 115"/>
                  <a:gd name="T22" fmla="*/ 32 w 92"/>
                  <a:gd name="T23" fmla="*/ 89 h 115"/>
                  <a:gd name="T24" fmla="*/ 92 w 92"/>
                  <a:gd name="T25" fmla="*/ 89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2" h="115">
                    <a:moveTo>
                      <a:pt x="92" y="89"/>
                    </a:moveTo>
                    <a:lnTo>
                      <a:pt x="9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25"/>
                    </a:lnTo>
                    <a:lnTo>
                      <a:pt x="32" y="25"/>
                    </a:lnTo>
                    <a:lnTo>
                      <a:pt x="32" y="44"/>
                    </a:lnTo>
                    <a:lnTo>
                      <a:pt x="83" y="44"/>
                    </a:lnTo>
                    <a:lnTo>
                      <a:pt x="83" y="68"/>
                    </a:lnTo>
                    <a:lnTo>
                      <a:pt x="32" y="68"/>
                    </a:lnTo>
                    <a:lnTo>
                      <a:pt x="32" y="89"/>
                    </a:lnTo>
                    <a:lnTo>
                      <a:pt x="92" y="8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10">
                <a:extLst>
                  <a:ext uri="{FF2B5EF4-FFF2-40B4-BE49-F238E27FC236}">
                    <a16:creationId xmlns:a16="http://schemas.microsoft.com/office/drawing/2014/main" id="{FDE42823-2AA2-4EE0-AD55-DF8FA83AA4B1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934704" y="1379538"/>
                <a:ext cx="82550" cy="90487"/>
              </a:xfrm>
              <a:custGeom>
                <a:avLst/>
                <a:gdLst>
                  <a:gd name="T0" fmla="*/ 99 w 105"/>
                  <a:gd name="T1" fmla="*/ 64 h 115"/>
                  <a:gd name="T2" fmla="*/ 104 w 105"/>
                  <a:gd name="T3" fmla="*/ 72 h 115"/>
                  <a:gd name="T4" fmla="*/ 105 w 105"/>
                  <a:gd name="T5" fmla="*/ 81 h 115"/>
                  <a:gd name="T6" fmla="*/ 104 w 105"/>
                  <a:gd name="T7" fmla="*/ 88 h 115"/>
                  <a:gd name="T8" fmla="*/ 98 w 105"/>
                  <a:gd name="T9" fmla="*/ 101 h 115"/>
                  <a:gd name="T10" fmla="*/ 93 w 105"/>
                  <a:gd name="T11" fmla="*/ 106 h 115"/>
                  <a:gd name="T12" fmla="*/ 78 w 105"/>
                  <a:gd name="T13" fmla="*/ 113 h 115"/>
                  <a:gd name="T14" fmla="*/ 58 w 105"/>
                  <a:gd name="T15" fmla="*/ 115 h 115"/>
                  <a:gd name="T16" fmla="*/ 0 w 105"/>
                  <a:gd name="T17" fmla="*/ 0 h 115"/>
                  <a:gd name="T18" fmla="*/ 55 w 105"/>
                  <a:gd name="T19" fmla="*/ 0 h 115"/>
                  <a:gd name="T20" fmla="*/ 72 w 105"/>
                  <a:gd name="T21" fmla="*/ 2 h 115"/>
                  <a:gd name="T22" fmla="*/ 88 w 105"/>
                  <a:gd name="T23" fmla="*/ 8 h 115"/>
                  <a:gd name="T24" fmla="*/ 93 w 105"/>
                  <a:gd name="T25" fmla="*/ 12 h 115"/>
                  <a:gd name="T26" fmla="*/ 99 w 105"/>
                  <a:gd name="T27" fmla="*/ 23 h 115"/>
                  <a:gd name="T28" fmla="*/ 100 w 105"/>
                  <a:gd name="T29" fmla="*/ 30 h 115"/>
                  <a:gd name="T30" fmla="*/ 96 w 105"/>
                  <a:gd name="T31" fmla="*/ 45 h 115"/>
                  <a:gd name="T32" fmla="*/ 91 w 105"/>
                  <a:gd name="T33" fmla="*/ 50 h 115"/>
                  <a:gd name="T34" fmla="*/ 84 w 105"/>
                  <a:gd name="T35" fmla="*/ 54 h 115"/>
                  <a:gd name="T36" fmla="*/ 93 w 105"/>
                  <a:gd name="T37" fmla="*/ 58 h 115"/>
                  <a:gd name="T38" fmla="*/ 99 w 105"/>
                  <a:gd name="T39" fmla="*/ 64 h 115"/>
                  <a:gd name="T40" fmla="*/ 32 w 105"/>
                  <a:gd name="T41" fmla="*/ 46 h 115"/>
                  <a:gd name="T42" fmla="*/ 52 w 105"/>
                  <a:gd name="T43" fmla="*/ 46 h 115"/>
                  <a:gd name="T44" fmla="*/ 63 w 105"/>
                  <a:gd name="T45" fmla="*/ 43 h 115"/>
                  <a:gd name="T46" fmla="*/ 66 w 105"/>
                  <a:gd name="T47" fmla="*/ 34 h 115"/>
                  <a:gd name="T48" fmla="*/ 65 w 105"/>
                  <a:gd name="T49" fmla="*/ 29 h 115"/>
                  <a:gd name="T50" fmla="*/ 58 w 105"/>
                  <a:gd name="T51" fmla="*/ 24 h 115"/>
                  <a:gd name="T52" fmla="*/ 32 w 105"/>
                  <a:gd name="T53" fmla="*/ 23 h 115"/>
                  <a:gd name="T54" fmla="*/ 71 w 105"/>
                  <a:gd name="T55" fmla="*/ 79 h 115"/>
                  <a:gd name="T56" fmla="*/ 70 w 105"/>
                  <a:gd name="T57" fmla="*/ 74 h 115"/>
                  <a:gd name="T58" fmla="*/ 63 w 105"/>
                  <a:gd name="T59" fmla="*/ 68 h 115"/>
                  <a:gd name="T60" fmla="*/ 32 w 105"/>
                  <a:gd name="T61" fmla="*/ 67 h 115"/>
                  <a:gd name="T62" fmla="*/ 57 w 105"/>
                  <a:gd name="T63" fmla="*/ 91 h 115"/>
                  <a:gd name="T64" fmla="*/ 63 w 105"/>
                  <a:gd name="T65" fmla="*/ 90 h 115"/>
                  <a:gd name="T66" fmla="*/ 70 w 105"/>
                  <a:gd name="T67" fmla="*/ 84 h 115"/>
                  <a:gd name="T68" fmla="*/ 71 w 105"/>
                  <a:gd name="T69" fmla="*/ 79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5" h="115">
                    <a:moveTo>
                      <a:pt x="99" y="64"/>
                    </a:moveTo>
                    <a:lnTo>
                      <a:pt x="99" y="64"/>
                    </a:lnTo>
                    <a:lnTo>
                      <a:pt x="102" y="68"/>
                    </a:lnTo>
                    <a:lnTo>
                      <a:pt x="104" y="72"/>
                    </a:lnTo>
                    <a:lnTo>
                      <a:pt x="105" y="77"/>
                    </a:lnTo>
                    <a:lnTo>
                      <a:pt x="105" y="81"/>
                    </a:lnTo>
                    <a:lnTo>
                      <a:pt x="105" y="81"/>
                    </a:lnTo>
                    <a:lnTo>
                      <a:pt x="104" y="88"/>
                    </a:lnTo>
                    <a:lnTo>
                      <a:pt x="102" y="95"/>
                    </a:lnTo>
                    <a:lnTo>
                      <a:pt x="98" y="101"/>
                    </a:lnTo>
                    <a:lnTo>
                      <a:pt x="93" y="106"/>
                    </a:lnTo>
                    <a:lnTo>
                      <a:pt x="93" y="106"/>
                    </a:lnTo>
                    <a:lnTo>
                      <a:pt x="86" y="110"/>
                    </a:lnTo>
                    <a:lnTo>
                      <a:pt x="78" y="113"/>
                    </a:lnTo>
                    <a:lnTo>
                      <a:pt x="69" y="114"/>
                    </a:lnTo>
                    <a:lnTo>
                      <a:pt x="58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55" y="0"/>
                    </a:lnTo>
                    <a:lnTo>
                      <a:pt x="55" y="0"/>
                    </a:lnTo>
                    <a:lnTo>
                      <a:pt x="64" y="0"/>
                    </a:lnTo>
                    <a:lnTo>
                      <a:pt x="72" y="2"/>
                    </a:lnTo>
                    <a:lnTo>
                      <a:pt x="81" y="4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93" y="12"/>
                    </a:lnTo>
                    <a:lnTo>
                      <a:pt x="97" y="17"/>
                    </a:lnTo>
                    <a:lnTo>
                      <a:pt x="99" y="23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99" y="37"/>
                    </a:lnTo>
                    <a:lnTo>
                      <a:pt x="96" y="45"/>
                    </a:lnTo>
                    <a:lnTo>
                      <a:pt x="96" y="45"/>
                    </a:lnTo>
                    <a:lnTo>
                      <a:pt x="91" y="50"/>
                    </a:lnTo>
                    <a:lnTo>
                      <a:pt x="84" y="54"/>
                    </a:lnTo>
                    <a:lnTo>
                      <a:pt x="84" y="54"/>
                    </a:lnTo>
                    <a:lnTo>
                      <a:pt x="88" y="56"/>
                    </a:lnTo>
                    <a:lnTo>
                      <a:pt x="93" y="58"/>
                    </a:lnTo>
                    <a:lnTo>
                      <a:pt x="96" y="61"/>
                    </a:lnTo>
                    <a:lnTo>
                      <a:pt x="99" y="64"/>
                    </a:lnTo>
                    <a:lnTo>
                      <a:pt x="99" y="64"/>
                    </a:lnTo>
                    <a:close/>
                    <a:moveTo>
                      <a:pt x="32" y="46"/>
                    </a:moveTo>
                    <a:lnTo>
                      <a:pt x="52" y="46"/>
                    </a:lnTo>
                    <a:lnTo>
                      <a:pt x="52" y="46"/>
                    </a:lnTo>
                    <a:lnTo>
                      <a:pt x="58" y="45"/>
                    </a:lnTo>
                    <a:lnTo>
                      <a:pt x="63" y="43"/>
                    </a:lnTo>
                    <a:lnTo>
                      <a:pt x="65" y="39"/>
                    </a:lnTo>
                    <a:lnTo>
                      <a:pt x="66" y="34"/>
                    </a:lnTo>
                    <a:lnTo>
                      <a:pt x="66" y="34"/>
                    </a:lnTo>
                    <a:lnTo>
                      <a:pt x="65" y="29"/>
                    </a:lnTo>
                    <a:lnTo>
                      <a:pt x="63" y="26"/>
                    </a:lnTo>
                    <a:lnTo>
                      <a:pt x="58" y="24"/>
                    </a:lnTo>
                    <a:lnTo>
                      <a:pt x="52" y="23"/>
                    </a:lnTo>
                    <a:lnTo>
                      <a:pt x="32" y="23"/>
                    </a:lnTo>
                    <a:lnTo>
                      <a:pt x="32" y="46"/>
                    </a:lnTo>
                    <a:close/>
                    <a:moveTo>
                      <a:pt x="71" y="79"/>
                    </a:moveTo>
                    <a:lnTo>
                      <a:pt x="71" y="79"/>
                    </a:lnTo>
                    <a:lnTo>
                      <a:pt x="70" y="74"/>
                    </a:lnTo>
                    <a:lnTo>
                      <a:pt x="68" y="70"/>
                    </a:lnTo>
                    <a:lnTo>
                      <a:pt x="63" y="68"/>
                    </a:lnTo>
                    <a:lnTo>
                      <a:pt x="57" y="67"/>
                    </a:lnTo>
                    <a:lnTo>
                      <a:pt x="32" y="67"/>
                    </a:lnTo>
                    <a:lnTo>
                      <a:pt x="32" y="91"/>
                    </a:lnTo>
                    <a:lnTo>
                      <a:pt x="57" y="91"/>
                    </a:lnTo>
                    <a:lnTo>
                      <a:pt x="57" y="91"/>
                    </a:lnTo>
                    <a:lnTo>
                      <a:pt x="63" y="90"/>
                    </a:lnTo>
                    <a:lnTo>
                      <a:pt x="68" y="88"/>
                    </a:lnTo>
                    <a:lnTo>
                      <a:pt x="70" y="84"/>
                    </a:lnTo>
                    <a:lnTo>
                      <a:pt x="71" y="79"/>
                    </a:lnTo>
                    <a:lnTo>
                      <a:pt x="71" y="7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11">
                <a:extLst>
                  <a:ext uri="{FF2B5EF4-FFF2-40B4-BE49-F238E27FC236}">
                    <a16:creationId xmlns:a16="http://schemas.microsoft.com/office/drawing/2014/main" id="{12834717-E156-47A1-B65B-DF1BB29A5FA5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1033129" y="1379538"/>
                <a:ext cx="119063" cy="90487"/>
              </a:xfrm>
              <a:custGeom>
                <a:avLst/>
                <a:gdLst>
                  <a:gd name="T0" fmla="*/ 92 w 148"/>
                  <a:gd name="T1" fmla="*/ 46 h 115"/>
                  <a:gd name="T2" fmla="*/ 92 w 148"/>
                  <a:gd name="T3" fmla="*/ 46 h 115"/>
                  <a:gd name="T4" fmla="*/ 97 w 148"/>
                  <a:gd name="T5" fmla="*/ 51 h 115"/>
                  <a:gd name="T6" fmla="*/ 101 w 148"/>
                  <a:gd name="T7" fmla="*/ 58 h 115"/>
                  <a:gd name="T8" fmla="*/ 103 w 148"/>
                  <a:gd name="T9" fmla="*/ 66 h 115"/>
                  <a:gd name="T10" fmla="*/ 103 w 148"/>
                  <a:gd name="T11" fmla="*/ 73 h 115"/>
                  <a:gd name="T12" fmla="*/ 103 w 148"/>
                  <a:gd name="T13" fmla="*/ 73 h 115"/>
                  <a:gd name="T14" fmla="*/ 103 w 148"/>
                  <a:gd name="T15" fmla="*/ 82 h 115"/>
                  <a:gd name="T16" fmla="*/ 100 w 148"/>
                  <a:gd name="T17" fmla="*/ 90 h 115"/>
                  <a:gd name="T18" fmla="*/ 96 w 148"/>
                  <a:gd name="T19" fmla="*/ 97 h 115"/>
                  <a:gd name="T20" fmla="*/ 91 w 148"/>
                  <a:gd name="T21" fmla="*/ 104 h 115"/>
                  <a:gd name="T22" fmla="*/ 91 w 148"/>
                  <a:gd name="T23" fmla="*/ 104 h 115"/>
                  <a:gd name="T24" fmla="*/ 83 w 148"/>
                  <a:gd name="T25" fmla="*/ 109 h 115"/>
                  <a:gd name="T26" fmla="*/ 73 w 148"/>
                  <a:gd name="T27" fmla="*/ 113 h 115"/>
                  <a:gd name="T28" fmla="*/ 64 w 148"/>
                  <a:gd name="T29" fmla="*/ 115 h 115"/>
                  <a:gd name="T30" fmla="*/ 54 w 148"/>
                  <a:gd name="T31" fmla="*/ 115 h 115"/>
                  <a:gd name="T32" fmla="*/ 0 w 148"/>
                  <a:gd name="T33" fmla="*/ 115 h 115"/>
                  <a:gd name="T34" fmla="*/ 0 w 148"/>
                  <a:gd name="T35" fmla="*/ 0 h 115"/>
                  <a:gd name="T36" fmla="*/ 32 w 148"/>
                  <a:gd name="T37" fmla="*/ 0 h 115"/>
                  <a:gd name="T38" fmla="*/ 32 w 148"/>
                  <a:gd name="T39" fmla="*/ 36 h 115"/>
                  <a:gd name="T40" fmla="*/ 59 w 148"/>
                  <a:gd name="T41" fmla="*/ 36 h 115"/>
                  <a:gd name="T42" fmla="*/ 59 w 148"/>
                  <a:gd name="T43" fmla="*/ 36 h 115"/>
                  <a:gd name="T44" fmla="*/ 67 w 148"/>
                  <a:gd name="T45" fmla="*/ 37 h 115"/>
                  <a:gd name="T46" fmla="*/ 76 w 148"/>
                  <a:gd name="T47" fmla="*/ 38 h 115"/>
                  <a:gd name="T48" fmla="*/ 85 w 148"/>
                  <a:gd name="T49" fmla="*/ 41 h 115"/>
                  <a:gd name="T50" fmla="*/ 92 w 148"/>
                  <a:gd name="T51" fmla="*/ 46 h 115"/>
                  <a:gd name="T52" fmla="*/ 92 w 148"/>
                  <a:gd name="T53" fmla="*/ 46 h 115"/>
                  <a:gd name="T54" fmla="*/ 65 w 148"/>
                  <a:gd name="T55" fmla="*/ 86 h 115"/>
                  <a:gd name="T56" fmla="*/ 65 w 148"/>
                  <a:gd name="T57" fmla="*/ 86 h 115"/>
                  <a:gd name="T58" fmla="*/ 67 w 148"/>
                  <a:gd name="T59" fmla="*/ 84 h 115"/>
                  <a:gd name="T60" fmla="*/ 69 w 148"/>
                  <a:gd name="T61" fmla="*/ 81 h 115"/>
                  <a:gd name="T62" fmla="*/ 70 w 148"/>
                  <a:gd name="T63" fmla="*/ 77 h 115"/>
                  <a:gd name="T64" fmla="*/ 70 w 148"/>
                  <a:gd name="T65" fmla="*/ 74 h 115"/>
                  <a:gd name="T66" fmla="*/ 70 w 148"/>
                  <a:gd name="T67" fmla="*/ 74 h 115"/>
                  <a:gd name="T68" fmla="*/ 70 w 148"/>
                  <a:gd name="T69" fmla="*/ 71 h 115"/>
                  <a:gd name="T70" fmla="*/ 69 w 148"/>
                  <a:gd name="T71" fmla="*/ 68 h 115"/>
                  <a:gd name="T72" fmla="*/ 68 w 148"/>
                  <a:gd name="T73" fmla="*/ 65 h 115"/>
                  <a:gd name="T74" fmla="*/ 66 w 148"/>
                  <a:gd name="T75" fmla="*/ 63 h 115"/>
                  <a:gd name="T76" fmla="*/ 63 w 148"/>
                  <a:gd name="T77" fmla="*/ 61 h 115"/>
                  <a:gd name="T78" fmla="*/ 60 w 148"/>
                  <a:gd name="T79" fmla="*/ 60 h 115"/>
                  <a:gd name="T80" fmla="*/ 52 w 148"/>
                  <a:gd name="T81" fmla="*/ 59 h 115"/>
                  <a:gd name="T82" fmla="*/ 33 w 148"/>
                  <a:gd name="T83" fmla="*/ 59 h 115"/>
                  <a:gd name="T84" fmla="*/ 33 w 148"/>
                  <a:gd name="T85" fmla="*/ 91 h 115"/>
                  <a:gd name="T86" fmla="*/ 52 w 148"/>
                  <a:gd name="T87" fmla="*/ 91 h 115"/>
                  <a:gd name="T88" fmla="*/ 52 w 148"/>
                  <a:gd name="T89" fmla="*/ 91 h 115"/>
                  <a:gd name="T90" fmla="*/ 56 w 148"/>
                  <a:gd name="T91" fmla="*/ 91 h 115"/>
                  <a:gd name="T92" fmla="*/ 59 w 148"/>
                  <a:gd name="T93" fmla="*/ 90 h 115"/>
                  <a:gd name="T94" fmla="*/ 62 w 148"/>
                  <a:gd name="T95" fmla="*/ 88 h 115"/>
                  <a:gd name="T96" fmla="*/ 65 w 148"/>
                  <a:gd name="T97" fmla="*/ 86 h 115"/>
                  <a:gd name="T98" fmla="*/ 65 w 148"/>
                  <a:gd name="T99" fmla="*/ 86 h 115"/>
                  <a:gd name="T100" fmla="*/ 116 w 148"/>
                  <a:gd name="T101" fmla="*/ 0 h 115"/>
                  <a:gd name="T102" fmla="*/ 148 w 148"/>
                  <a:gd name="T103" fmla="*/ 0 h 115"/>
                  <a:gd name="T104" fmla="*/ 148 w 148"/>
                  <a:gd name="T105" fmla="*/ 115 h 115"/>
                  <a:gd name="T106" fmla="*/ 116 w 148"/>
                  <a:gd name="T107" fmla="*/ 115 h 115"/>
                  <a:gd name="T108" fmla="*/ 116 w 148"/>
                  <a:gd name="T109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48" h="115">
                    <a:moveTo>
                      <a:pt x="92" y="46"/>
                    </a:moveTo>
                    <a:lnTo>
                      <a:pt x="92" y="46"/>
                    </a:lnTo>
                    <a:lnTo>
                      <a:pt x="97" y="51"/>
                    </a:lnTo>
                    <a:lnTo>
                      <a:pt x="101" y="58"/>
                    </a:lnTo>
                    <a:lnTo>
                      <a:pt x="103" y="66"/>
                    </a:lnTo>
                    <a:lnTo>
                      <a:pt x="103" y="73"/>
                    </a:lnTo>
                    <a:lnTo>
                      <a:pt x="103" y="73"/>
                    </a:lnTo>
                    <a:lnTo>
                      <a:pt x="103" y="82"/>
                    </a:lnTo>
                    <a:lnTo>
                      <a:pt x="100" y="90"/>
                    </a:lnTo>
                    <a:lnTo>
                      <a:pt x="96" y="97"/>
                    </a:lnTo>
                    <a:lnTo>
                      <a:pt x="91" y="104"/>
                    </a:lnTo>
                    <a:lnTo>
                      <a:pt x="91" y="104"/>
                    </a:lnTo>
                    <a:lnTo>
                      <a:pt x="83" y="109"/>
                    </a:lnTo>
                    <a:lnTo>
                      <a:pt x="73" y="113"/>
                    </a:lnTo>
                    <a:lnTo>
                      <a:pt x="64" y="115"/>
                    </a:lnTo>
                    <a:lnTo>
                      <a:pt x="54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2" y="0"/>
                    </a:lnTo>
                    <a:lnTo>
                      <a:pt x="32" y="36"/>
                    </a:lnTo>
                    <a:lnTo>
                      <a:pt x="59" y="36"/>
                    </a:lnTo>
                    <a:lnTo>
                      <a:pt x="59" y="36"/>
                    </a:lnTo>
                    <a:lnTo>
                      <a:pt x="67" y="37"/>
                    </a:lnTo>
                    <a:lnTo>
                      <a:pt x="76" y="38"/>
                    </a:lnTo>
                    <a:lnTo>
                      <a:pt x="85" y="41"/>
                    </a:lnTo>
                    <a:lnTo>
                      <a:pt x="92" y="46"/>
                    </a:lnTo>
                    <a:lnTo>
                      <a:pt x="92" y="46"/>
                    </a:lnTo>
                    <a:close/>
                    <a:moveTo>
                      <a:pt x="65" y="86"/>
                    </a:moveTo>
                    <a:lnTo>
                      <a:pt x="65" y="86"/>
                    </a:lnTo>
                    <a:lnTo>
                      <a:pt x="67" y="84"/>
                    </a:lnTo>
                    <a:lnTo>
                      <a:pt x="69" y="81"/>
                    </a:lnTo>
                    <a:lnTo>
                      <a:pt x="70" y="77"/>
                    </a:lnTo>
                    <a:lnTo>
                      <a:pt x="70" y="74"/>
                    </a:lnTo>
                    <a:lnTo>
                      <a:pt x="70" y="74"/>
                    </a:lnTo>
                    <a:lnTo>
                      <a:pt x="70" y="71"/>
                    </a:lnTo>
                    <a:lnTo>
                      <a:pt x="69" y="68"/>
                    </a:lnTo>
                    <a:lnTo>
                      <a:pt x="68" y="65"/>
                    </a:lnTo>
                    <a:lnTo>
                      <a:pt x="66" y="63"/>
                    </a:lnTo>
                    <a:lnTo>
                      <a:pt x="63" y="61"/>
                    </a:lnTo>
                    <a:lnTo>
                      <a:pt x="60" y="60"/>
                    </a:lnTo>
                    <a:lnTo>
                      <a:pt x="52" y="59"/>
                    </a:lnTo>
                    <a:lnTo>
                      <a:pt x="33" y="59"/>
                    </a:lnTo>
                    <a:lnTo>
                      <a:pt x="33" y="91"/>
                    </a:lnTo>
                    <a:lnTo>
                      <a:pt x="52" y="91"/>
                    </a:lnTo>
                    <a:lnTo>
                      <a:pt x="52" y="91"/>
                    </a:lnTo>
                    <a:lnTo>
                      <a:pt x="56" y="91"/>
                    </a:lnTo>
                    <a:lnTo>
                      <a:pt x="59" y="90"/>
                    </a:lnTo>
                    <a:lnTo>
                      <a:pt x="62" y="88"/>
                    </a:lnTo>
                    <a:lnTo>
                      <a:pt x="65" y="86"/>
                    </a:lnTo>
                    <a:lnTo>
                      <a:pt x="65" y="86"/>
                    </a:lnTo>
                    <a:close/>
                    <a:moveTo>
                      <a:pt x="116" y="0"/>
                    </a:moveTo>
                    <a:lnTo>
                      <a:pt x="148" y="0"/>
                    </a:lnTo>
                    <a:lnTo>
                      <a:pt x="148" y="115"/>
                    </a:lnTo>
                    <a:lnTo>
                      <a:pt x="116" y="115"/>
                    </a:lnTo>
                    <a:lnTo>
                      <a:pt x="116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12">
                <a:extLst>
                  <a:ext uri="{FF2B5EF4-FFF2-40B4-BE49-F238E27FC236}">
                    <a16:creationId xmlns:a16="http://schemas.microsoft.com/office/drawing/2014/main" id="{F71DE40F-0AB4-4F57-8890-85182090DBF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166479" y="1376363"/>
                <a:ext cx="79375" cy="95250"/>
              </a:xfrm>
              <a:custGeom>
                <a:avLst/>
                <a:gdLst>
                  <a:gd name="T0" fmla="*/ 96 w 101"/>
                  <a:gd name="T1" fmla="*/ 68 h 120"/>
                  <a:gd name="T2" fmla="*/ 100 w 101"/>
                  <a:gd name="T3" fmla="*/ 76 h 120"/>
                  <a:gd name="T4" fmla="*/ 101 w 101"/>
                  <a:gd name="T5" fmla="*/ 85 h 120"/>
                  <a:gd name="T6" fmla="*/ 101 w 101"/>
                  <a:gd name="T7" fmla="*/ 90 h 120"/>
                  <a:gd name="T8" fmla="*/ 97 w 101"/>
                  <a:gd name="T9" fmla="*/ 99 h 120"/>
                  <a:gd name="T10" fmla="*/ 94 w 101"/>
                  <a:gd name="T11" fmla="*/ 104 h 120"/>
                  <a:gd name="T12" fmla="*/ 85 w 101"/>
                  <a:gd name="T13" fmla="*/ 111 h 120"/>
                  <a:gd name="T14" fmla="*/ 75 w 101"/>
                  <a:gd name="T15" fmla="*/ 116 h 120"/>
                  <a:gd name="T16" fmla="*/ 61 w 101"/>
                  <a:gd name="T17" fmla="*/ 119 h 120"/>
                  <a:gd name="T18" fmla="*/ 48 w 101"/>
                  <a:gd name="T19" fmla="*/ 120 h 120"/>
                  <a:gd name="T20" fmla="*/ 23 w 101"/>
                  <a:gd name="T21" fmla="*/ 118 h 120"/>
                  <a:gd name="T22" fmla="*/ 12 w 101"/>
                  <a:gd name="T23" fmla="*/ 114 h 120"/>
                  <a:gd name="T24" fmla="*/ 10 w 101"/>
                  <a:gd name="T25" fmla="*/ 86 h 120"/>
                  <a:gd name="T26" fmla="*/ 18 w 101"/>
                  <a:gd name="T27" fmla="*/ 89 h 120"/>
                  <a:gd name="T28" fmla="*/ 26 w 101"/>
                  <a:gd name="T29" fmla="*/ 92 h 120"/>
                  <a:gd name="T30" fmla="*/ 44 w 101"/>
                  <a:gd name="T31" fmla="*/ 94 h 120"/>
                  <a:gd name="T32" fmla="*/ 53 w 101"/>
                  <a:gd name="T33" fmla="*/ 93 h 120"/>
                  <a:gd name="T34" fmla="*/ 62 w 101"/>
                  <a:gd name="T35" fmla="*/ 90 h 120"/>
                  <a:gd name="T36" fmla="*/ 67 w 101"/>
                  <a:gd name="T37" fmla="*/ 86 h 120"/>
                  <a:gd name="T38" fmla="*/ 69 w 101"/>
                  <a:gd name="T39" fmla="*/ 80 h 120"/>
                  <a:gd name="T40" fmla="*/ 68 w 101"/>
                  <a:gd name="T41" fmla="*/ 78 h 120"/>
                  <a:gd name="T42" fmla="*/ 66 w 101"/>
                  <a:gd name="T43" fmla="*/ 74 h 120"/>
                  <a:gd name="T44" fmla="*/ 64 w 101"/>
                  <a:gd name="T45" fmla="*/ 73 h 120"/>
                  <a:gd name="T46" fmla="*/ 53 w 101"/>
                  <a:gd name="T47" fmla="*/ 70 h 120"/>
                  <a:gd name="T48" fmla="*/ 23 w 101"/>
                  <a:gd name="T49" fmla="*/ 47 h 120"/>
                  <a:gd name="T50" fmla="*/ 50 w 101"/>
                  <a:gd name="T51" fmla="*/ 47 h 120"/>
                  <a:gd name="T52" fmla="*/ 60 w 101"/>
                  <a:gd name="T53" fmla="*/ 44 h 120"/>
                  <a:gd name="T54" fmla="*/ 63 w 101"/>
                  <a:gd name="T55" fmla="*/ 41 h 120"/>
                  <a:gd name="T56" fmla="*/ 64 w 101"/>
                  <a:gd name="T57" fmla="*/ 37 h 120"/>
                  <a:gd name="T58" fmla="*/ 62 w 101"/>
                  <a:gd name="T59" fmla="*/ 32 h 120"/>
                  <a:gd name="T60" fmla="*/ 58 w 101"/>
                  <a:gd name="T61" fmla="*/ 29 h 120"/>
                  <a:gd name="T62" fmla="*/ 51 w 101"/>
                  <a:gd name="T63" fmla="*/ 26 h 120"/>
                  <a:gd name="T64" fmla="*/ 44 w 101"/>
                  <a:gd name="T65" fmla="*/ 26 h 120"/>
                  <a:gd name="T66" fmla="*/ 28 w 101"/>
                  <a:gd name="T67" fmla="*/ 28 h 120"/>
                  <a:gd name="T68" fmla="*/ 20 w 101"/>
                  <a:gd name="T69" fmla="*/ 30 h 120"/>
                  <a:gd name="T70" fmla="*/ 3 w 101"/>
                  <a:gd name="T71" fmla="*/ 9 h 120"/>
                  <a:gd name="T72" fmla="*/ 13 w 101"/>
                  <a:gd name="T73" fmla="*/ 5 h 120"/>
                  <a:gd name="T74" fmla="*/ 33 w 101"/>
                  <a:gd name="T75" fmla="*/ 1 h 120"/>
                  <a:gd name="T76" fmla="*/ 44 w 101"/>
                  <a:gd name="T77" fmla="*/ 0 h 120"/>
                  <a:gd name="T78" fmla="*/ 70 w 101"/>
                  <a:gd name="T79" fmla="*/ 4 h 120"/>
                  <a:gd name="T80" fmla="*/ 75 w 101"/>
                  <a:gd name="T81" fmla="*/ 6 h 120"/>
                  <a:gd name="T82" fmla="*/ 85 w 101"/>
                  <a:gd name="T83" fmla="*/ 12 h 120"/>
                  <a:gd name="T84" fmla="*/ 89 w 101"/>
                  <a:gd name="T85" fmla="*/ 16 h 120"/>
                  <a:gd name="T86" fmla="*/ 95 w 101"/>
                  <a:gd name="T87" fmla="*/ 24 h 120"/>
                  <a:gd name="T88" fmla="*/ 96 w 101"/>
                  <a:gd name="T89" fmla="*/ 34 h 120"/>
                  <a:gd name="T90" fmla="*/ 95 w 101"/>
                  <a:gd name="T91" fmla="*/ 41 h 120"/>
                  <a:gd name="T92" fmla="*/ 92 w 101"/>
                  <a:gd name="T93" fmla="*/ 48 h 120"/>
                  <a:gd name="T94" fmla="*/ 81 w 101"/>
                  <a:gd name="T95" fmla="*/ 58 h 120"/>
                  <a:gd name="T96" fmla="*/ 85 w 101"/>
                  <a:gd name="T97" fmla="*/ 59 h 120"/>
                  <a:gd name="T98" fmla="*/ 93 w 101"/>
                  <a:gd name="T99" fmla="*/ 65 h 120"/>
                  <a:gd name="T100" fmla="*/ 96 w 101"/>
                  <a:gd name="T101" fmla="*/ 68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01" h="120">
                    <a:moveTo>
                      <a:pt x="96" y="68"/>
                    </a:moveTo>
                    <a:lnTo>
                      <a:pt x="96" y="68"/>
                    </a:lnTo>
                    <a:lnTo>
                      <a:pt x="98" y="72"/>
                    </a:lnTo>
                    <a:lnTo>
                      <a:pt x="100" y="76"/>
                    </a:lnTo>
                    <a:lnTo>
                      <a:pt x="101" y="80"/>
                    </a:lnTo>
                    <a:lnTo>
                      <a:pt x="101" y="85"/>
                    </a:lnTo>
                    <a:lnTo>
                      <a:pt x="101" y="85"/>
                    </a:lnTo>
                    <a:lnTo>
                      <a:pt x="101" y="90"/>
                    </a:lnTo>
                    <a:lnTo>
                      <a:pt x="99" y="95"/>
                    </a:lnTo>
                    <a:lnTo>
                      <a:pt x="97" y="99"/>
                    </a:lnTo>
                    <a:lnTo>
                      <a:pt x="94" y="104"/>
                    </a:lnTo>
                    <a:lnTo>
                      <a:pt x="94" y="104"/>
                    </a:lnTo>
                    <a:lnTo>
                      <a:pt x="90" y="108"/>
                    </a:lnTo>
                    <a:lnTo>
                      <a:pt x="85" y="111"/>
                    </a:lnTo>
                    <a:lnTo>
                      <a:pt x="80" y="114"/>
                    </a:lnTo>
                    <a:lnTo>
                      <a:pt x="75" y="116"/>
                    </a:lnTo>
                    <a:lnTo>
                      <a:pt x="75" y="116"/>
                    </a:lnTo>
                    <a:lnTo>
                      <a:pt x="61" y="119"/>
                    </a:lnTo>
                    <a:lnTo>
                      <a:pt x="48" y="120"/>
                    </a:lnTo>
                    <a:lnTo>
                      <a:pt x="48" y="120"/>
                    </a:lnTo>
                    <a:lnTo>
                      <a:pt x="35" y="120"/>
                    </a:lnTo>
                    <a:lnTo>
                      <a:pt x="23" y="118"/>
                    </a:lnTo>
                    <a:lnTo>
                      <a:pt x="23" y="118"/>
                    </a:lnTo>
                    <a:lnTo>
                      <a:pt x="12" y="114"/>
                    </a:lnTo>
                    <a:lnTo>
                      <a:pt x="0" y="109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8" y="89"/>
                    </a:lnTo>
                    <a:lnTo>
                      <a:pt x="26" y="92"/>
                    </a:lnTo>
                    <a:lnTo>
                      <a:pt x="26" y="92"/>
                    </a:lnTo>
                    <a:lnTo>
                      <a:pt x="35" y="93"/>
                    </a:lnTo>
                    <a:lnTo>
                      <a:pt x="44" y="94"/>
                    </a:lnTo>
                    <a:lnTo>
                      <a:pt x="44" y="94"/>
                    </a:lnTo>
                    <a:lnTo>
                      <a:pt x="53" y="93"/>
                    </a:lnTo>
                    <a:lnTo>
                      <a:pt x="62" y="90"/>
                    </a:lnTo>
                    <a:lnTo>
                      <a:pt x="62" y="90"/>
                    </a:lnTo>
                    <a:lnTo>
                      <a:pt x="64" y="89"/>
                    </a:lnTo>
                    <a:lnTo>
                      <a:pt x="67" y="86"/>
                    </a:lnTo>
                    <a:lnTo>
                      <a:pt x="68" y="84"/>
                    </a:lnTo>
                    <a:lnTo>
                      <a:pt x="69" y="80"/>
                    </a:lnTo>
                    <a:lnTo>
                      <a:pt x="69" y="80"/>
                    </a:lnTo>
                    <a:lnTo>
                      <a:pt x="68" y="78"/>
                    </a:lnTo>
                    <a:lnTo>
                      <a:pt x="67" y="76"/>
                    </a:lnTo>
                    <a:lnTo>
                      <a:pt x="66" y="74"/>
                    </a:lnTo>
                    <a:lnTo>
                      <a:pt x="64" y="73"/>
                    </a:lnTo>
                    <a:lnTo>
                      <a:pt x="64" y="73"/>
                    </a:lnTo>
                    <a:lnTo>
                      <a:pt x="59" y="71"/>
                    </a:lnTo>
                    <a:lnTo>
                      <a:pt x="53" y="70"/>
                    </a:lnTo>
                    <a:lnTo>
                      <a:pt x="23" y="70"/>
                    </a:lnTo>
                    <a:lnTo>
                      <a:pt x="23" y="47"/>
                    </a:lnTo>
                    <a:lnTo>
                      <a:pt x="50" y="47"/>
                    </a:lnTo>
                    <a:lnTo>
                      <a:pt x="50" y="47"/>
                    </a:lnTo>
                    <a:lnTo>
                      <a:pt x="55" y="46"/>
                    </a:lnTo>
                    <a:lnTo>
                      <a:pt x="60" y="44"/>
                    </a:lnTo>
                    <a:lnTo>
                      <a:pt x="60" y="44"/>
                    </a:lnTo>
                    <a:lnTo>
                      <a:pt x="63" y="41"/>
                    </a:lnTo>
                    <a:lnTo>
                      <a:pt x="64" y="37"/>
                    </a:lnTo>
                    <a:lnTo>
                      <a:pt x="64" y="37"/>
                    </a:lnTo>
                    <a:lnTo>
                      <a:pt x="63" y="35"/>
                    </a:lnTo>
                    <a:lnTo>
                      <a:pt x="62" y="32"/>
                    </a:lnTo>
                    <a:lnTo>
                      <a:pt x="61" y="30"/>
                    </a:lnTo>
                    <a:lnTo>
                      <a:pt x="58" y="29"/>
                    </a:lnTo>
                    <a:lnTo>
                      <a:pt x="58" y="29"/>
                    </a:lnTo>
                    <a:lnTo>
                      <a:pt x="51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35" y="26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0" y="30"/>
                    </a:lnTo>
                    <a:lnTo>
                      <a:pt x="13" y="34"/>
                    </a:lnTo>
                    <a:lnTo>
                      <a:pt x="3" y="9"/>
                    </a:lnTo>
                    <a:lnTo>
                      <a:pt x="3" y="9"/>
                    </a:lnTo>
                    <a:lnTo>
                      <a:pt x="13" y="5"/>
                    </a:lnTo>
                    <a:lnTo>
                      <a:pt x="23" y="2"/>
                    </a:lnTo>
                    <a:lnTo>
                      <a:pt x="33" y="1"/>
                    </a:lnTo>
                    <a:lnTo>
                      <a:pt x="44" y="0"/>
                    </a:lnTo>
                    <a:lnTo>
                      <a:pt x="44" y="0"/>
                    </a:lnTo>
                    <a:lnTo>
                      <a:pt x="57" y="1"/>
                    </a:lnTo>
                    <a:lnTo>
                      <a:pt x="70" y="4"/>
                    </a:lnTo>
                    <a:lnTo>
                      <a:pt x="70" y="4"/>
                    </a:lnTo>
                    <a:lnTo>
                      <a:pt x="75" y="6"/>
                    </a:lnTo>
                    <a:lnTo>
                      <a:pt x="80" y="9"/>
                    </a:lnTo>
                    <a:lnTo>
                      <a:pt x="85" y="12"/>
                    </a:lnTo>
                    <a:lnTo>
                      <a:pt x="89" y="16"/>
                    </a:lnTo>
                    <a:lnTo>
                      <a:pt x="89" y="16"/>
                    </a:lnTo>
                    <a:lnTo>
                      <a:pt x="92" y="20"/>
                    </a:lnTo>
                    <a:lnTo>
                      <a:pt x="95" y="24"/>
                    </a:lnTo>
                    <a:lnTo>
                      <a:pt x="96" y="29"/>
                    </a:lnTo>
                    <a:lnTo>
                      <a:pt x="96" y="34"/>
                    </a:lnTo>
                    <a:lnTo>
                      <a:pt x="96" y="34"/>
                    </a:lnTo>
                    <a:lnTo>
                      <a:pt x="95" y="41"/>
                    </a:lnTo>
                    <a:lnTo>
                      <a:pt x="92" y="48"/>
                    </a:lnTo>
                    <a:lnTo>
                      <a:pt x="92" y="48"/>
                    </a:lnTo>
                    <a:lnTo>
                      <a:pt x="87" y="53"/>
                    </a:lnTo>
                    <a:lnTo>
                      <a:pt x="81" y="58"/>
                    </a:lnTo>
                    <a:lnTo>
                      <a:pt x="81" y="58"/>
                    </a:lnTo>
                    <a:lnTo>
                      <a:pt x="85" y="59"/>
                    </a:lnTo>
                    <a:lnTo>
                      <a:pt x="89" y="62"/>
                    </a:lnTo>
                    <a:lnTo>
                      <a:pt x="93" y="65"/>
                    </a:lnTo>
                    <a:lnTo>
                      <a:pt x="96" y="68"/>
                    </a:lnTo>
                    <a:lnTo>
                      <a:pt x="96" y="6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13">
                <a:extLst>
                  <a:ext uri="{FF2B5EF4-FFF2-40B4-BE49-F238E27FC236}">
                    <a16:creationId xmlns:a16="http://schemas.microsoft.com/office/drawing/2014/main" id="{274BC18C-885B-4E8F-9CF5-6E9D99E78897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1256966" y="1377950"/>
                <a:ext cx="101600" cy="93662"/>
              </a:xfrm>
              <a:custGeom>
                <a:avLst/>
                <a:gdLst>
                  <a:gd name="T0" fmla="*/ 31 w 128"/>
                  <a:gd name="T1" fmla="*/ 112 h 119"/>
                  <a:gd name="T2" fmla="*/ 21 w 128"/>
                  <a:gd name="T3" fmla="*/ 105 h 119"/>
                  <a:gd name="T4" fmla="*/ 7 w 128"/>
                  <a:gd name="T5" fmla="*/ 87 h 119"/>
                  <a:gd name="T6" fmla="*/ 0 w 128"/>
                  <a:gd name="T7" fmla="*/ 65 h 119"/>
                  <a:gd name="T8" fmla="*/ 2 w 128"/>
                  <a:gd name="T9" fmla="*/ 43 h 119"/>
                  <a:gd name="T10" fmla="*/ 7 w 128"/>
                  <a:gd name="T11" fmla="*/ 32 h 119"/>
                  <a:gd name="T12" fmla="*/ 11 w 128"/>
                  <a:gd name="T13" fmla="*/ 24 h 119"/>
                  <a:gd name="T14" fmla="*/ 24 w 128"/>
                  <a:gd name="T15" fmla="*/ 12 h 119"/>
                  <a:gd name="T16" fmla="*/ 31 w 128"/>
                  <a:gd name="T17" fmla="*/ 7 h 119"/>
                  <a:gd name="T18" fmla="*/ 47 w 128"/>
                  <a:gd name="T19" fmla="*/ 2 h 119"/>
                  <a:gd name="T20" fmla="*/ 65 w 128"/>
                  <a:gd name="T21" fmla="*/ 0 h 119"/>
                  <a:gd name="T22" fmla="*/ 81 w 128"/>
                  <a:gd name="T23" fmla="*/ 2 h 119"/>
                  <a:gd name="T24" fmla="*/ 97 w 128"/>
                  <a:gd name="T25" fmla="*/ 7 h 119"/>
                  <a:gd name="T26" fmla="*/ 102 w 128"/>
                  <a:gd name="T27" fmla="*/ 10 h 119"/>
                  <a:gd name="T28" fmla="*/ 115 w 128"/>
                  <a:gd name="T29" fmla="*/ 22 h 119"/>
                  <a:gd name="T30" fmla="*/ 126 w 128"/>
                  <a:gd name="T31" fmla="*/ 42 h 119"/>
                  <a:gd name="T32" fmla="*/ 128 w 128"/>
                  <a:gd name="T33" fmla="*/ 64 h 119"/>
                  <a:gd name="T34" fmla="*/ 124 w 128"/>
                  <a:gd name="T35" fmla="*/ 81 h 119"/>
                  <a:gd name="T36" fmla="*/ 122 w 128"/>
                  <a:gd name="T37" fmla="*/ 86 h 119"/>
                  <a:gd name="T38" fmla="*/ 111 w 128"/>
                  <a:gd name="T39" fmla="*/ 100 h 119"/>
                  <a:gd name="T40" fmla="*/ 97 w 128"/>
                  <a:gd name="T41" fmla="*/ 112 h 119"/>
                  <a:gd name="T42" fmla="*/ 89 w 128"/>
                  <a:gd name="T43" fmla="*/ 115 h 119"/>
                  <a:gd name="T44" fmla="*/ 73 w 128"/>
                  <a:gd name="T45" fmla="*/ 119 h 119"/>
                  <a:gd name="T46" fmla="*/ 56 w 128"/>
                  <a:gd name="T47" fmla="*/ 119 h 119"/>
                  <a:gd name="T48" fmla="*/ 39 w 128"/>
                  <a:gd name="T49" fmla="*/ 115 h 119"/>
                  <a:gd name="T50" fmla="*/ 31 w 128"/>
                  <a:gd name="T51" fmla="*/ 112 h 119"/>
                  <a:gd name="T52" fmla="*/ 80 w 128"/>
                  <a:gd name="T53" fmla="*/ 87 h 119"/>
                  <a:gd name="T54" fmla="*/ 91 w 128"/>
                  <a:gd name="T55" fmla="*/ 76 h 119"/>
                  <a:gd name="T56" fmla="*/ 94 w 128"/>
                  <a:gd name="T57" fmla="*/ 68 h 119"/>
                  <a:gd name="T58" fmla="*/ 94 w 128"/>
                  <a:gd name="T59" fmla="*/ 50 h 119"/>
                  <a:gd name="T60" fmla="*/ 91 w 128"/>
                  <a:gd name="T61" fmla="*/ 42 h 119"/>
                  <a:gd name="T62" fmla="*/ 80 w 128"/>
                  <a:gd name="T63" fmla="*/ 30 h 119"/>
                  <a:gd name="T64" fmla="*/ 73 w 128"/>
                  <a:gd name="T65" fmla="*/ 27 h 119"/>
                  <a:gd name="T66" fmla="*/ 57 w 128"/>
                  <a:gd name="T67" fmla="*/ 27 h 119"/>
                  <a:gd name="T68" fmla="*/ 48 w 128"/>
                  <a:gd name="T69" fmla="*/ 30 h 119"/>
                  <a:gd name="T70" fmla="*/ 37 w 128"/>
                  <a:gd name="T71" fmla="*/ 42 h 119"/>
                  <a:gd name="T72" fmla="*/ 34 w 128"/>
                  <a:gd name="T73" fmla="*/ 50 h 119"/>
                  <a:gd name="T74" fmla="*/ 34 w 128"/>
                  <a:gd name="T75" fmla="*/ 68 h 119"/>
                  <a:gd name="T76" fmla="*/ 37 w 128"/>
                  <a:gd name="T77" fmla="*/ 76 h 119"/>
                  <a:gd name="T78" fmla="*/ 48 w 128"/>
                  <a:gd name="T79" fmla="*/ 87 h 119"/>
                  <a:gd name="T80" fmla="*/ 57 w 128"/>
                  <a:gd name="T81" fmla="*/ 90 h 119"/>
                  <a:gd name="T82" fmla="*/ 73 w 128"/>
                  <a:gd name="T83" fmla="*/ 90 h 119"/>
                  <a:gd name="T84" fmla="*/ 80 w 128"/>
                  <a:gd name="T85" fmla="*/ 87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28" h="119">
                    <a:moveTo>
                      <a:pt x="31" y="112"/>
                    </a:moveTo>
                    <a:lnTo>
                      <a:pt x="31" y="112"/>
                    </a:lnTo>
                    <a:lnTo>
                      <a:pt x="26" y="109"/>
                    </a:lnTo>
                    <a:lnTo>
                      <a:pt x="21" y="105"/>
                    </a:lnTo>
                    <a:lnTo>
                      <a:pt x="13" y="96"/>
                    </a:lnTo>
                    <a:lnTo>
                      <a:pt x="7" y="87"/>
                    </a:lnTo>
                    <a:lnTo>
                      <a:pt x="3" y="76"/>
                    </a:lnTo>
                    <a:lnTo>
                      <a:pt x="0" y="65"/>
                    </a:lnTo>
                    <a:lnTo>
                      <a:pt x="0" y="54"/>
                    </a:lnTo>
                    <a:lnTo>
                      <a:pt x="2" y="43"/>
                    </a:lnTo>
                    <a:lnTo>
                      <a:pt x="4" y="37"/>
                    </a:lnTo>
                    <a:lnTo>
                      <a:pt x="7" y="32"/>
                    </a:lnTo>
                    <a:lnTo>
                      <a:pt x="7" y="32"/>
                    </a:lnTo>
                    <a:lnTo>
                      <a:pt x="11" y="24"/>
                    </a:lnTo>
                    <a:lnTo>
                      <a:pt x="17" y="18"/>
                    </a:lnTo>
                    <a:lnTo>
                      <a:pt x="24" y="12"/>
                    </a:lnTo>
                    <a:lnTo>
                      <a:pt x="31" y="7"/>
                    </a:lnTo>
                    <a:lnTo>
                      <a:pt x="31" y="7"/>
                    </a:lnTo>
                    <a:lnTo>
                      <a:pt x="39" y="4"/>
                    </a:lnTo>
                    <a:lnTo>
                      <a:pt x="47" y="2"/>
                    </a:lnTo>
                    <a:lnTo>
                      <a:pt x="56" y="0"/>
                    </a:lnTo>
                    <a:lnTo>
                      <a:pt x="65" y="0"/>
                    </a:lnTo>
                    <a:lnTo>
                      <a:pt x="73" y="0"/>
                    </a:lnTo>
                    <a:lnTo>
                      <a:pt x="81" y="2"/>
                    </a:lnTo>
                    <a:lnTo>
                      <a:pt x="89" y="4"/>
                    </a:lnTo>
                    <a:lnTo>
                      <a:pt x="97" y="7"/>
                    </a:lnTo>
                    <a:lnTo>
                      <a:pt x="97" y="7"/>
                    </a:lnTo>
                    <a:lnTo>
                      <a:pt x="102" y="10"/>
                    </a:lnTo>
                    <a:lnTo>
                      <a:pt x="107" y="14"/>
                    </a:lnTo>
                    <a:lnTo>
                      <a:pt x="115" y="22"/>
                    </a:lnTo>
                    <a:lnTo>
                      <a:pt x="121" y="31"/>
                    </a:lnTo>
                    <a:lnTo>
                      <a:pt x="126" y="42"/>
                    </a:lnTo>
                    <a:lnTo>
                      <a:pt x="128" y="53"/>
                    </a:lnTo>
                    <a:lnTo>
                      <a:pt x="128" y="64"/>
                    </a:lnTo>
                    <a:lnTo>
                      <a:pt x="126" y="75"/>
                    </a:lnTo>
                    <a:lnTo>
                      <a:pt x="124" y="81"/>
                    </a:lnTo>
                    <a:lnTo>
                      <a:pt x="122" y="86"/>
                    </a:lnTo>
                    <a:lnTo>
                      <a:pt x="122" y="86"/>
                    </a:lnTo>
                    <a:lnTo>
                      <a:pt x="117" y="94"/>
                    </a:lnTo>
                    <a:lnTo>
                      <a:pt x="111" y="100"/>
                    </a:lnTo>
                    <a:lnTo>
                      <a:pt x="105" y="107"/>
                    </a:lnTo>
                    <a:lnTo>
                      <a:pt x="97" y="112"/>
                    </a:lnTo>
                    <a:lnTo>
                      <a:pt x="97" y="112"/>
                    </a:lnTo>
                    <a:lnTo>
                      <a:pt x="89" y="115"/>
                    </a:lnTo>
                    <a:lnTo>
                      <a:pt x="81" y="117"/>
                    </a:lnTo>
                    <a:lnTo>
                      <a:pt x="73" y="119"/>
                    </a:lnTo>
                    <a:lnTo>
                      <a:pt x="65" y="119"/>
                    </a:lnTo>
                    <a:lnTo>
                      <a:pt x="56" y="119"/>
                    </a:lnTo>
                    <a:lnTo>
                      <a:pt x="47" y="117"/>
                    </a:lnTo>
                    <a:lnTo>
                      <a:pt x="39" y="115"/>
                    </a:lnTo>
                    <a:lnTo>
                      <a:pt x="31" y="112"/>
                    </a:lnTo>
                    <a:lnTo>
                      <a:pt x="31" y="112"/>
                    </a:lnTo>
                    <a:close/>
                    <a:moveTo>
                      <a:pt x="80" y="87"/>
                    </a:moveTo>
                    <a:lnTo>
                      <a:pt x="80" y="87"/>
                    </a:lnTo>
                    <a:lnTo>
                      <a:pt x="87" y="82"/>
                    </a:lnTo>
                    <a:lnTo>
                      <a:pt x="91" y="76"/>
                    </a:lnTo>
                    <a:lnTo>
                      <a:pt x="91" y="76"/>
                    </a:lnTo>
                    <a:lnTo>
                      <a:pt x="94" y="68"/>
                    </a:lnTo>
                    <a:lnTo>
                      <a:pt x="96" y="59"/>
                    </a:lnTo>
                    <a:lnTo>
                      <a:pt x="94" y="50"/>
                    </a:lnTo>
                    <a:lnTo>
                      <a:pt x="91" y="42"/>
                    </a:lnTo>
                    <a:lnTo>
                      <a:pt x="91" y="42"/>
                    </a:lnTo>
                    <a:lnTo>
                      <a:pt x="87" y="35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73" y="27"/>
                    </a:lnTo>
                    <a:lnTo>
                      <a:pt x="65" y="26"/>
                    </a:lnTo>
                    <a:lnTo>
                      <a:pt x="57" y="27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2" y="35"/>
                    </a:lnTo>
                    <a:lnTo>
                      <a:pt x="37" y="42"/>
                    </a:lnTo>
                    <a:lnTo>
                      <a:pt x="37" y="42"/>
                    </a:lnTo>
                    <a:lnTo>
                      <a:pt x="34" y="50"/>
                    </a:lnTo>
                    <a:lnTo>
                      <a:pt x="33" y="59"/>
                    </a:lnTo>
                    <a:lnTo>
                      <a:pt x="34" y="68"/>
                    </a:lnTo>
                    <a:lnTo>
                      <a:pt x="37" y="76"/>
                    </a:lnTo>
                    <a:lnTo>
                      <a:pt x="37" y="76"/>
                    </a:lnTo>
                    <a:lnTo>
                      <a:pt x="42" y="82"/>
                    </a:lnTo>
                    <a:lnTo>
                      <a:pt x="48" y="87"/>
                    </a:lnTo>
                    <a:lnTo>
                      <a:pt x="48" y="87"/>
                    </a:lnTo>
                    <a:lnTo>
                      <a:pt x="57" y="90"/>
                    </a:lnTo>
                    <a:lnTo>
                      <a:pt x="65" y="91"/>
                    </a:lnTo>
                    <a:lnTo>
                      <a:pt x="73" y="90"/>
                    </a:lnTo>
                    <a:lnTo>
                      <a:pt x="80" y="87"/>
                    </a:lnTo>
                    <a:lnTo>
                      <a:pt x="80" y="8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14">
                <a:extLst>
                  <a:ext uri="{FF2B5EF4-FFF2-40B4-BE49-F238E27FC236}">
                    <a16:creationId xmlns:a16="http://schemas.microsoft.com/office/drawing/2014/main" id="{97C6BA40-1E20-4380-B507-40454EEDA42F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1374441" y="1379538"/>
                <a:ext cx="82550" cy="90487"/>
              </a:xfrm>
              <a:custGeom>
                <a:avLst/>
                <a:gdLst>
                  <a:gd name="T0" fmla="*/ 99 w 104"/>
                  <a:gd name="T1" fmla="*/ 64 h 115"/>
                  <a:gd name="T2" fmla="*/ 103 w 104"/>
                  <a:gd name="T3" fmla="*/ 72 h 115"/>
                  <a:gd name="T4" fmla="*/ 104 w 104"/>
                  <a:gd name="T5" fmla="*/ 81 h 115"/>
                  <a:gd name="T6" fmla="*/ 104 w 104"/>
                  <a:gd name="T7" fmla="*/ 88 h 115"/>
                  <a:gd name="T8" fmla="*/ 98 w 104"/>
                  <a:gd name="T9" fmla="*/ 101 h 115"/>
                  <a:gd name="T10" fmla="*/ 92 w 104"/>
                  <a:gd name="T11" fmla="*/ 106 h 115"/>
                  <a:gd name="T12" fmla="*/ 78 w 104"/>
                  <a:gd name="T13" fmla="*/ 113 h 115"/>
                  <a:gd name="T14" fmla="*/ 59 w 104"/>
                  <a:gd name="T15" fmla="*/ 115 h 115"/>
                  <a:gd name="T16" fmla="*/ 0 w 104"/>
                  <a:gd name="T17" fmla="*/ 0 h 115"/>
                  <a:gd name="T18" fmla="*/ 56 w 104"/>
                  <a:gd name="T19" fmla="*/ 0 h 115"/>
                  <a:gd name="T20" fmla="*/ 72 w 104"/>
                  <a:gd name="T21" fmla="*/ 2 h 115"/>
                  <a:gd name="T22" fmla="*/ 88 w 104"/>
                  <a:gd name="T23" fmla="*/ 8 h 115"/>
                  <a:gd name="T24" fmla="*/ 93 w 104"/>
                  <a:gd name="T25" fmla="*/ 12 h 115"/>
                  <a:gd name="T26" fmla="*/ 99 w 104"/>
                  <a:gd name="T27" fmla="*/ 23 h 115"/>
                  <a:gd name="T28" fmla="*/ 99 w 104"/>
                  <a:gd name="T29" fmla="*/ 30 h 115"/>
                  <a:gd name="T30" fmla="*/ 95 w 104"/>
                  <a:gd name="T31" fmla="*/ 45 h 115"/>
                  <a:gd name="T32" fmla="*/ 90 w 104"/>
                  <a:gd name="T33" fmla="*/ 50 h 115"/>
                  <a:gd name="T34" fmla="*/ 84 w 104"/>
                  <a:gd name="T35" fmla="*/ 54 h 115"/>
                  <a:gd name="T36" fmla="*/ 92 w 104"/>
                  <a:gd name="T37" fmla="*/ 58 h 115"/>
                  <a:gd name="T38" fmla="*/ 99 w 104"/>
                  <a:gd name="T39" fmla="*/ 64 h 115"/>
                  <a:gd name="T40" fmla="*/ 31 w 104"/>
                  <a:gd name="T41" fmla="*/ 46 h 115"/>
                  <a:gd name="T42" fmla="*/ 53 w 104"/>
                  <a:gd name="T43" fmla="*/ 46 h 115"/>
                  <a:gd name="T44" fmla="*/ 63 w 104"/>
                  <a:gd name="T45" fmla="*/ 43 h 115"/>
                  <a:gd name="T46" fmla="*/ 67 w 104"/>
                  <a:gd name="T47" fmla="*/ 34 h 115"/>
                  <a:gd name="T48" fmla="*/ 66 w 104"/>
                  <a:gd name="T49" fmla="*/ 29 h 115"/>
                  <a:gd name="T50" fmla="*/ 59 w 104"/>
                  <a:gd name="T51" fmla="*/ 24 h 115"/>
                  <a:gd name="T52" fmla="*/ 31 w 104"/>
                  <a:gd name="T53" fmla="*/ 23 h 115"/>
                  <a:gd name="T54" fmla="*/ 72 w 104"/>
                  <a:gd name="T55" fmla="*/ 79 h 115"/>
                  <a:gd name="T56" fmla="*/ 71 w 104"/>
                  <a:gd name="T57" fmla="*/ 74 h 115"/>
                  <a:gd name="T58" fmla="*/ 64 w 104"/>
                  <a:gd name="T59" fmla="*/ 68 h 115"/>
                  <a:gd name="T60" fmla="*/ 32 w 104"/>
                  <a:gd name="T61" fmla="*/ 67 h 115"/>
                  <a:gd name="T62" fmla="*/ 58 w 104"/>
                  <a:gd name="T63" fmla="*/ 91 h 115"/>
                  <a:gd name="T64" fmla="*/ 64 w 104"/>
                  <a:gd name="T65" fmla="*/ 90 h 115"/>
                  <a:gd name="T66" fmla="*/ 71 w 104"/>
                  <a:gd name="T67" fmla="*/ 84 h 115"/>
                  <a:gd name="T68" fmla="*/ 72 w 104"/>
                  <a:gd name="T69" fmla="*/ 79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4" h="115">
                    <a:moveTo>
                      <a:pt x="99" y="64"/>
                    </a:moveTo>
                    <a:lnTo>
                      <a:pt x="99" y="64"/>
                    </a:lnTo>
                    <a:lnTo>
                      <a:pt x="101" y="68"/>
                    </a:lnTo>
                    <a:lnTo>
                      <a:pt x="103" y="72"/>
                    </a:lnTo>
                    <a:lnTo>
                      <a:pt x="104" y="77"/>
                    </a:lnTo>
                    <a:lnTo>
                      <a:pt x="104" y="81"/>
                    </a:lnTo>
                    <a:lnTo>
                      <a:pt x="104" y="81"/>
                    </a:lnTo>
                    <a:lnTo>
                      <a:pt x="104" y="88"/>
                    </a:lnTo>
                    <a:lnTo>
                      <a:pt x="101" y="95"/>
                    </a:lnTo>
                    <a:lnTo>
                      <a:pt x="98" y="101"/>
                    </a:lnTo>
                    <a:lnTo>
                      <a:pt x="92" y="106"/>
                    </a:lnTo>
                    <a:lnTo>
                      <a:pt x="92" y="106"/>
                    </a:lnTo>
                    <a:lnTo>
                      <a:pt x="86" y="110"/>
                    </a:lnTo>
                    <a:lnTo>
                      <a:pt x="78" y="113"/>
                    </a:lnTo>
                    <a:lnTo>
                      <a:pt x="69" y="114"/>
                    </a:lnTo>
                    <a:lnTo>
                      <a:pt x="59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4" y="0"/>
                    </a:lnTo>
                    <a:lnTo>
                      <a:pt x="72" y="2"/>
                    </a:lnTo>
                    <a:lnTo>
                      <a:pt x="80" y="4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93" y="12"/>
                    </a:lnTo>
                    <a:lnTo>
                      <a:pt x="96" y="17"/>
                    </a:lnTo>
                    <a:lnTo>
                      <a:pt x="99" y="23"/>
                    </a:lnTo>
                    <a:lnTo>
                      <a:pt x="99" y="30"/>
                    </a:lnTo>
                    <a:lnTo>
                      <a:pt x="99" y="30"/>
                    </a:lnTo>
                    <a:lnTo>
                      <a:pt x="98" y="37"/>
                    </a:lnTo>
                    <a:lnTo>
                      <a:pt x="95" y="45"/>
                    </a:lnTo>
                    <a:lnTo>
                      <a:pt x="95" y="45"/>
                    </a:lnTo>
                    <a:lnTo>
                      <a:pt x="90" y="50"/>
                    </a:lnTo>
                    <a:lnTo>
                      <a:pt x="84" y="54"/>
                    </a:lnTo>
                    <a:lnTo>
                      <a:pt x="84" y="54"/>
                    </a:lnTo>
                    <a:lnTo>
                      <a:pt x="88" y="56"/>
                    </a:lnTo>
                    <a:lnTo>
                      <a:pt x="92" y="58"/>
                    </a:lnTo>
                    <a:lnTo>
                      <a:pt x="96" y="61"/>
                    </a:lnTo>
                    <a:lnTo>
                      <a:pt x="99" y="64"/>
                    </a:lnTo>
                    <a:lnTo>
                      <a:pt x="99" y="64"/>
                    </a:lnTo>
                    <a:close/>
                    <a:moveTo>
                      <a:pt x="31" y="46"/>
                    </a:moveTo>
                    <a:lnTo>
                      <a:pt x="53" y="46"/>
                    </a:lnTo>
                    <a:lnTo>
                      <a:pt x="53" y="46"/>
                    </a:lnTo>
                    <a:lnTo>
                      <a:pt x="59" y="45"/>
                    </a:lnTo>
                    <a:lnTo>
                      <a:pt x="63" y="43"/>
                    </a:lnTo>
                    <a:lnTo>
                      <a:pt x="66" y="39"/>
                    </a:lnTo>
                    <a:lnTo>
                      <a:pt x="67" y="34"/>
                    </a:lnTo>
                    <a:lnTo>
                      <a:pt x="67" y="34"/>
                    </a:lnTo>
                    <a:lnTo>
                      <a:pt x="66" y="29"/>
                    </a:lnTo>
                    <a:lnTo>
                      <a:pt x="63" y="26"/>
                    </a:lnTo>
                    <a:lnTo>
                      <a:pt x="59" y="24"/>
                    </a:lnTo>
                    <a:lnTo>
                      <a:pt x="53" y="23"/>
                    </a:lnTo>
                    <a:lnTo>
                      <a:pt x="31" y="23"/>
                    </a:lnTo>
                    <a:lnTo>
                      <a:pt x="31" y="46"/>
                    </a:lnTo>
                    <a:close/>
                    <a:moveTo>
                      <a:pt x="72" y="79"/>
                    </a:moveTo>
                    <a:lnTo>
                      <a:pt x="72" y="79"/>
                    </a:lnTo>
                    <a:lnTo>
                      <a:pt x="71" y="74"/>
                    </a:lnTo>
                    <a:lnTo>
                      <a:pt x="68" y="70"/>
                    </a:lnTo>
                    <a:lnTo>
                      <a:pt x="64" y="68"/>
                    </a:lnTo>
                    <a:lnTo>
                      <a:pt x="58" y="67"/>
                    </a:lnTo>
                    <a:lnTo>
                      <a:pt x="32" y="67"/>
                    </a:lnTo>
                    <a:lnTo>
                      <a:pt x="32" y="91"/>
                    </a:lnTo>
                    <a:lnTo>
                      <a:pt x="58" y="91"/>
                    </a:lnTo>
                    <a:lnTo>
                      <a:pt x="58" y="91"/>
                    </a:lnTo>
                    <a:lnTo>
                      <a:pt x="64" y="90"/>
                    </a:lnTo>
                    <a:lnTo>
                      <a:pt x="68" y="88"/>
                    </a:lnTo>
                    <a:lnTo>
                      <a:pt x="71" y="84"/>
                    </a:lnTo>
                    <a:lnTo>
                      <a:pt x="72" y="79"/>
                    </a:lnTo>
                    <a:lnTo>
                      <a:pt x="72" y="7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15">
                <a:extLst>
                  <a:ext uri="{FF2B5EF4-FFF2-40B4-BE49-F238E27FC236}">
                    <a16:creationId xmlns:a16="http://schemas.microsoft.com/office/drawing/2014/main" id="{804664C0-0A19-43C7-8E55-56C171425D6D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1474454" y="1379538"/>
                <a:ext cx="115888" cy="90487"/>
              </a:xfrm>
              <a:custGeom>
                <a:avLst/>
                <a:gdLst>
                  <a:gd name="T0" fmla="*/ 91 w 147"/>
                  <a:gd name="T1" fmla="*/ 46 h 115"/>
                  <a:gd name="T2" fmla="*/ 91 w 147"/>
                  <a:gd name="T3" fmla="*/ 46 h 115"/>
                  <a:gd name="T4" fmla="*/ 97 w 147"/>
                  <a:gd name="T5" fmla="*/ 51 h 115"/>
                  <a:gd name="T6" fmla="*/ 100 w 147"/>
                  <a:gd name="T7" fmla="*/ 58 h 115"/>
                  <a:gd name="T8" fmla="*/ 103 w 147"/>
                  <a:gd name="T9" fmla="*/ 66 h 115"/>
                  <a:gd name="T10" fmla="*/ 103 w 147"/>
                  <a:gd name="T11" fmla="*/ 73 h 115"/>
                  <a:gd name="T12" fmla="*/ 103 w 147"/>
                  <a:gd name="T13" fmla="*/ 73 h 115"/>
                  <a:gd name="T14" fmla="*/ 102 w 147"/>
                  <a:gd name="T15" fmla="*/ 82 h 115"/>
                  <a:gd name="T16" fmla="*/ 100 w 147"/>
                  <a:gd name="T17" fmla="*/ 90 h 115"/>
                  <a:gd name="T18" fmla="*/ 96 w 147"/>
                  <a:gd name="T19" fmla="*/ 97 h 115"/>
                  <a:gd name="T20" fmla="*/ 90 w 147"/>
                  <a:gd name="T21" fmla="*/ 104 h 115"/>
                  <a:gd name="T22" fmla="*/ 90 w 147"/>
                  <a:gd name="T23" fmla="*/ 104 h 115"/>
                  <a:gd name="T24" fmla="*/ 82 w 147"/>
                  <a:gd name="T25" fmla="*/ 109 h 115"/>
                  <a:gd name="T26" fmla="*/ 73 w 147"/>
                  <a:gd name="T27" fmla="*/ 113 h 115"/>
                  <a:gd name="T28" fmla="*/ 64 w 147"/>
                  <a:gd name="T29" fmla="*/ 115 h 115"/>
                  <a:gd name="T30" fmla="*/ 55 w 147"/>
                  <a:gd name="T31" fmla="*/ 115 h 115"/>
                  <a:gd name="T32" fmla="*/ 0 w 147"/>
                  <a:gd name="T33" fmla="*/ 115 h 115"/>
                  <a:gd name="T34" fmla="*/ 0 w 147"/>
                  <a:gd name="T35" fmla="*/ 0 h 115"/>
                  <a:gd name="T36" fmla="*/ 32 w 147"/>
                  <a:gd name="T37" fmla="*/ 0 h 115"/>
                  <a:gd name="T38" fmla="*/ 32 w 147"/>
                  <a:gd name="T39" fmla="*/ 36 h 115"/>
                  <a:gd name="T40" fmla="*/ 59 w 147"/>
                  <a:gd name="T41" fmla="*/ 36 h 115"/>
                  <a:gd name="T42" fmla="*/ 59 w 147"/>
                  <a:gd name="T43" fmla="*/ 36 h 115"/>
                  <a:gd name="T44" fmla="*/ 68 w 147"/>
                  <a:gd name="T45" fmla="*/ 37 h 115"/>
                  <a:gd name="T46" fmla="*/ 76 w 147"/>
                  <a:gd name="T47" fmla="*/ 38 h 115"/>
                  <a:gd name="T48" fmla="*/ 84 w 147"/>
                  <a:gd name="T49" fmla="*/ 41 h 115"/>
                  <a:gd name="T50" fmla="*/ 91 w 147"/>
                  <a:gd name="T51" fmla="*/ 46 h 115"/>
                  <a:gd name="T52" fmla="*/ 91 w 147"/>
                  <a:gd name="T53" fmla="*/ 46 h 115"/>
                  <a:gd name="T54" fmla="*/ 66 w 147"/>
                  <a:gd name="T55" fmla="*/ 86 h 115"/>
                  <a:gd name="T56" fmla="*/ 66 w 147"/>
                  <a:gd name="T57" fmla="*/ 86 h 115"/>
                  <a:gd name="T58" fmla="*/ 68 w 147"/>
                  <a:gd name="T59" fmla="*/ 84 h 115"/>
                  <a:gd name="T60" fmla="*/ 69 w 147"/>
                  <a:gd name="T61" fmla="*/ 81 h 115"/>
                  <a:gd name="T62" fmla="*/ 70 w 147"/>
                  <a:gd name="T63" fmla="*/ 77 h 115"/>
                  <a:gd name="T64" fmla="*/ 71 w 147"/>
                  <a:gd name="T65" fmla="*/ 74 h 115"/>
                  <a:gd name="T66" fmla="*/ 71 w 147"/>
                  <a:gd name="T67" fmla="*/ 74 h 115"/>
                  <a:gd name="T68" fmla="*/ 70 w 147"/>
                  <a:gd name="T69" fmla="*/ 71 h 115"/>
                  <a:gd name="T70" fmla="*/ 70 w 147"/>
                  <a:gd name="T71" fmla="*/ 68 h 115"/>
                  <a:gd name="T72" fmla="*/ 68 w 147"/>
                  <a:gd name="T73" fmla="*/ 65 h 115"/>
                  <a:gd name="T74" fmla="*/ 66 w 147"/>
                  <a:gd name="T75" fmla="*/ 63 h 115"/>
                  <a:gd name="T76" fmla="*/ 64 w 147"/>
                  <a:gd name="T77" fmla="*/ 61 h 115"/>
                  <a:gd name="T78" fmla="*/ 61 w 147"/>
                  <a:gd name="T79" fmla="*/ 60 h 115"/>
                  <a:gd name="T80" fmla="*/ 53 w 147"/>
                  <a:gd name="T81" fmla="*/ 59 h 115"/>
                  <a:gd name="T82" fmla="*/ 32 w 147"/>
                  <a:gd name="T83" fmla="*/ 59 h 115"/>
                  <a:gd name="T84" fmla="*/ 32 w 147"/>
                  <a:gd name="T85" fmla="*/ 91 h 115"/>
                  <a:gd name="T86" fmla="*/ 53 w 147"/>
                  <a:gd name="T87" fmla="*/ 91 h 115"/>
                  <a:gd name="T88" fmla="*/ 53 w 147"/>
                  <a:gd name="T89" fmla="*/ 91 h 115"/>
                  <a:gd name="T90" fmla="*/ 56 w 147"/>
                  <a:gd name="T91" fmla="*/ 91 h 115"/>
                  <a:gd name="T92" fmla="*/ 60 w 147"/>
                  <a:gd name="T93" fmla="*/ 90 h 115"/>
                  <a:gd name="T94" fmla="*/ 63 w 147"/>
                  <a:gd name="T95" fmla="*/ 88 h 115"/>
                  <a:gd name="T96" fmla="*/ 66 w 147"/>
                  <a:gd name="T97" fmla="*/ 86 h 115"/>
                  <a:gd name="T98" fmla="*/ 66 w 147"/>
                  <a:gd name="T99" fmla="*/ 86 h 115"/>
                  <a:gd name="T100" fmla="*/ 115 w 147"/>
                  <a:gd name="T101" fmla="*/ 0 h 115"/>
                  <a:gd name="T102" fmla="*/ 147 w 147"/>
                  <a:gd name="T103" fmla="*/ 0 h 115"/>
                  <a:gd name="T104" fmla="*/ 147 w 147"/>
                  <a:gd name="T105" fmla="*/ 115 h 115"/>
                  <a:gd name="T106" fmla="*/ 115 w 147"/>
                  <a:gd name="T107" fmla="*/ 115 h 115"/>
                  <a:gd name="T108" fmla="*/ 115 w 147"/>
                  <a:gd name="T109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47" h="115">
                    <a:moveTo>
                      <a:pt x="91" y="46"/>
                    </a:moveTo>
                    <a:lnTo>
                      <a:pt x="91" y="46"/>
                    </a:lnTo>
                    <a:lnTo>
                      <a:pt x="97" y="51"/>
                    </a:lnTo>
                    <a:lnTo>
                      <a:pt x="100" y="58"/>
                    </a:lnTo>
                    <a:lnTo>
                      <a:pt x="103" y="66"/>
                    </a:lnTo>
                    <a:lnTo>
                      <a:pt x="103" y="73"/>
                    </a:lnTo>
                    <a:lnTo>
                      <a:pt x="103" y="73"/>
                    </a:lnTo>
                    <a:lnTo>
                      <a:pt x="102" y="82"/>
                    </a:lnTo>
                    <a:lnTo>
                      <a:pt x="100" y="90"/>
                    </a:lnTo>
                    <a:lnTo>
                      <a:pt x="96" y="97"/>
                    </a:lnTo>
                    <a:lnTo>
                      <a:pt x="90" y="104"/>
                    </a:lnTo>
                    <a:lnTo>
                      <a:pt x="90" y="104"/>
                    </a:lnTo>
                    <a:lnTo>
                      <a:pt x="82" y="109"/>
                    </a:lnTo>
                    <a:lnTo>
                      <a:pt x="73" y="113"/>
                    </a:lnTo>
                    <a:lnTo>
                      <a:pt x="64" y="115"/>
                    </a:lnTo>
                    <a:lnTo>
                      <a:pt x="55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2" y="0"/>
                    </a:lnTo>
                    <a:lnTo>
                      <a:pt x="32" y="36"/>
                    </a:lnTo>
                    <a:lnTo>
                      <a:pt x="59" y="36"/>
                    </a:lnTo>
                    <a:lnTo>
                      <a:pt x="59" y="36"/>
                    </a:lnTo>
                    <a:lnTo>
                      <a:pt x="68" y="37"/>
                    </a:lnTo>
                    <a:lnTo>
                      <a:pt x="76" y="38"/>
                    </a:lnTo>
                    <a:lnTo>
                      <a:pt x="84" y="41"/>
                    </a:lnTo>
                    <a:lnTo>
                      <a:pt x="91" y="46"/>
                    </a:lnTo>
                    <a:lnTo>
                      <a:pt x="91" y="46"/>
                    </a:lnTo>
                    <a:close/>
                    <a:moveTo>
                      <a:pt x="66" y="86"/>
                    </a:moveTo>
                    <a:lnTo>
                      <a:pt x="66" y="86"/>
                    </a:lnTo>
                    <a:lnTo>
                      <a:pt x="68" y="84"/>
                    </a:lnTo>
                    <a:lnTo>
                      <a:pt x="69" y="81"/>
                    </a:lnTo>
                    <a:lnTo>
                      <a:pt x="70" y="77"/>
                    </a:lnTo>
                    <a:lnTo>
                      <a:pt x="71" y="74"/>
                    </a:lnTo>
                    <a:lnTo>
                      <a:pt x="71" y="74"/>
                    </a:lnTo>
                    <a:lnTo>
                      <a:pt x="70" y="71"/>
                    </a:lnTo>
                    <a:lnTo>
                      <a:pt x="70" y="68"/>
                    </a:lnTo>
                    <a:lnTo>
                      <a:pt x="68" y="65"/>
                    </a:lnTo>
                    <a:lnTo>
                      <a:pt x="66" y="63"/>
                    </a:lnTo>
                    <a:lnTo>
                      <a:pt x="64" y="61"/>
                    </a:lnTo>
                    <a:lnTo>
                      <a:pt x="61" y="60"/>
                    </a:lnTo>
                    <a:lnTo>
                      <a:pt x="53" y="59"/>
                    </a:lnTo>
                    <a:lnTo>
                      <a:pt x="32" y="59"/>
                    </a:lnTo>
                    <a:lnTo>
                      <a:pt x="32" y="91"/>
                    </a:lnTo>
                    <a:lnTo>
                      <a:pt x="53" y="91"/>
                    </a:lnTo>
                    <a:lnTo>
                      <a:pt x="53" y="91"/>
                    </a:lnTo>
                    <a:lnTo>
                      <a:pt x="56" y="91"/>
                    </a:lnTo>
                    <a:lnTo>
                      <a:pt x="60" y="90"/>
                    </a:lnTo>
                    <a:lnTo>
                      <a:pt x="63" y="88"/>
                    </a:lnTo>
                    <a:lnTo>
                      <a:pt x="66" y="86"/>
                    </a:lnTo>
                    <a:lnTo>
                      <a:pt x="66" y="86"/>
                    </a:lnTo>
                    <a:close/>
                    <a:moveTo>
                      <a:pt x="115" y="0"/>
                    </a:moveTo>
                    <a:lnTo>
                      <a:pt x="147" y="0"/>
                    </a:lnTo>
                    <a:lnTo>
                      <a:pt x="147" y="115"/>
                    </a:lnTo>
                    <a:lnTo>
                      <a:pt x="115" y="115"/>
                    </a:lnTo>
                    <a:lnTo>
                      <a:pt x="11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16">
                <a:extLst>
                  <a:ext uri="{FF2B5EF4-FFF2-40B4-BE49-F238E27FC236}">
                    <a16:creationId xmlns:a16="http://schemas.microsoft.com/office/drawing/2014/main" id="{8CBDD971-F266-4305-9C04-5146598D617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344154" y="1535113"/>
                <a:ext cx="85725" cy="90487"/>
              </a:xfrm>
              <a:custGeom>
                <a:avLst/>
                <a:gdLst>
                  <a:gd name="T0" fmla="*/ 109 w 109"/>
                  <a:gd name="T1" fmla="*/ 0 h 115"/>
                  <a:gd name="T2" fmla="*/ 109 w 109"/>
                  <a:gd name="T3" fmla="*/ 115 h 115"/>
                  <a:gd name="T4" fmla="*/ 77 w 109"/>
                  <a:gd name="T5" fmla="*/ 115 h 115"/>
                  <a:gd name="T6" fmla="*/ 77 w 109"/>
                  <a:gd name="T7" fmla="*/ 71 h 115"/>
                  <a:gd name="T8" fmla="*/ 32 w 109"/>
                  <a:gd name="T9" fmla="*/ 71 h 115"/>
                  <a:gd name="T10" fmla="*/ 32 w 109"/>
                  <a:gd name="T11" fmla="*/ 115 h 115"/>
                  <a:gd name="T12" fmla="*/ 0 w 109"/>
                  <a:gd name="T13" fmla="*/ 115 h 115"/>
                  <a:gd name="T14" fmla="*/ 0 w 109"/>
                  <a:gd name="T15" fmla="*/ 0 h 115"/>
                  <a:gd name="T16" fmla="*/ 32 w 109"/>
                  <a:gd name="T17" fmla="*/ 0 h 115"/>
                  <a:gd name="T18" fmla="*/ 32 w 109"/>
                  <a:gd name="T19" fmla="*/ 43 h 115"/>
                  <a:gd name="T20" fmla="*/ 77 w 109"/>
                  <a:gd name="T21" fmla="*/ 43 h 115"/>
                  <a:gd name="T22" fmla="*/ 77 w 109"/>
                  <a:gd name="T23" fmla="*/ 0 h 115"/>
                  <a:gd name="T24" fmla="*/ 109 w 109"/>
                  <a:gd name="T25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9" h="115">
                    <a:moveTo>
                      <a:pt x="109" y="0"/>
                    </a:moveTo>
                    <a:lnTo>
                      <a:pt x="109" y="115"/>
                    </a:lnTo>
                    <a:lnTo>
                      <a:pt x="77" y="115"/>
                    </a:lnTo>
                    <a:lnTo>
                      <a:pt x="77" y="71"/>
                    </a:lnTo>
                    <a:lnTo>
                      <a:pt x="32" y="71"/>
                    </a:lnTo>
                    <a:lnTo>
                      <a:pt x="3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2" y="0"/>
                    </a:lnTo>
                    <a:lnTo>
                      <a:pt x="32" y="43"/>
                    </a:lnTo>
                    <a:lnTo>
                      <a:pt x="77" y="43"/>
                    </a:lnTo>
                    <a:lnTo>
                      <a:pt x="77" y="0"/>
                    </a:lnTo>
                    <a:lnTo>
                      <a:pt x="109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17">
                <a:extLst>
                  <a:ext uri="{FF2B5EF4-FFF2-40B4-BE49-F238E27FC236}">
                    <a16:creationId xmlns:a16="http://schemas.microsoft.com/office/drawing/2014/main" id="{F9E45E7D-2479-4142-AB3D-FFAE6200E0DA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447341" y="1533525"/>
                <a:ext cx="101600" cy="95250"/>
              </a:xfrm>
              <a:custGeom>
                <a:avLst/>
                <a:gdLst>
                  <a:gd name="T0" fmla="*/ 31 w 128"/>
                  <a:gd name="T1" fmla="*/ 112 h 120"/>
                  <a:gd name="T2" fmla="*/ 21 w 128"/>
                  <a:gd name="T3" fmla="*/ 105 h 120"/>
                  <a:gd name="T4" fmla="*/ 6 w 128"/>
                  <a:gd name="T5" fmla="*/ 88 h 120"/>
                  <a:gd name="T6" fmla="*/ 0 w 128"/>
                  <a:gd name="T7" fmla="*/ 67 h 120"/>
                  <a:gd name="T8" fmla="*/ 2 w 128"/>
                  <a:gd name="T9" fmla="*/ 43 h 120"/>
                  <a:gd name="T10" fmla="*/ 6 w 128"/>
                  <a:gd name="T11" fmla="*/ 32 h 120"/>
                  <a:gd name="T12" fmla="*/ 11 w 128"/>
                  <a:gd name="T13" fmla="*/ 25 h 120"/>
                  <a:gd name="T14" fmla="*/ 23 w 128"/>
                  <a:gd name="T15" fmla="*/ 12 h 120"/>
                  <a:gd name="T16" fmla="*/ 31 w 128"/>
                  <a:gd name="T17" fmla="*/ 8 h 120"/>
                  <a:gd name="T18" fmla="*/ 46 w 128"/>
                  <a:gd name="T19" fmla="*/ 2 h 120"/>
                  <a:gd name="T20" fmla="*/ 64 w 128"/>
                  <a:gd name="T21" fmla="*/ 0 h 120"/>
                  <a:gd name="T22" fmla="*/ 81 w 128"/>
                  <a:gd name="T23" fmla="*/ 2 h 120"/>
                  <a:gd name="T24" fmla="*/ 97 w 128"/>
                  <a:gd name="T25" fmla="*/ 8 h 120"/>
                  <a:gd name="T26" fmla="*/ 102 w 128"/>
                  <a:gd name="T27" fmla="*/ 11 h 120"/>
                  <a:gd name="T28" fmla="*/ 115 w 128"/>
                  <a:gd name="T29" fmla="*/ 22 h 120"/>
                  <a:gd name="T30" fmla="*/ 125 w 128"/>
                  <a:gd name="T31" fmla="*/ 42 h 120"/>
                  <a:gd name="T32" fmla="*/ 128 w 128"/>
                  <a:gd name="T33" fmla="*/ 65 h 120"/>
                  <a:gd name="T34" fmla="*/ 124 w 128"/>
                  <a:gd name="T35" fmla="*/ 82 h 120"/>
                  <a:gd name="T36" fmla="*/ 121 w 128"/>
                  <a:gd name="T37" fmla="*/ 87 h 120"/>
                  <a:gd name="T38" fmla="*/ 111 w 128"/>
                  <a:gd name="T39" fmla="*/ 101 h 120"/>
                  <a:gd name="T40" fmla="*/ 97 w 128"/>
                  <a:gd name="T41" fmla="*/ 112 h 120"/>
                  <a:gd name="T42" fmla="*/ 89 w 128"/>
                  <a:gd name="T43" fmla="*/ 115 h 120"/>
                  <a:gd name="T44" fmla="*/ 72 w 128"/>
                  <a:gd name="T45" fmla="*/ 119 h 120"/>
                  <a:gd name="T46" fmla="*/ 55 w 128"/>
                  <a:gd name="T47" fmla="*/ 119 h 120"/>
                  <a:gd name="T48" fmla="*/ 38 w 128"/>
                  <a:gd name="T49" fmla="*/ 115 h 120"/>
                  <a:gd name="T50" fmla="*/ 31 w 128"/>
                  <a:gd name="T51" fmla="*/ 112 h 120"/>
                  <a:gd name="T52" fmla="*/ 80 w 128"/>
                  <a:gd name="T53" fmla="*/ 89 h 120"/>
                  <a:gd name="T54" fmla="*/ 91 w 128"/>
                  <a:gd name="T55" fmla="*/ 77 h 120"/>
                  <a:gd name="T56" fmla="*/ 94 w 128"/>
                  <a:gd name="T57" fmla="*/ 69 h 120"/>
                  <a:gd name="T58" fmla="*/ 94 w 128"/>
                  <a:gd name="T59" fmla="*/ 52 h 120"/>
                  <a:gd name="T60" fmla="*/ 91 w 128"/>
                  <a:gd name="T61" fmla="*/ 42 h 120"/>
                  <a:gd name="T62" fmla="*/ 80 w 128"/>
                  <a:gd name="T63" fmla="*/ 31 h 120"/>
                  <a:gd name="T64" fmla="*/ 72 w 128"/>
                  <a:gd name="T65" fmla="*/ 28 h 120"/>
                  <a:gd name="T66" fmla="*/ 55 w 128"/>
                  <a:gd name="T67" fmla="*/ 28 h 120"/>
                  <a:gd name="T68" fmla="*/ 47 w 128"/>
                  <a:gd name="T69" fmla="*/ 31 h 120"/>
                  <a:gd name="T70" fmla="*/ 36 w 128"/>
                  <a:gd name="T71" fmla="*/ 42 h 120"/>
                  <a:gd name="T72" fmla="*/ 33 w 128"/>
                  <a:gd name="T73" fmla="*/ 52 h 120"/>
                  <a:gd name="T74" fmla="*/ 33 w 128"/>
                  <a:gd name="T75" fmla="*/ 69 h 120"/>
                  <a:gd name="T76" fmla="*/ 36 w 128"/>
                  <a:gd name="T77" fmla="*/ 77 h 120"/>
                  <a:gd name="T78" fmla="*/ 47 w 128"/>
                  <a:gd name="T79" fmla="*/ 89 h 120"/>
                  <a:gd name="T80" fmla="*/ 55 w 128"/>
                  <a:gd name="T81" fmla="*/ 92 h 120"/>
                  <a:gd name="T82" fmla="*/ 72 w 128"/>
                  <a:gd name="T83" fmla="*/ 92 h 120"/>
                  <a:gd name="T84" fmla="*/ 80 w 128"/>
                  <a:gd name="T85" fmla="*/ 89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28" h="120">
                    <a:moveTo>
                      <a:pt x="31" y="112"/>
                    </a:moveTo>
                    <a:lnTo>
                      <a:pt x="31" y="112"/>
                    </a:lnTo>
                    <a:lnTo>
                      <a:pt x="25" y="109"/>
                    </a:lnTo>
                    <a:lnTo>
                      <a:pt x="21" y="105"/>
                    </a:lnTo>
                    <a:lnTo>
                      <a:pt x="13" y="97"/>
                    </a:lnTo>
                    <a:lnTo>
                      <a:pt x="6" y="88"/>
                    </a:lnTo>
                    <a:lnTo>
                      <a:pt x="2" y="78"/>
                    </a:lnTo>
                    <a:lnTo>
                      <a:pt x="0" y="67"/>
                    </a:lnTo>
                    <a:lnTo>
                      <a:pt x="0" y="55"/>
                    </a:lnTo>
                    <a:lnTo>
                      <a:pt x="2" y="43"/>
                    </a:lnTo>
                    <a:lnTo>
                      <a:pt x="4" y="38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11" y="25"/>
                    </a:lnTo>
                    <a:lnTo>
                      <a:pt x="16" y="18"/>
                    </a:lnTo>
                    <a:lnTo>
                      <a:pt x="23" y="12"/>
                    </a:lnTo>
                    <a:lnTo>
                      <a:pt x="31" y="8"/>
                    </a:lnTo>
                    <a:lnTo>
                      <a:pt x="31" y="8"/>
                    </a:lnTo>
                    <a:lnTo>
                      <a:pt x="38" y="4"/>
                    </a:lnTo>
                    <a:lnTo>
                      <a:pt x="46" y="2"/>
                    </a:lnTo>
                    <a:lnTo>
                      <a:pt x="55" y="0"/>
                    </a:lnTo>
                    <a:lnTo>
                      <a:pt x="64" y="0"/>
                    </a:lnTo>
                    <a:lnTo>
                      <a:pt x="72" y="0"/>
                    </a:lnTo>
                    <a:lnTo>
                      <a:pt x="81" y="2"/>
                    </a:lnTo>
                    <a:lnTo>
                      <a:pt x="89" y="4"/>
                    </a:lnTo>
                    <a:lnTo>
                      <a:pt x="97" y="8"/>
                    </a:lnTo>
                    <a:lnTo>
                      <a:pt x="97" y="8"/>
                    </a:lnTo>
                    <a:lnTo>
                      <a:pt x="102" y="11"/>
                    </a:lnTo>
                    <a:lnTo>
                      <a:pt x="106" y="14"/>
                    </a:lnTo>
                    <a:lnTo>
                      <a:pt x="115" y="22"/>
                    </a:lnTo>
                    <a:lnTo>
                      <a:pt x="121" y="32"/>
                    </a:lnTo>
                    <a:lnTo>
                      <a:pt x="125" y="42"/>
                    </a:lnTo>
                    <a:lnTo>
                      <a:pt x="127" y="54"/>
                    </a:lnTo>
                    <a:lnTo>
                      <a:pt x="128" y="65"/>
                    </a:lnTo>
                    <a:lnTo>
                      <a:pt x="126" y="76"/>
                    </a:lnTo>
                    <a:lnTo>
                      <a:pt x="124" y="82"/>
                    </a:lnTo>
                    <a:lnTo>
                      <a:pt x="121" y="87"/>
                    </a:lnTo>
                    <a:lnTo>
                      <a:pt x="121" y="87"/>
                    </a:lnTo>
                    <a:lnTo>
                      <a:pt x="116" y="95"/>
                    </a:lnTo>
                    <a:lnTo>
                      <a:pt x="111" y="101"/>
                    </a:lnTo>
                    <a:lnTo>
                      <a:pt x="104" y="107"/>
                    </a:lnTo>
                    <a:lnTo>
                      <a:pt x="97" y="112"/>
                    </a:lnTo>
                    <a:lnTo>
                      <a:pt x="97" y="112"/>
                    </a:lnTo>
                    <a:lnTo>
                      <a:pt x="89" y="115"/>
                    </a:lnTo>
                    <a:lnTo>
                      <a:pt x="81" y="118"/>
                    </a:lnTo>
                    <a:lnTo>
                      <a:pt x="72" y="119"/>
                    </a:lnTo>
                    <a:lnTo>
                      <a:pt x="64" y="120"/>
                    </a:lnTo>
                    <a:lnTo>
                      <a:pt x="55" y="119"/>
                    </a:lnTo>
                    <a:lnTo>
                      <a:pt x="46" y="118"/>
                    </a:lnTo>
                    <a:lnTo>
                      <a:pt x="38" y="115"/>
                    </a:lnTo>
                    <a:lnTo>
                      <a:pt x="31" y="112"/>
                    </a:lnTo>
                    <a:lnTo>
                      <a:pt x="31" y="112"/>
                    </a:lnTo>
                    <a:close/>
                    <a:moveTo>
                      <a:pt x="80" y="89"/>
                    </a:moveTo>
                    <a:lnTo>
                      <a:pt x="80" y="89"/>
                    </a:lnTo>
                    <a:lnTo>
                      <a:pt x="86" y="84"/>
                    </a:lnTo>
                    <a:lnTo>
                      <a:pt x="91" y="77"/>
                    </a:lnTo>
                    <a:lnTo>
                      <a:pt x="91" y="77"/>
                    </a:lnTo>
                    <a:lnTo>
                      <a:pt x="94" y="69"/>
                    </a:lnTo>
                    <a:lnTo>
                      <a:pt x="95" y="60"/>
                    </a:lnTo>
                    <a:lnTo>
                      <a:pt x="94" y="52"/>
                    </a:lnTo>
                    <a:lnTo>
                      <a:pt x="91" y="42"/>
                    </a:lnTo>
                    <a:lnTo>
                      <a:pt x="91" y="42"/>
                    </a:lnTo>
                    <a:lnTo>
                      <a:pt x="86" y="36"/>
                    </a:lnTo>
                    <a:lnTo>
                      <a:pt x="80" y="31"/>
                    </a:lnTo>
                    <a:lnTo>
                      <a:pt x="80" y="31"/>
                    </a:lnTo>
                    <a:lnTo>
                      <a:pt x="72" y="28"/>
                    </a:lnTo>
                    <a:lnTo>
                      <a:pt x="64" y="27"/>
                    </a:lnTo>
                    <a:lnTo>
                      <a:pt x="55" y="28"/>
                    </a:lnTo>
                    <a:lnTo>
                      <a:pt x="47" y="31"/>
                    </a:lnTo>
                    <a:lnTo>
                      <a:pt x="47" y="31"/>
                    </a:lnTo>
                    <a:lnTo>
                      <a:pt x="41" y="36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3" y="52"/>
                    </a:lnTo>
                    <a:lnTo>
                      <a:pt x="32" y="60"/>
                    </a:lnTo>
                    <a:lnTo>
                      <a:pt x="33" y="69"/>
                    </a:lnTo>
                    <a:lnTo>
                      <a:pt x="36" y="77"/>
                    </a:lnTo>
                    <a:lnTo>
                      <a:pt x="36" y="77"/>
                    </a:lnTo>
                    <a:lnTo>
                      <a:pt x="41" y="84"/>
                    </a:lnTo>
                    <a:lnTo>
                      <a:pt x="47" y="89"/>
                    </a:lnTo>
                    <a:lnTo>
                      <a:pt x="47" y="89"/>
                    </a:lnTo>
                    <a:lnTo>
                      <a:pt x="55" y="92"/>
                    </a:lnTo>
                    <a:lnTo>
                      <a:pt x="64" y="93"/>
                    </a:lnTo>
                    <a:lnTo>
                      <a:pt x="72" y="92"/>
                    </a:lnTo>
                    <a:lnTo>
                      <a:pt x="80" y="89"/>
                    </a:lnTo>
                    <a:lnTo>
                      <a:pt x="80" y="8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18">
                <a:extLst>
                  <a:ext uri="{FF2B5EF4-FFF2-40B4-BE49-F238E27FC236}">
                    <a16:creationId xmlns:a16="http://schemas.microsoft.com/office/drawing/2014/main" id="{ADB12047-0D9C-4132-B83B-3C1A35CF3887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564816" y="1535113"/>
                <a:ext cx="84138" cy="90487"/>
              </a:xfrm>
              <a:custGeom>
                <a:avLst/>
                <a:gdLst>
                  <a:gd name="T0" fmla="*/ 99 w 105"/>
                  <a:gd name="T1" fmla="*/ 66 h 115"/>
                  <a:gd name="T2" fmla="*/ 103 w 105"/>
                  <a:gd name="T3" fmla="*/ 74 h 115"/>
                  <a:gd name="T4" fmla="*/ 105 w 105"/>
                  <a:gd name="T5" fmla="*/ 83 h 115"/>
                  <a:gd name="T6" fmla="*/ 104 w 105"/>
                  <a:gd name="T7" fmla="*/ 90 h 115"/>
                  <a:gd name="T8" fmla="*/ 98 w 105"/>
                  <a:gd name="T9" fmla="*/ 102 h 115"/>
                  <a:gd name="T10" fmla="*/ 93 w 105"/>
                  <a:gd name="T11" fmla="*/ 107 h 115"/>
                  <a:gd name="T12" fmla="*/ 77 w 105"/>
                  <a:gd name="T13" fmla="*/ 114 h 115"/>
                  <a:gd name="T14" fmla="*/ 59 w 105"/>
                  <a:gd name="T15" fmla="*/ 115 h 115"/>
                  <a:gd name="T16" fmla="*/ 0 w 105"/>
                  <a:gd name="T17" fmla="*/ 0 h 115"/>
                  <a:gd name="T18" fmla="*/ 56 w 105"/>
                  <a:gd name="T19" fmla="*/ 0 h 115"/>
                  <a:gd name="T20" fmla="*/ 73 w 105"/>
                  <a:gd name="T21" fmla="*/ 2 h 115"/>
                  <a:gd name="T22" fmla="*/ 88 w 105"/>
                  <a:gd name="T23" fmla="*/ 8 h 115"/>
                  <a:gd name="T24" fmla="*/ 93 w 105"/>
                  <a:gd name="T25" fmla="*/ 12 h 115"/>
                  <a:gd name="T26" fmla="*/ 99 w 105"/>
                  <a:gd name="T27" fmla="*/ 24 h 115"/>
                  <a:gd name="T28" fmla="*/ 99 w 105"/>
                  <a:gd name="T29" fmla="*/ 30 h 115"/>
                  <a:gd name="T30" fmla="*/ 95 w 105"/>
                  <a:gd name="T31" fmla="*/ 45 h 115"/>
                  <a:gd name="T32" fmla="*/ 90 w 105"/>
                  <a:gd name="T33" fmla="*/ 52 h 115"/>
                  <a:gd name="T34" fmla="*/ 84 w 105"/>
                  <a:gd name="T35" fmla="*/ 56 h 115"/>
                  <a:gd name="T36" fmla="*/ 92 w 105"/>
                  <a:gd name="T37" fmla="*/ 60 h 115"/>
                  <a:gd name="T38" fmla="*/ 99 w 105"/>
                  <a:gd name="T39" fmla="*/ 66 h 115"/>
                  <a:gd name="T40" fmla="*/ 32 w 105"/>
                  <a:gd name="T41" fmla="*/ 46 h 115"/>
                  <a:gd name="T42" fmla="*/ 53 w 105"/>
                  <a:gd name="T43" fmla="*/ 46 h 115"/>
                  <a:gd name="T44" fmla="*/ 63 w 105"/>
                  <a:gd name="T45" fmla="*/ 43 h 115"/>
                  <a:gd name="T46" fmla="*/ 67 w 105"/>
                  <a:gd name="T47" fmla="*/ 35 h 115"/>
                  <a:gd name="T48" fmla="*/ 66 w 105"/>
                  <a:gd name="T49" fmla="*/ 30 h 115"/>
                  <a:gd name="T50" fmla="*/ 59 w 105"/>
                  <a:gd name="T51" fmla="*/ 24 h 115"/>
                  <a:gd name="T52" fmla="*/ 32 w 105"/>
                  <a:gd name="T53" fmla="*/ 23 h 115"/>
                  <a:gd name="T54" fmla="*/ 72 w 105"/>
                  <a:gd name="T55" fmla="*/ 80 h 115"/>
                  <a:gd name="T56" fmla="*/ 71 w 105"/>
                  <a:gd name="T57" fmla="*/ 75 h 115"/>
                  <a:gd name="T58" fmla="*/ 64 w 105"/>
                  <a:gd name="T59" fmla="*/ 69 h 115"/>
                  <a:gd name="T60" fmla="*/ 32 w 105"/>
                  <a:gd name="T61" fmla="*/ 69 h 115"/>
                  <a:gd name="T62" fmla="*/ 58 w 105"/>
                  <a:gd name="T63" fmla="*/ 92 h 115"/>
                  <a:gd name="T64" fmla="*/ 64 w 105"/>
                  <a:gd name="T65" fmla="*/ 91 h 115"/>
                  <a:gd name="T66" fmla="*/ 71 w 105"/>
                  <a:gd name="T67" fmla="*/ 85 h 115"/>
                  <a:gd name="T68" fmla="*/ 72 w 105"/>
                  <a:gd name="T69" fmla="*/ 8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5" h="115">
                    <a:moveTo>
                      <a:pt x="99" y="66"/>
                    </a:moveTo>
                    <a:lnTo>
                      <a:pt x="99" y="66"/>
                    </a:lnTo>
                    <a:lnTo>
                      <a:pt x="102" y="70"/>
                    </a:lnTo>
                    <a:lnTo>
                      <a:pt x="103" y="74"/>
                    </a:lnTo>
                    <a:lnTo>
                      <a:pt x="104" y="78"/>
                    </a:lnTo>
                    <a:lnTo>
                      <a:pt x="105" y="83"/>
                    </a:lnTo>
                    <a:lnTo>
                      <a:pt x="105" y="83"/>
                    </a:lnTo>
                    <a:lnTo>
                      <a:pt x="104" y="90"/>
                    </a:lnTo>
                    <a:lnTo>
                      <a:pt x="102" y="96"/>
                    </a:lnTo>
                    <a:lnTo>
                      <a:pt x="98" y="102"/>
                    </a:lnTo>
                    <a:lnTo>
                      <a:pt x="93" y="107"/>
                    </a:lnTo>
                    <a:lnTo>
                      <a:pt x="93" y="107"/>
                    </a:lnTo>
                    <a:lnTo>
                      <a:pt x="85" y="111"/>
                    </a:lnTo>
                    <a:lnTo>
                      <a:pt x="77" y="114"/>
                    </a:lnTo>
                    <a:lnTo>
                      <a:pt x="68" y="115"/>
                    </a:lnTo>
                    <a:lnTo>
                      <a:pt x="59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5" y="1"/>
                    </a:lnTo>
                    <a:lnTo>
                      <a:pt x="73" y="2"/>
                    </a:lnTo>
                    <a:lnTo>
                      <a:pt x="81" y="4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93" y="12"/>
                    </a:lnTo>
                    <a:lnTo>
                      <a:pt x="97" y="18"/>
                    </a:lnTo>
                    <a:lnTo>
                      <a:pt x="99" y="24"/>
                    </a:lnTo>
                    <a:lnTo>
                      <a:pt x="99" y="30"/>
                    </a:lnTo>
                    <a:lnTo>
                      <a:pt x="99" y="30"/>
                    </a:lnTo>
                    <a:lnTo>
                      <a:pt x="98" y="38"/>
                    </a:lnTo>
                    <a:lnTo>
                      <a:pt x="95" y="45"/>
                    </a:lnTo>
                    <a:lnTo>
                      <a:pt x="95" y="45"/>
                    </a:lnTo>
                    <a:lnTo>
                      <a:pt x="90" y="52"/>
                    </a:lnTo>
                    <a:lnTo>
                      <a:pt x="84" y="56"/>
                    </a:lnTo>
                    <a:lnTo>
                      <a:pt x="84" y="56"/>
                    </a:lnTo>
                    <a:lnTo>
                      <a:pt x="88" y="57"/>
                    </a:lnTo>
                    <a:lnTo>
                      <a:pt x="92" y="60"/>
                    </a:lnTo>
                    <a:lnTo>
                      <a:pt x="96" y="62"/>
                    </a:lnTo>
                    <a:lnTo>
                      <a:pt x="99" y="66"/>
                    </a:lnTo>
                    <a:lnTo>
                      <a:pt x="99" y="66"/>
                    </a:lnTo>
                    <a:close/>
                    <a:moveTo>
                      <a:pt x="32" y="46"/>
                    </a:moveTo>
                    <a:lnTo>
                      <a:pt x="53" y="46"/>
                    </a:lnTo>
                    <a:lnTo>
                      <a:pt x="53" y="46"/>
                    </a:lnTo>
                    <a:lnTo>
                      <a:pt x="59" y="45"/>
                    </a:lnTo>
                    <a:lnTo>
                      <a:pt x="63" y="43"/>
                    </a:lnTo>
                    <a:lnTo>
                      <a:pt x="66" y="40"/>
                    </a:lnTo>
                    <a:lnTo>
                      <a:pt x="67" y="35"/>
                    </a:lnTo>
                    <a:lnTo>
                      <a:pt x="67" y="35"/>
                    </a:lnTo>
                    <a:lnTo>
                      <a:pt x="66" y="30"/>
                    </a:lnTo>
                    <a:lnTo>
                      <a:pt x="63" y="26"/>
                    </a:lnTo>
                    <a:lnTo>
                      <a:pt x="59" y="24"/>
                    </a:lnTo>
                    <a:lnTo>
                      <a:pt x="53" y="23"/>
                    </a:lnTo>
                    <a:lnTo>
                      <a:pt x="32" y="23"/>
                    </a:lnTo>
                    <a:lnTo>
                      <a:pt x="32" y="46"/>
                    </a:lnTo>
                    <a:close/>
                    <a:moveTo>
                      <a:pt x="72" y="80"/>
                    </a:moveTo>
                    <a:lnTo>
                      <a:pt x="72" y="80"/>
                    </a:lnTo>
                    <a:lnTo>
                      <a:pt x="71" y="75"/>
                    </a:lnTo>
                    <a:lnTo>
                      <a:pt x="69" y="72"/>
                    </a:lnTo>
                    <a:lnTo>
                      <a:pt x="64" y="69"/>
                    </a:lnTo>
                    <a:lnTo>
                      <a:pt x="58" y="69"/>
                    </a:lnTo>
                    <a:lnTo>
                      <a:pt x="32" y="69"/>
                    </a:lnTo>
                    <a:lnTo>
                      <a:pt x="32" y="92"/>
                    </a:lnTo>
                    <a:lnTo>
                      <a:pt x="58" y="92"/>
                    </a:lnTo>
                    <a:lnTo>
                      <a:pt x="58" y="92"/>
                    </a:lnTo>
                    <a:lnTo>
                      <a:pt x="64" y="91"/>
                    </a:lnTo>
                    <a:lnTo>
                      <a:pt x="69" y="89"/>
                    </a:lnTo>
                    <a:lnTo>
                      <a:pt x="71" y="85"/>
                    </a:lnTo>
                    <a:lnTo>
                      <a:pt x="72" y="80"/>
                    </a:lnTo>
                    <a:lnTo>
                      <a:pt x="72" y="8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19">
                <a:extLst>
                  <a:ext uri="{FF2B5EF4-FFF2-40B4-BE49-F238E27FC236}">
                    <a16:creationId xmlns:a16="http://schemas.microsoft.com/office/drawing/2014/main" id="{858404A6-DDAE-444D-AAFD-F67F301C99E5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664829" y="1535113"/>
                <a:ext cx="115888" cy="90487"/>
              </a:xfrm>
              <a:custGeom>
                <a:avLst/>
                <a:gdLst>
                  <a:gd name="T0" fmla="*/ 92 w 147"/>
                  <a:gd name="T1" fmla="*/ 46 h 115"/>
                  <a:gd name="T2" fmla="*/ 92 w 147"/>
                  <a:gd name="T3" fmla="*/ 46 h 115"/>
                  <a:gd name="T4" fmla="*/ 97 w 147"/>
                  <a:gd name="T5" fmla="*/ 53 h 115"/>
                  <a:gd name="T6" fmla="*/ 101 w 147"/>
                  <a:gd name="T7" fmla="*/ 60 h 115"/>
                  <a:gd name="T8" fmla="*/ 103 w 147"/>
                  <a:gd name="T9" fmla="*/ 67 h 115"/>
                  <a:gd name="T10" fmla="*/ 103 w 147"/>
                  <a:gd name="T11" fmla="*/ 75 h 115"/>
                  <a:gd name="T12" fmla="*/ 103 w 147"/>
                  <a:gd name="T13" fmla="*/ 75 h 115"/>
                  <a:gd name="T14" fmla="*/ 103 w 147"/>
                  <a:gd name="T15" fmla="*/ 83 h 115"/>
                  <a:gd name="T16" fmla="*/ 100 w 147"/>
                  <a:gd name="T17" fmla="*/ 91 h 115"/>
                  <a:gd name="T18" fmla="*/ 96 w 147"/>
                  <a:gd name="T19" fmla="*/ 99 h 115"/>
                  <a:gd name="T20" fmla="*/ 90 w 147"/>
                  <a:gd name="T21" fmla="*/ 105 h 115"/>
                  <a:gd name="T22" fmla="*/ 90 w 147"/>
                  <a:gd name="T23" fmla="*/ 105 h 115"/>
                  <a:gd name="T24" fmla="*/ 82 w 147"/>
                  <a:gd name="T25" fmla="*/ 110 h 115"/>
                  <a:gd name="T26" fmla="*/ 74 w 147"/>
                  <a:gd name="T27" fmla="*/ 113 h 115"/>
                  <a:gd name="T28" fmla="*/ 65 w 147"/>
                  <a:gd name="T29" fmla="*/ 115 h 115"/>
                  <a:gd name="T30" fmla="*/ 55 w 147"/>
                  <a:gd name="T31" fmla="*/ 115 h 115"/>
                  <a:gd name="T32" fmla="*/ 0 w 147"/>
                  <a:gd name="T33" fmla="*/ 115 h 115"/>
                  <a:gd name="T34" fmla="*/ 0 w 147"/>
                  <a:gd name="T35" fmla="*/ 1 h 115"/>
                  <a:gd name="T36" fmla="*/ 32 w 147"/>
                  <a:gd name="T37" fmla="*/ 1 h 115"/>
                  <a:gd name="T38" fmla="*/ 32 w 147"/>
                  <a:gd name="T39" fmla="*/ 37 h 115"/>
                  <a:gd name="T40" fmla="*/ 59 w 147"/>
                  <a:gd name="T41" fmla="*/ 37 h 115"/>
                  <a:gd name="T42" fmla="*/ 59 w 147"/>
                  <a:gd name="T43" fmla="*/ 37 h 115"/>
                  <a:gd name="T44" fmla="*/ 68 w 147"/>
                  <a:gd name="T45" fmla="*/ 37 h 115"/>
                  <a:gd name="T46" fmla="*/ 76 w 147"/>
                  <a:gd name="T47" fmla="*/ 39 h 115"/>
                  <a:gd name="T48" fmla="*/ 84 w 147"/>
                  <a:gd name="T49" fmla="*/ 42 h 115"/>
                  <a:gd name="T50" fmla="*/ 92 w 147"/>
                  <a:gd name="T51" fmla="*/ 46 h 115"/>
                  <a:gd name="T52" fmla="*/ 92 w 147"/>
                  <a:gd name="T53" fmla="*/ 46 h 115"/>
                  <a:gd name="T54" fmla="*/ 66 w 147"/>
                  <a:gd name="T55" fmla="*/ 88 h 115"/>
                  <a:gd name="T56" fmla="*/ 66 w 147"/>
                  <a:gd name="T57" fmla="*/ 88 h 115"/>
                  <a:gd name="T58" fmla="*/ 68 w 147"/>
                  <a:gd name="T59" fmla="*/ 85 h 115"/>
                  <a:gd name="T60" fmla="*/ 70 w 147"/>
                  <a:gd name="T61" fmla="*/ 82 h 115"/>
                  <a:gd name="T62" fmla="*/ 71 w 147"/>
                  <a:gd name="T63" fmla="*/ 79 h 115"/>
                  <a:gd name="T64" fmla="*/ 71 w 147"/>
                  <a:gd name="T65" fmla="*/ 76 h 115"/>
                  <a:gd name="T66" fmla="*/ 71 w 147"/>
                  <a:gd name="T67" fmla="*/ 76 h 115"/>
                  <a:gd name="T68" fmla="*/ 71 w 147"/>
                  <a:gd name="T69" fmla="*/ 72 h 115"/>
                  <a:gd name="T70" fmla="*/ 70 w 147"/>
                  <a:gd name="T71" fmla="*/ 69 h 115"/>
                  <a:gd name="T72" fmla="*/ 68 w 147"/>
                  <a:gd name="T73" fmla="*/ 67 h 115"/>
                  <a:gd name="T74" fmla="*/ 66 w 147"/>
                  <a:gd name="T75" fmla="*/ 64 h 115"/>
                  <a:gd name="T76" fmla="*/ 64 w 147"/>
                  <a:gd name="T77" fmla="*/ 63 h 115"/>
                  <a:gd name="T78" fmla="*/ 61 w 147"/>
                  <a:gd name="T79" fmla="*/ 62 h 115"/>
                  <a:gd name="T80" fmla="*/ 53 w 147"/>
                  <a:gd name="T81" fmla="*/ 61 h 115"/>
                  <a:gd name="T82" fmla="*/ 32 w 147"/>
                  <a:gd name="T83" fmla="*/ 61 h 115"/>
                  <a:gd name="T84" fmla="*/ 32 w 147"/>
                  <a:gd name="T85" fmla="*/ 92 h 115"/>
                  <a:gd name="T86" fmla="*/ 53 w 147"/>
                  <a:gd name="T87" fmla="*/ 92 h 115"/>
                  <a:gd name="T88" fmla="*/ 53 w 147"/>
                  <a:gd name="T89" fmla="*/ 92 h 115"/>
                  <a:gd name="T90" fmla="*/ 57 w 147"/>
                  <a:gd name="T91" fmla="*/ 92 h 115"/>
                  <a:gd name="T92" fmla="*/ 60 w 147"/>
                  <a:gd name="T93" fmla="*/ 91 h 115"/>
                  <a:gd name="T94" fmla="*/ 63 w 147"/>
                  <a:gd name="T95" fmla="*/ 90 h 115"/>
                  <a:gd name="T96" fmla="*/ 66 w 147"/>
                  <a:gd name="T97" fmla="*/ 88 h 115"/>
                  <a:gd name="T98" fmla="*/ 66 w 147"/>
                  <a:gd name="T99" fmla="*/ 88 h 115"/>
                  <a:gd name="T100" fmla="*/ 116 w 147"/>
                  <a:gd name="T101" fmla="*/ 0 h 115"/>
                  <a:gd name="T102" fmla="*/ 147 w 147"/>
                  <a:gd name="T103" fmla="*/ 0 h 115"/>
                  <a:gd name="T104" fmla="*/ 147 w 147"/>
                  <a:gd name="T105" fmla="*/ 115 h 115"/>
                  <a:gd name="T106" fmla="*/ 116 w 147"/>
                  <a:gd name="T107" fmla="*/ 115 h 115"/>
                  <a:gd name="T108" fmla="*/ 116 w 147"/>
                  <a:gd name="T109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47" h="115">
                    <a:moveTo>
                      <a:pt x="92" y="46"/>
                    </a:moveTo>
                    <a:lnTo>
                      <a:pt x="92" y="46"/>
                    </a:lnTo>
                    <a:lnTo>
                      <a:pt x="97" y="53"/>
                    </a:lnTo>
                    <a:lnTo>
                      <a:pt x="101" y="60"/>
                    </a:lnTo>
                    <a:lnTo>
                      <a:pt x="103" y="67"/>
                    </a:lnTo>
                    <a:lnTo>
                      <a:pt x="103" y="75"/>
                    </a:lnTo>
                    <a:lnTo>
                      <a:pt x="103" y="75"/>
                    </a:lnTo>
                    <a:lnTo>
                      <a:pt x="103" y="83"/>
                    </a:lnTo>
                    <a:lnTo>
                      <a:pt x="100" y="91"/>
                    </a:lnTo>
                    <a:lnTo>
                      <a:pt x="96" y="99"/>
                    </a:lnTo>
                    <a:lnTo>
                      <a:pt x="90" y="105"/>
                    </a:lnTo>
                    <a:lnTo>
                      <a:pt x="90" y="105"/>
                    </a:lnTo>
                    <a:lnTo>
                      <a:pt x="82" y="110"/>
                    </a:lnTo>
                    <a:lnTo>
                      <a:pt x="74" y="113"/>
                    </a:lnTo>
                    <a:lnTo>
                      <a:pt x="65" y="115"/>
                    </a:lnTo>
                    <a:lnTo>
                      <a:pt x="55" y="115"/>
                    </a:lnTo>
                    <a:lnTo>
                      <a:pt x="0" y="115"/>
                    </a:lnTo>
                    <a:lnTo>
                      <a:pt x="0" y="1"/>
                    </a:lnTo>
                    <a:lnTo>
                      <a:pt x="32" y="1"/>
                    </a:lnTo>
                    <a:lnTo>
                      <a:pt x="32" y="37"/>
                    </a:lnTo>
                    <a:lnTo>
                      <a:pt x="59" y="37"/>
                    </a:lnTo>
                    <a:lnTo>
                      <a:pt x="59" y="37"/>
                    </a:lnTo>
                    <a:lnTo>
                      <a:pt x="68" y="37"/>
                    </a:lnTo>
                    <a:lnTo>
                      <a:pt x="76" y="39"/>
                    </a:lnTo>
                    <a:lnTo>
                      <a:pt x="84" y="42"/>
                    </a:lnTo>
                    <a:lnTo>
                      <a:pt x="92" y="46"/>
                    </a:lnTo>
                    <a:lnTo>
                      <a:pt x="92" y="46"/>
                    </a:lnTo>
                    <a:close/>
                    <a:moveTo>
                      <a:pt x="66" y="88"/>
                    </a:moveTo>
                    <a:lnTo>
                      <a:pt x="66" y="88"/>
                    </a:lnTo>
                    <a:lnTo>
                      <a:pt x="68" y="85"/>
                    </a:lnTo>
                    <a:lnTo>
                      <a:pt x="70" y="82"/>
                    </a:lnTo>
                    <a:lnTo>
                      <a:pt x="71" y="79"/>
                    </a:lnTo>
                    <a:lnTo>
                      <a:pt x="71" y="76"/>
                    </a:lnTo>
                    <a:lnTo>
                      <a:pt x="71" y="76"/>
                    </a:lnTo>
                    <a:lnTo>
                      <a:pt x="71" y="72"/>
                    </a:lnTo>
                    <a:lnTo>
                      <a:pt x="70" y="69"/>
                    </a:lnTo>
                    <a:lnTo>
                      <a:pt x="68" y="67"/>
                    </a:lnTo>
                    <a:lnTo>
                      <a:pt x="66" y="64"/>
                    </a:lnTo>
                    <a:lnTo>
                      <a:pt x="64" y="63"/>
                    </a:lnTo>
                    <a:lnTo>
                      <a:pt x="61" y="62"/>
                    </a:lnTo>
                    <a:lnTo>
                      <a:pt x="53" y="61"/>
                    </a:lnTo>
                    <a:lnTo>
                      <a:pt x="32" y="61"/>
                    </a:lnTo>
                    <a:lnTo>
                      <a:pt x="32" y="92"/>
                    </a:lnTo>
                    <a:lnTo>
                      <a:pt x="53" y="92"/>
                    </a:lnTo>
                    <a:lnTo>
                      <a:pt x="53" y="92"/>
                    </a:lnTo>
                    <a:lnTo>
                      <a:pt x="57" y="92"/>
                    </a:lnTo>
                    <a:lnTo>
                      <a:pt x="60" y="91"/>
                    </a:lnTo>
                    <a:lnTo>
                      <a:pt x="63" y="90"/>
                    </a:lnTo>
                    <a:lnTo>
                      <a:pt x="66" y="88"/>
                    </a:lnTo>
                    <a:lnTo>
                      <a:pt x="66" y="88"/>
                    </a:lnTo>
                    <a:close/>
                    <a:moveTo>
                      <a:pt x="116" y="0"/>
                    </a:moveTo>
                    <a:lnTo>
                      <a:pt x="147" y="0"/>
                    </a:lnTo>
                    <a:lnTo>
                      <a:pt x="147" y="115"/>
                    </a:lnTo>
                    <a:lnTo>
                      <a:pt x="116" y="115"/>
                    </a:lnTo>
                    <a:lnTo>
                      <a:pt x="116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20">
                <a:extLst>
                  <a:ext uri="{FF2B5EF4-FFF2-40B4-BE49-F238E27FC236}">
                    <a16:creationId xmlns:a16="http://schemas.microsoft.com/office/drawing/2014/main" id="{75291C0B-6F92-4600-AB25-5FB7911A4E1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802941" y="1535113"/>
                <a:ext cx="74613" cy="90487"/>
              </a:xfrm>
              <a:custGeom>
                <a:avLst/>
                <a:gdLst>
                  <a:gd name="T0" fmla="*/ 92 w 92"/>
                  <a:gd name="T1" fmla="*/ 90 h 115"/>
                  <a:gd name="T2" fmla="*/ 92 w 92"/>
                  <a:gd name="T3" fmla="*/ 115 h 115"/>
                  <a:gd name="T4" fmla="*/ 0 w 92"/>
                  <a:gd name="T5" fmla="*/ 115 h 115"/>
                  <a:gd name="T6" fmla="*/ 0 w 92"/>
                  <a:gd name="T7" fmla="*/ 0 h 115"/>
                  <a:gd name="T8" fmla="*/ 90 w 92"/>
                  <a:gd name="T9" fmla="*/ 0 h 115"/>
                  <a:gd name="T10" fmla="*/ 90 w 92"/>
                  <a:gd name="T11" fmla="*/ 25 h 115"/>
                  <a:gd name="T12" fmla="*/ 32 w 92"/>
                  <a:gd name="T13" fmla="*/ 25 h 115"/>
                  <a:gd name="T14" fmla="*/ 32 w 92"/>
                  <a:gd name="T15" fmla="*/ 44 h 115"/>
                  <a:gd name="T16" fmla="*/ 83 w 92"/>
                  <a:gd name="T17" fmla="*/ 44 h 115"/>
                  <a:gd name="T18" fmla="*/ 83 w 92"/>
                  <a:gd name="T19" fmla="*/ 69 h 115"/>
                  <a:gd name="T20" fmla="*/ 32 w 92"/>
                  <a:gd name="T21" fmla="*/ 69 h 115"/>
                  <a:gd name="T22" fmla="*/ 32 w 92"/>
                  <a:gd name="T23" fmla="*/ 90 h 115"/>
                  <a:gd name="T24" fmla="*/ 92 w 92"/>
                  <a:gd name="T25" fmla="*/ 9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2" h="115">
                    <a:moveTo>
                      <a:pt x="92" y="90"/>
                    </a:moveTo>
                    <a:lnTo>
                      <a:pt x="9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25"/>
                    </a:lnTo>
                    <a:lnTo>
                      <a:pt x="32" y="25"/>
                    </a:lnTo>
                    <a:lnTo>
                      <a:pt x="32" y="44"/>
                    </a:lnTo>
                    <a:lnTo>
                      <a:pt x="83" y="44"/>
                    </a:lnTo>
                    <a:lnTo>
                      <a:pt x="83" y="69"/>
                    </a:lnTo>
                    <a:lnTo>
                      <a:pt x="32" y="69"/>
                    </a:lnTo>
                    <a:lnTo>
                      <a:pt x="32" y="90"/>
                    </a:lnTo>
                    <a:lnTo>
                      <a:pt x="92" y="9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21">
                <a:extLst>
                  <a:ext uri="{FF2B5EF4-FFF2-40B4-BE49-F238E27FC236}">
                    <a16:creationId xmlns:a16="http://schemas.microsoft.com/office/drawing/2014/main" id="{B70F9D38-B76B-4C58-8BF4-5936272CE766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934704" y="1535113"/>
                <a:ext cx="82550" cy="90487"/>
              </a:xfrm>
              <a:custGeom>
                <a:avLst/>
                <a:gdLst>
                  <a:gd name="T0" fmla="*/ 79 w 104"/>
                  <a:gd name="T1" fmla="*/ 5 h 115"/>
                  <a:gd name="T2" fmla="*/ 79 w 104"/>
                  <a:gd name="T3" fmla="*/ 5 h 115"/>
                  <a:gd name="T4" fmla="*/ 85 w 104"/>
                  <a:gd name="T5" fmla="*/ 8 h 115"/>
                  <a:gd name="T6" fmla="*/ 90 w 104"/>
                  <a:gd name="T7" fmla="*/ 12 h 115"/>
                  <a:gd name="T8" fmla="*/ 94 w 104"/>
                  <a:gd name="T9" fmla="*/ 16 h 115"/>
                  <a:gd name="T10" fmla="*/ 98 w 104"/>
                  <a:gd name="T11" fmla="*/ 20 h 115"/>
                  <a:gd name="T12" fmla="*/ 98 w 104"/>
                  <a:gd name="T13" fmla="*/ 20 h 115"/>
                  <a:gd name="T14" fmla="*/ 101 w 104"/>
                  <a:gd name="T15" fmla="*/ 27 h 115"/>
                  <a:gd name="T16" fmla="*/ 104 w 104"/>
                  <a:gd name="T17" fmla="*/ 35 h 115"/>
                  <a:gd name="T18" fmla="*/ 104 w 104"/>
                  <a:gd name="T19" fmla="*/ 43 h 115"/>
                  <a:gd name="T20" fmla="*/ 104 w 104"/>
                  <a:gd name="T21" fmla="*/ 51 h 115"/>
                  <a:gd name="T22" fmla="*/ 102 w 104"/>
                  <a:gd name="T23" fmla="*/ 59 h 115"/>
                  <a:gd name="T24" fmla="*/ 98 w 104"/>
                  <a:gd name="T25" fmla="*/ 66 h 115"/>
                  <a:gd name="T26" fmla="*/ 93 w 104"/>
                  <a:gd name="T27" fmla="*/ 72 h 115"/>
                  <a:gd name="T28" fmla="*/ 87 w 104"/>
                  <a:gd name="T29" fmla="*/ 77 h 115"/>
                  <a:gd name="T30" fmla="*/ 87 w 104"/>
                  <a:gd name="T31" fmla="*/ 77 h 115"/>
                  <a:gd name="T32" fmla="*/ 79 w 104"/>
                  <a:gd name="T33" fmla="*/ 81 h 115"/>
                  <a:gd name="T34" fmla="*/ 79 w 104"/>
                  <a:gd name="T35" fmla="*/ 81 h 115"/>
                  <a:gd name="T36" fmla="*/ 72 w 104"/>
                  <a:gd name="T37" fmla="*/ 83 h 115"/>
                  <a:gd name="T38" fmla="*/ 66 w 104"/>
                  <a:gd name="T39" fmla="*/ 85 h 115"/>
                  <a:gd name="T40" fmla="*/ 59 w 104"/>
                  <a:gd name="T41" fmla="*/ 85 h 115"/>
                  <a:gd name="T42" fmla="*/ 52 w 104"/>
                  <a:gd name="T43" fmla="*/ 86 h 115"/>
                  <a:gd name="T44" fmla="*/ 32 w 104"/>
                  <a:gd name="T45" fmla="*/ 86 h 115"/>
                  <a:gd name="T46" fmla="*/ 32 w 104"/>
                  <a:gd name="T47" fmla="*/ 115 h 115"/>
                  <a:gd name="T48" fmla="*/ 0 w 104"/>
                  <a:gd name="T49" fmla="*/ 115 h 115"/>
                  <a:gd name="T50" fmla="*/ 0 w 104"/>
                  <a:gd name="T51" fmla="*/ 0 h 115"/>
                  <a:gd name="T52" fmla="*/ 52 w 104"/>
                  <a:gd name="T53" fmla="*/ 0 h 115"/>
                  <a:gd name="T54" fmla="*/ 52 w 104"/>
                  <a:gd name="T55" fmla="*/ 0 h 115"/>
                  <a:gd name="T56" fmla="*/ 59 w 104"/>
                  <a:gd name="T57" fmla="*/ 1 h 115"/>
                  <a:gd name="T58" fmla="*/ 66 w 104"/>
                  <a:gd name="T59" fmla="*/ 2 h 115"/>
                  <a:gd name="T60" fmla="*/ 73 w 104"/>
                  <a:gd name="T61" fmla="*/ 3 h 115"/>
                  <a:gd name="T62" fmla="*/ 79 w 104"/>
                  <a:gd name="T63" fmla="*/ 5 h 115"/>
                  <a:gd name="T64" fmla="*/ 79 w 104"/>
                  <a:gd name="T65" fmla="*/ 5 h 115"/>
                  <a:gd name="T66" fmla="*/ 65 w 104"/>
                  <a:gd name="T67" fmla="*/ 56 h 115"/>
                  <a:gd name="T68" fmla="*/ 65 w 104"/>
                  <a:gd name="T69" fmla="*/ 56 h 115"/>
                  <a:gd name="T70" fmla="*/ 67 w 104"/>
                  <a:gd name="T71" fmla="*/ 53 h 115"/>
                  <a:gd name="T72" fmla="*/ 69 w 104"/>
                  <a:gd name="T73" fmla="*/ 50 h 115"/>
                  <a:gd name="T74" fmla="*/ 70 w 104"/>
                  <a:gd name="T75" fmla="*/ 46 h 115"/>
                  <a:gd name="T76" fmla="*/ 70 w 104"/>
                  <a:gd name="T77" fmla="*/ 43 h 115"/>
                  <a:gd name="T78" fmla="*/ 70 w 104"/>
                  <a:gd name="T79" fmla="*/ 43 h 115"/>
                  <a:gd name="T80" fmla="*/ 70 w 104"/>
                  <a:gd name="T81" fmla="*/ 39 h 115"/>
                  <a:gd name="T82" fmla="*/ 69 w 104"/>
                  <a:gd name="T83" fmla="*/ 36 h 115"/>
                  <a:gd name="T84" fmla="*/ 67 w 104"/>
                  <a:gd name="T85" fmla="*/ 33 h 115"/>
                  <a:gd name="T86" fmla="*/ 65 w 104"/>
                  <a:gd name="T87" fmla="*/ 30 h 115"/>
                  <a:gd name="T88" fmla="*/ 65 w 104"/>
                  <a:gd name="T89" fmla="*/ 30 h 115"/>
                  <a:gd name="T90" fmla="*/ 62 w 104"/>
                  <a:gd name="T91" fmla="*/ 28 h 115"/>
                  <a:gd name="T92" fmla="*/ 58 w 104"/>
                  <a:gd name="T93" fmla="*/ 27 h 115"/>
                  <a:gd name="T94" fmla="*/ 54 w 104"/>
                  <a:gd name="T95" fmla="*/ 26 h 115"/>
                  <a:gd name="T96" fmla="*/ 50 w 104"/>
                  <a:gd name="T97" fmla="*/ 26 h 115"/>
                  <a:gd name="T98" fmla="*/ 32 w 104"/>
                  <a:gd name="T99" fmla="*/ 26 h 115"/>
                  <a:gd name="T100" fmla="*/ 32 w 104"/>
                  <a:gd name="T101" fmla="*/ 60 h 115"/>
                  <a:gd name="T102" fmla="*/ 50 w 104"/>
                  <a:gd name="T103" fmla="*/ 60 h 115"/>
                  <a:gd name="T104" fmla="*/ 50 w 104"/>
                  <a:gd name="T105" fmla="*/ 60 h 115"/>
                  <a:gd name="T106" fmla="*/ 54 w 104"/>
                  <a:gd name="T107" fmla="*/ 60 h 115"/>
                  <a:gd name="T108" fmla="*/ 58 w 104"/>
                  <a:gd name="T109" fmla="*/ 59 h 115"/>
                  <a:gd name="T110" fmla="*/ 62 w 104"/>
                  <a:gd name="T111" fmla="*/ 58 h 115"/>
                  <a:gd name="T112" fmla="*/ 65 w 104"/>
                  <a:gd name="T113" fmla="*/ 56 h 115"/>
                  <a:gd name="T114" fmla="*/ 65 w 104"/>
                  <a:gd name="T115" fmla="*/ 56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04" h="115">
                    <a:moveTo>
                      <a:pt x="79" y="5"/>
                    </a:moveTo>
                    <a:lnTo>
                      <a:pt x="79" y="5"/>
                    </a:lnTo>
                    <a:lnTo>
                      <a:pt x="85" y="8"/>
                    </a:lnTo>
                    <a:lnTo>
                      <a:pt x="90" y="12"/>
                    </a:lnTo>
                    <a:lnTo>
                      <a:pt x="94" y="16"/>
                    </a:lnTo>
                    <a:lnTo>
                      <a:pt x="98" y="20"/>
                    </a:lnTo>
                    <a:lnTo>
                      <a:pt x="98" y="20"/>
                    </a:lnTo>
                    <a:lnTo>
                      <a:pt x="101" y="27"/>
                    </a:lnTo>
                    <a:lnTo>
                      <a:pt x="104" y="35"/>
                    </a:lnTo>
                    <a:lnTo>
                      <a:pt x="104" y="43"/>
                    </a:lnTo>
                    <a:lnTo>
                      <a:pt x="104" y="51"/>
                    </a:lnTo>
                    <a:lnTo>
                      <a:pt x="102" y="59"/>
                    </a:lnTo>
                    <a:lnTo>
                      <a:pt x="98" y="66"/>
                    </a:lnTo>
                    <a:lnTo>
                      <a:pt x="93" y="72"/>
                    </a:lnTo>
                    <a:lnTo>
                      <a:pt x="87" y="77"/>
                    </a:lnTo>
                    <a:lnTo>
                      <a:pt x="87" y="77"/>
                    </a:lnTo>
                    <a:lnTo>
                      <a:pt x="79" y="81"/>
                    </a:lnTo>
                    <a:lnTo>
                      <a:pt x="79" y="81"/>
                    </a:lnTo>
                    <a:lnTo>
                      <a:pt x="72" y="83"/>
                    </a:lnTo>
                    <a:lnTo>
                      <a:pt x="66" y="85"/>
                    </a:lnTo>
                    <a:lnTo>
                      <a:pt x="59" y="85"/>
                    </a:lnTo>
                    <a:lnTo>
                      <a:pt x="52" y="86"/>
                    </a:lnTo>
                    <a:lnTo>
                      <a:pt x="32" y="86"/>
                    </a:lnTo>
                    <a:lnTo>
                      <a:pt x="3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52" y="0"/>
                    </a:lnTo>
                    <a:lnTo>
                      <a:pt x="52" y="0"/>
                    </a:lnTo>
                    <a:lnTo>
                      <a:pt x="59" y="1"/>
                    </a:lnTo>
                    <a:lnTo>
                      <a:pt x="66" y="2"/>
                    </a:lnTo>
                    <a:lnTo>
                      <a:pt x="73" y="3"/>
                    </a:lnTo>
                    <a:lnTo>
                      <a:pt x="79" y="5"/>
                    </a:lnTo>
                    <a:lnTo>
                      <a:pt x="79" y="5"/>
                    </a:lnTo>
                    <a:close/>
                    <a:moveTo>
                      <a:pt x="65" y="56"/>
                    </a:moveTo>
                    <a:lnTo>
                      <a:pt x="65" y="56"/>
                    </a:lnTo>
                    <a:lnTo>
                      <a:pt x="67" y="53"/>
                    </a:lnTo>
                    <a:lnTo>
                      <a:pt x="69" y="50"/>
                    </a:lnTo>
                    <a:lnTo>
                      <a:pt x="70" y="46"/>
                    </a:lnTo>
                    <a:lnTo>
                      <a:pt x="70" y="43"/>
                    </a:lnTo>
                    <a:lnTo>
                      <a:pt x="70" y="43"/>
                    </a:lnTo>
                    <a:lnTo>
                      <a:pt x="70" y="39"/>
                    </a:lnTo>
                    <a:lnTo>
                      <a:pt x="69" y="36"/>
                    </a:lnTo>
                    <a:lnTo>
                      <a:pt x="67" y="33"/>
                    </a:lnTo>
                    <a:lnTo>
                      <a:pt x="65" y="30"/>
                    </a:lnTo>
                    <a:lnTo>
                      <a:pt x="65" y="30"/>
                    </a:lnTo>
                    <a:lnTo>
                      <a:pt x="62" y="28"/>
                    </a:lnTo>
                    <a:lnTo>
                      <a:pt x="58" y="27"/>
                    </a:lnTo>
                    <a:lnTo>
                      <a:pt x="54" y="26"/>
                    </a:lnTo>
                    <a:lnTo>
                      <a:pt x="50" y="26"/>
                    </a:lnTo>
                    <a:lnTo>
                      <a:pt x="32" y="26"/>
                    </a:lnTo>
                    <a:lnTo>
                      <a:pt x="32" y="60"/>
                    </a:lnTo>
                    <a:lnTo>
                      <a:pt x="50" y="60"/>
                    </a:lnTo>
                    <a:lnTo>
                      <a:pt x="50" y="60"/>
                    </a:lnTo>
                    <a:lnTo>
                      <a:pt x="54" y="60"/>
                    </a:lnTo>
                    <a:lnTo>
                      <a:pt x="58" y="59"/>
                    </a:lnTo>
                    <a:lnTo>
                      <a:pt x="62" y="58"/>
                    </a:lnTo>
                    <a:lnTo>
                      <a:pt x="65" y="56"/>
                    </a:lnTo>
                    <a:lnTo>
                      <a:pt x="65" y="5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22">
                <a:extLst>
                  <a:ext uri="{FF2B5EF4-FFF2-40B4-BE49-F238E27FC236}">
                    <a16:creationId xmlns:a16="http://schemas.microsoft.com/office/drawing/2014/main" id="{C71B0192-4360-41CA-90DE-2F33B8E0935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029954" y="1535113"/>
                <a:ext cx="74613" cy="90487"/>
              </a:xfrm>
              <a:custGeom>
                <a:avLst/>
                <a:gdLst>
                  <a:gd name="T0" fmla="*/ 93 w 93"/>
                  <a:gd name="T1" fmla="*/ 90 h 115"/>
                  <a:gd name="T2" fmla="*/ 93 w 93"/>
                  <a:gd name="T3" fmla="*/ 115 h 115"/>
                  <a:gd name="T4" fmla="*/ 0 w 93"/>
                  <a:gd name="T5" fmla="*/ 115 h 115"/>
                  <a:gd name="T6" fmla="*/ 0 w 93"/>
                  <a:gd name="T7" fmla="*/ 0 h 115"/>
                  <a:gd name="T8" fmla="*/ 91 w 93"/>
                  <a:gd name="T9" fmla="*/ 0 h 115"/>
                  <a:gd name="T10" fmla="*/ 91 w 93"/>
                  <a:gd name="T11" fmla="*/ 25 h 115"/>
                  <a:gd name="T12" fmla="*/ 32 w 93"/>
                  <a:gd name="T13" fmla="*/ 25 h 115"/>
                  <a:gd name="T14" fmla="*/ 32 w 93"/>
                  <a:gd name="T15" fmla="*/ 44 h 115"/>
                  <a:gd name="T16" fmla="*/ 83 w 93"/>
                  <a:gd name="T17" fmla="*/ 44 h 115"/>
                  <a:gd name="T18" fmla="*/ 83 w 93"/>
                  <a:gd name="T19" fmla="*/ 69 h 115"/>
                  <a:gd name="T20" fmla="*/ 32 w 93"/>
                  <a:gd name="T21" fmla="*/ 69 h 115"/>
                  <a:gd name="T22" fmla="*/ 32 w 93"/>
                  <a:gd name="T23" fmla="*/ 90 h 115"/>
                  <a:gd name="T24" fmla="*/ 93 w 93"/>
                  <a:gd name="T25" fmla="*/ 9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3" h="115">
                    <a:moveTo>
                      <a:pt x="93" y="90"/>
                    </a:moveTo>
                    <a:lnTo>
                      <a:pt x="93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91" y="0"/>
                    </a:lnTo>
                    <a:lnTo>
                      <a:pt x="91" y="25"/>
                    </a:lnTo>
                    <a:lnTo>
                      <a:pt x="32" y="25"/>
                    </a:lnTo>
                    <a:lnTo>
                      <a:pt x="32" y="44"/>
                    </a:lnTo>
                    <a:lnTo>
                      <a:pt x="83" y="44"/>
                    </a:lnTo>
                    <a:lnTo>
                      <a:pt x="83" y="69"/>
                    </a:lnTo>
                    <a:lnTo>
                      <a:pt x="32" y="69"/>
                    </a:lnTo>
                    <a:lnTo>
                      <a:pt x="32" y="90"/>
                    </a:lnTo>
                    <a:lnTo>
                      <a:pt x="93" y="9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23">
                <a:extLst>
                  <a:ext uri="{FF2B5EF4-FFF2-40B4-BE49-F238E27FC236}">
                    <a16:creationId xmlns:a16="http://schemas.microsoft.com/office/drawing/2014/main" id="{10118C53-19E3-4A73-91E3-04CDE9B0B46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122029" y="1535113"/>
                <a:ext cx="122238" cy="90487"/>
              </a:xfrm>
              <a:custGeom>
                <a:avLst/>
                <a:gdLst>
                  <a:gd name="T0" fmla="*/ 155 w 155"/>
                  <a:gd name="T1" fmla="*/ 0 h 115"/>
                  <a:gd name="T2" fmla="*/ 155 w 155"/>
                  <a:gd name="T3" fmla="*/ 115 h 115"/>
                  <a:gd name="T4" fmla="*/ 0 w 155"/>
                  <a:gd name="T5" fmla="*/ 115 h 115"/>
                  <a:gd name="T6" fmla="*/ 0 w 155"/>
                  <a:gd name="T7" fmla="*/ 0 h 115"/>
                  <a:gd name="T8" fmla="*/ 31 w 155"/>
                  <a:gd name="T9" fmla="*/ 0 h 115"/>
                  <a:gd name="T10" fmla="*/ 31 w 155"/>
                  <a:gd name="T11" fmla="*/ 90 h 115"/>
                  <a:gd name="T12" fmla="*/ 61 w 155"/>
                  <a:gd name="T13" fmla="*/ 90 h 115"/>
                  <a:gd name="T14" fmla="*/ 61 w 155"/>
                  <a:gd name="T15" fmla="*/ 0 h 115"/>
                  <a:gd name="T16" fmla="*/ 93 w 155"/>
                  <a:gd name="T17" fmla="*/ 0 h 115"/>
                  <a:gd name="T18" fmla="*/ 93 w 155"/>
                  <a:gd name="T19" fmla="*/ 90 h 115"/>
                  <a:gd name="T20" fmla="*/ 123 w 155"/>
                  <a:gd name="T21" fmla="*/ 90 h 115"/>
                  <a:gd name="T22" fmla="*/ 123 w 155"/>
                  <a:gd name="T23" fmla="*/ 0 h 115"/>
                  <a:gd name="T24" fmla="*/ 155 w 155"/>
                  <a:gd name="T25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5" h="115">
                    <a:moveTo>
                      <a:pt x="155" y="0"/>
                    </a:moveTo>
                    <a:lnTo>
                      <a:pt x="155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1" y="0"/>
                    </a:lnTo>
                    <a:lnTo>
                      <a:pt x="31" y="90"/>
                    </a:lnTo>
                    <a:lnTo>
                      <a:pt x="61" y="90"/>
                    </a:lnTo>
                    <a:lnTo>
                      <a:pt x="61" y="0"/>
                    </a:lnTo>
                    <a:lnTo>
                      <a:pt x="93" y="0"/>
                    </a:lnTo>
                    <a:lnTo>
                      <a:pt x="93" y="90"/>
                    </a:lnTo>
                    <a:lnTo>
                      <a:pt x="123" y="90"/>
                    </a:lnTo>
                    <a:lnTo>
                      <a:pt x="123" y="0"/>
                    </a:lnTo>
                    <a:lnTo>
                      <a:pt x="15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24">
                <a:extLst>
                  <a:ext uri="{FF2B5EF4-FFF2-40B4-BE49-F238E27FC236}">
                    <a16:creationId xmlns:a16="http://schemas.microsoft.com/office/drawing/2014/main" id="{D85CC570-A1D9-4DD3-B510-39DE2F86D61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268079" y="1535113"/>
                <a:ext cx="71438" cy="90487"/>
              </a:xfrm>
              <a:custGeom>
                <a:avLst/>
                <a:gdLst>
                  <a:gd name="T0" fmla="*/ 92 w 92"/>
                  <a:gd name="T1" fmla="*/ 90 h 115"/>
                  <a:gd name="T2" fmla="*/ 92 w 92"/>
                  <a:gd name="T3" fmla="*/ 115 h 115"/>
                  <a:gd name="T4" fmla="*/ 0 w 92"/>
                  <a:gd name="T5" fmla="*/ 115 h 115"/>
                  <a:gd name="T6" fmla="*/ 0 w 92"/>
                  <a:gd name="T7" fmla="*/ 0 h 115"/>
                  <a:gd name="T8" fmla="*/ 90 w 92"/>
                  <a:gd name="T9" fmla="*/ 0 h 115"/>
                  <a:gd name="T10" fmla="*/ 90 w 92"/>
                  <a:gd name="T11" fmla="*/ 25 h 115"/>
                  <a:gd name="T12" fmla="*/ 32 w 92"/>
                  <a:gd name="T13" fmla="*/ 25 h 115"/>
                  <a:gd name="T14" fmla="*/ 32 w 92"/>
                  <a:gd name="T15" fmla="*/ 44 h 115"/>
                  <a:gd name="T16" fmla="*/ 83 w 92"/>
                  <a:gd name="T17" fmla="*/ 44 h 115"/>
                  <a:gd name="T18" fmla="*/ 83 w 92"/>
                  <a:gd name="T19" fmla="*/ 69 h 115"/>
                  <a:gd name="T20" fmla="*/ 32 w 92"/>
                  <a:gd name="T21" fmla="*/ 69 h 115"/>
                  <a:gd name="T22" fmla="*/ 32 w 92"/>
                  <a:gd name="T23" fmla="*/ 90 h 115"/>
                  <a:gd name="T24" fmla="*/ 92 w 92"/>
                  <a:gd name="T25" fmla="*/ 9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2" h="115">
                    <a:moveTo>
                      <a:pt x="92" y="90"/>
                    </a:moveTo>
                    <a:lnTo>
                      <a:pt x="9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25"/>
                    </a:lnTo>
                    <a:lnTo>
                      <a:pt x="32" y="25"/>
                    </a:lnTo>
                    <a:lnTo>
                      <a:pt x="32" y="44"/>
                    </a:lnTo>
                    <a:lnTo>
                      <a:pt x="83" y="44"/>
                    </a:lnTo>
                    <a:lnTo>
                      <a:pt x="83" y="69"/>
                    </a:lnTo>
                    <a:lnTo>
                      <a:pt x="32" y="69"/>
                    </a:lnTo>
                    <a:lnTo>
                      <a:pt x="32" y="90"/>
                    </a:lnTo>
                    <a:lnTo>
                      <a:pt x="92" y="9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25">
                <a:extLst>
                  <a:ext uri="{FF2B5EF4-FFF2-40B4-BE49-F238E27FC236}">
                    <a16:creationId xmlns:a16="http://schemas.microsoft.com/office/drawing/2014/main" id="{D0BF0004-EF53-4BA9-9DC3-C705EFF55A4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358566" y="1535113"/>
                <a:ext cx="85725" cy="90487"/>
              </a:xfrm>
              <a:custGeom>
                <a:avLst/>
                <a:gdLst>
                  <a:gd name="T0" fmla="*/ 109 w 109"/>
                  <a:gd name="T1" fmla="*/ 0 h 115"/>
                  <a:gd name="T2" fmla="*/ 109 w 109"/>
                  <a:gd name="T3" fmla="*/ 115 h 115"/>
                  <a:gd name="T4" fmla="*/ 77 w 109"/>
                  <a:gd name="T5" fmla="*/ 115 h 115"/>
                  <a:gd name="T6" fmla="*/ 77 w 109"/>
                  <a:gd name="T7" fmla="*/ 71 h 115"/>
                  <a:gd name="T8" fmla="*/ 32 w 109"/>
                  <a:gd name="T9" fmla="*/ 71 h 115"/>
                  <a:gd name="T10" fmla="*/ 32 w 109"/>
                  <a:gd name="T11" fmla="*/ 115 h 115"/>
                  <a:gd name="T12" fmla="*/ 0 w 109"/>
                  <a:gd name="T13" fmla="*/ 115 h 115"/>
                  <a:gd name="T14" fmla="*/ 0 w 109"/>
                  <a:gd name="T15" fmla="*/ 0 h 115"/>
                  <a:gd name="T16" fmla="*/ 32 w 109"/>
                  <a:gd name="T17" fmla="*/ 0 h 115"/>
                  <a:gd name="T18" fmla="*/ 32 w 109"/>
                  <a:gd name="T19" fmla="*/ 43 h 115"/>
                  <a:gd name="T20" fmla="*/ 77 w 109"/>
                  <a:gd name="T21" fmla="*/ 43 h 115"/>
                  <a:gd name="T22" fmla="*/ 77 w 109"/>
                  <a:gd name="T23" fmla="*/ 0 h 115"/>
                  <a:gd name="T24" fmla="*/ 109 w 109"/>
                  <a:gd name="T25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9" h="115">
                    <a:moveTo>
                      <a:pt x="109" y="0"/>
                    </a:moveTo>
                    <a:lnTo>
                      <a:pt x="109" y="115"/>
                    </a:lnTo>
                    <a:lnTo>
                      <a:pt x="77" y="115"/>
                    </a:lnTo>
                    <a:lnTo>
                      <a:pt x="77" y="71"/>
                    </a:lnTo>
                    <a:lnTo>
                      <a:pt x="32" y="71"/>
                    </a:lnTo>
                    <a:lnTo>
                      <a:pt x="3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2" y="0"/>
                    </a:lnTo>
                    <a:lnTo>
                      <a:pt x="32" y="43"/>
                    </a:lnTo>
                    <a:lnTo>
                      <a:pt x="77" y="43"/>
                    </a:lnTo>
                    <a:lnTo>
                      <a:pt x="77" y="0"/>
                    </a:lnTo>
                    <a:lnTo>
                      <a:pt x="109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26">
                <a:extLst>
                  <a:ext uri="{FF2B5EF4-FFF2-40B4-BE49-F238E27FC236}">
                    <a16:creationId xmlns:a16="http://schemas.microsoft.com/office/drawing/2014/main" id="{FA17DC1B-AFBB-4D02-92F9-867CDC43DD5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466516" y="1535113"/>
                <a:ext cx="87313" cy="90487"/>
              </a:xfrm>
              <a:custGeom>
                <a:avLst/>
                <a:gdLst>
                  <a:gd name="T0" fmla="*/ 0 w 110"/>
                  <a:gd name="T1" fmla="*/ 0 h 115"/>
                  <a:gd name="T2" fmla="*/ 32 w 110"/>
                  <a:gd name="T3" fmla="*/ 0 h 115"/>
                  <a:gd name="T4" fmla="*/ 32 w 110"/>
                  <a:gd name="T5" fmla="*/ 68 h 115"/>
                  <a:gd name="T6" fmla="*/ 80 w 110"/>
                  <a:gd name="T7" fmla="*/ 0 h 115"/>
                  <a:gd name="T8" fmla="*/ 110 w 110"/>
                  <a:gd name="T9" fmla="*/ 0 h 115"/>
                  <a:gd name="T10" fmla="*/ 110 w 110"/>
                  <a:gd name="T11" fmla="*/ 115 h 115"/>
                  <a:gd name="T12" fmla="*/ 78 w 110"/>
                  <a:gd name="T13" fmla="*/ 115 h 115"/>
                  <a:gd name="T14" fmla="*/ 78 w 110"/>
                  <a:gd name="T15" fmla="*/ 48 h 115"/>
                  <a:gd name="T16" fmla="*/ 30 w 110"/>
                  <a:gd name="T17" fmla="*/ 115 h 115"/>
                  <a:gd name="T18" fmla="*/ 0 w 110"/>
                  <a:gd name="T19" fmla="*/ 115 h 115"/>
                  <a:gd name="T20" fmla="*/ 0 w 110"/>
                  <a:gd name="T21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0" h="115">
                    <a:moveTo>
                      <a:pt x="0" y="0"/>
                    </a:moveTo>
                    <a:lnTo>
                      <a:pt x="32" y="0"/>
                    </a:lnTo>
                    <a:lnTo>
                      <a:pt x="32" y="68"/>
                    </a:lnTo>
                    <a:lnTo>
                      <a:pt x="80" y="0"/>
                    </a:lnTo>
                    <a:lnTo>
                      <a:pt x="110" y="0"/>
                    </a:lnTo>
                    <a:lnTo>
                      <a:pt x="110" y="115"/>
                    </a:lnTo>
                    <a:lnTo>
                      <a:pt x="78" y="115"/>
                    </a:lnTo>
                    <a:lnTo>
                      <a:pt x="78" y="48"/>
                    </a:lnTo>
                    <a:lnTo>
                      <a:pt x="30" y="115"/>
                    </a:lnTo>
                    <a:lnTo>
                      <a:pt x="0" y="11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27">
                <a:extLst>
                  <a:ext uri="{FF2B5EF4-FFF2-40B4-BE49-F238E27FC236}">
                    <a16:creationId xmlns:a16="http://schemas.microsoft.com/office/drawing/2014/main" id="{F551E8D8-7F89-490F-A240-B533DED4740B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1571291" y="1535113"/>
                <a:ext cx="80963" cy="90487"/>
              </a:xfrm>
              <a:custGeom>
                <a:avLst/>
                <a:gdLst>
                  <a:gd name="T0" fmla="*/ 103 w 103"/>
                  <a:gd name="T1" fmla="*/ 0 h 115"/>
                  <a:gd name="T2" fmla="*/ 103 w 103"/>
                  <a:gd name="T3" fmla="*/ 115 h 115"/>
                  <a:gd name="T4" fmla="*/ 71 w 103"/>
                  <a:gd name="T5" fmla="*/ 115 h 115"/>
                  <a:gd name="T6" fmla="*/ 71 w 103"/>
                  <a:gd name="T7" fmla="*/ 87 h 115"/>
                  <a:gd name="T8" fmla="*/ 54 w 103"/>
                  <a:gd name="T9" fmla="*/ 87 h 115"/>
                  <a:gd name="T10" fmla="*/ 34 w 103"/>
                  <a:gd name="T11" fmla="*/ 115 h 115"/>
                  <a:gd name="T12" fmla="*/ 0 w 103"/>
                  <a:gd name="T13" fmla="*/ 115 h 115"/>
                  <a:gd name="T14" fmla="*/ 23 w 103"/>
                  <a:gd name="T15" fmla="*/ 82 h 115"/>
                  <a:gd name="T16" fmla="*/ 23 w 103"/>
                  <a:gd name="T17" fmla="*/ 82 h 115"/>
                  <a:gd name="T18" fmla="*/ 18 w 103"/>
                  <a:gd name="T19" fmla="*/ 79 h 115"/>
                  <a:gd name="T20" fmla="*/ 13 w 103"/>
                  <a:gd name="T21" fmla="*/ 76 h 115"/>
                  <a:gd name="T22" fmla="*/ 9 w 103"/>
                  <a:gd name="T23" fmla="*/ 72 h 115"/>
                  <a:gd name="T24" fmla="*/ 6 w 103"/>
                  <a:gd name="T25" fmla="*/ 67 h 115"/>
                  <a:gd name="T26" fmla="*/ 6 w 103"/>
                  <a:gd name="T27" fmla="*/ 67 h 115"/>
                  <a:gd name="T28" fmla="*/ 3 w 103"/>
                  <a:gd name="T29" fmla="*/ 62 h 115"/>
                  <a:gd name="T30" fmla="*/ 1 w 103"/>
                  <a:gd name="T31" fmla="*/ 57 h 115"/>
                  <a:gd name="T32" fmla="*/ 0 w 103"/>
                  <a:gd name="T33" fmla="*/ 51 h 115"/>
                  <a:gd name="T34" fmla="*/ 0 w 103"/>
                  <a:gd name="T35" fmla="*/ 44 h 115"/>
                  <a:gd name="T36" fmla="*/ 0 w 103"/>
                  <a:gd name="T37" fmla="*/ 44 h 115"/>
                  <a:gd name="T38" fmla="*/ 0 w 103"/>
                  <a:gd name="T39" fmla="*/ 38 h 115"/>
                  <a:gd name="T40" fmla="*/ 1 w 103"/>
                  <a:gd name="T41" fmla="*/ 32 h 115"/>
                  <a:gd name="T42" fmla="*/ 3 w 103"/>
                  <a:gd name="T43" fmla="*/ 26 h 115"/>
                  <a:gd name="T44" fmla="*/ 6 w 103"/>
                  <a:gd name="T45" fmla="*/ 21 h 115"/>
                  <a:gd name="T46" fmla="*/ 6 w 103"/>
                  <a:gd name="T47" fmla="*/ 21 h 115"/>
                  <a:gd name="T48" fmla="*/ 10 w 103"/>
                  <a:gd name="T49" fmla="*/ 16 h 115"/>
                  <a:gd name="T50" fmla="*/ 14 w 103"/>
                  <a:gd name="T51" fmla="*/ 12 h 115"/>
                  <a:gd name="T52" fmla="*/ 19 w 103"/>
                  <a:gd name="T53" fmla="*/ 8 h 115"/>
                  <a:gd name="T54" fmla="*/ 24 w 103"/>
                  <a:gd name="T55" fmla="*/ 6 h 115"/>
                  <a:gd name="T56" fmla="*/ 24 w 103"/>
                  <a:gd name="T57" fmla="*/ 6 h 115"/>
                  <a:gd name="T58" fmla="*/ 30 w 103"/>
                  <a:gd name="T59" fmla="*/ 3 h 115"/>
                  <a:gd name="T60" fmla="*/ 37 w 103"/>
                  <a:gd name="T61" fmla="*/ 2 h 115"/>
                  <a:gd name="T62" fmla="*/ 45 w 103"/>
                  <a:gd name="T63" fmla="*/ 1 h 115"/>
                  <a:gd name="T64" fmla="*/ 52 w 103"/>
                  <a:gd name="T65" fmla="*/ 1 h 115"/>
                  <a:gd name="T66" fmla="*/ 103 w 103"/>
                  <a:gd name="T67" fmla="*/ 0 h 115"/>
                  <a:gd name="T68" fmla="*/ 32 w 103"/>
                  <a:gd name="T69" fmla="*/ 43 h 115"/>
                  <a:gd name="T70" fmla="*/ 32 w 103"/>
                  <a:gd name="T71" fmla="*/ 43 h 115"/>
                  <a:gd name="T72" fmla="*/ 33 w 103"/>
                  <a:gd name="T73" fmla="*/ 48 h 115"/>
                  <a:gd name="T74" fmla="*/ 34 w 103"/>
                  <a:gd name="T75" fmla="*/ 51 h 115"/>
                  <a:gd name="T76" fmla="*/ 35 w 103"/>
                  <a:gd name="T77" fmla="*/ 54 h 115"/>
                  <a:gd name="T78" fmla="*/ 37 w 103"/>
                  <a:gd name="T79" fmla="*/ 57 h 115"/>
                  <a:gd name="T80" fmla="*/ 37 w 103"/>
                  <a:gd name="T81" fmla="*/ 57 h 115"/>
                  <a:gd name="T82" fmla="*/ 42 w 103"/>
                  <a:gd name="T83" fmla="*/ 59 h 115"/>
                  <a:gd name="T84" fmla="*/ 45 w 103"/>
                  <a:gd name="T85" fmla="*/ 61 h 115"/>
                  <a:gd name="T86" fmla="*/ 49 w 103"/>
                  <a:gd name="T87" fmla="*/ 62 h 115"/>
                  <a:gd name="T88" fmla="*/ 52 w 103"/>
                  <a:gd name="T89" fmla="*/ 62 h 115"/>
                  <a:gd name="T90" fmla="*/ 72 w 103"/>
                  <a:gd name="T91" fmla="*/ 62 h 115"/>
                  <a:gd name="T92" fmla="*/ 72 w 103"/>
                  <a:gd name="T93" fmla="*/ 26 h 115"/>
                  <a:gd name="T94" fmla="*/ 53 w 103"/>
                  <a:gd name="T95" fmla="*/ 26 h 115"/>
                  <a:gd name="T96" fmla="*/ 53 w 103"/>
                  <a:gd name="T97" fmla="*/ 26 h 115"/>
                  <a:gd name="T98" fmla="*/ 48 w 103"/>
                  <a:gd name="T99" fmla="*/ 26 h 115"/>
                  <a:gd name="T100" fmla="*/ 44 w 103"/>
                  <a:gd name="T101" fmla="*/ 27 h 115"/>
                  <a:gd name="T102" fmla="*/ 41 w 103"/>
                  <a:gd name="T103" fmla="*/ 28 h 115"/>
                  <a:gd name="T104" fmla="*/ 37 w 103"/>
                  <a:gd name="T105" fmla="*/ 30 h 115"/>
                  <a:gd name="T106" fmla="*/ 35 w 103"/>
                  <a:gd name="T107" fmla="*/ 32 h 115"/>
                  <a:gd name="T108" fmla="*/ 34 w 103"/>
                  <a:gd name="T109" fmla="*/ 35 h 115"/>
                  <a:gd name="T110" fmla="*/ 33 w 103"/>
                  <a:gd name="T111" fmla="*/ 39 h 115"/>
                  <a:gd name="T112" fmla="*/ 32 w 103"/>
                  <a:gd name="T113" fmla="*/ 43 h 115"/>
                  <a:gd name="T114" fmla="*/ 32 w 103"/>
                  <a:gd name="T115" fmla="*/ 43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03" h="115">
                    <a:moveTo>
                      <a:pt x="103" y="0"/>
                    </a:moveTo>
                    <a:lnTo>
                      <a:pt x="103" y="115"/>
                    </a:lnTo>
                    <a:lnTo>
                      <a:pt x="71" y="115"/>
                    </a:lnTo>
                    <a:lnTo>
                      <a:pt x="71" y="87"/>
                    </a:lnTo>
                    <a:lnTo>
                      <a:pt x="54" y="87"/>
                    </a:lnTo>
                    <a:lnTo>
                      <a:pt x="34" y="115"/>
                    </a:lnTo>
                    <a:lnTo>
                      <a:pt x="0" y="115"/>
                    </a:lnTo>
                    <a:lnTo>
                      <a:pt x="23" y="82"/>
                    </a:lnTo>
                    <a:lnTo>
                      <a:pt x="23" y="82"/>
                    </a:lnTo>
                    <a:lnTo>
                      <a:pt x="18" y="79"/>
                    </a:lnTo>
                    <a:lnTo>
                      <a:pt x="13" y="76"/>
                    </a:lnTo>
                    <a:lnTo>
                      <a:pt x="9" y="72"/>
                    </a:lnTo>
                    <a:lnTo>
                      <a:pt x="6" y="67"/>
                    </a:lnTo>
                    <a:lnTo>
                      <a:pt x="6" y="67"/>
                    </a:lnTo>
                    <a:lnTo>
                      <a:pt x="3" y="62"/>
                    </a:lnTo>
                    <a:lnTo>
                      <a:pt x="1" y="57"/>
                    </a:lnTo>
                    <a:lnTo>
                      <a:pt x="0" y="51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38"/>
                    </a:lnTo>
                    <a:lnTo>
                      <a:pt x="1" y="32"/>
                    </a:lnTo>
                    <a:lnTo>
                      <a:pt x="3" y="26"/>
                    </a:lnTo>
                    <a:lnTo>
                      <a:pt x="6" y="21"/>
                    </a:lnTo>
                    <a:lnTo>
                      <a:pt x="6" y="21"/>
                    </a:lnTo>
                    <a:lnTo>
                      <a:pt x="10" y="16"/>
                    </a:lnTo>
                    <a:lnTo>
                      <a:pt x="14" y="12"/>
                    </a:lnTo>
                    <a:lnTo>
                      <a:pt x="19" y="8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30" y="3"/>
                    </a:lnTo>
                    <a:lnTo>
                      <a:pt x="37" y="2"/>
                    </a:lnTo>
                    <a:lnTo>
                      <a:pt x="45" y="1"/>
                    </a:lnTo>
                    <a:lnTo>
                      <a:pt x="52" y="1"/>
                    </a:lnTo>
                    <a:lnTo>
                      <a:pt x="103" y="0"/>
                    </a:lnTo>
                    <a:close/>
                    <a:moveTo>
                      <a:pt x="32" y="43"/>
                    </a:moveTo>
                    <a:lnTo>
                      <a:pt x="32" y="43"/>
                    </a:lnTo>
                    <a:lnTo>
                      <a:pt x="33" y="48"/>
                    </a:lnTo>
                    <a:lnTo>
                      <a:pt x="34" y="51"/>
                    </a:lnTo>
                    <a:lnTo>
                      <a:pt x="35" y="54"/>
                    </a:lnTo>
                    <a:lnTo>
                      <a:pt x="37" y="57"/>
                    </a:lnTo>
                    <a:lnTo>
                      <a:pt x="37" y="57"/>
                    </a:lnTo>
                    <a:lnTo>
                      <a:pt x="42" y="59"/>
                    </a:lnTo>
                    <a:lnTo>
                      <a:pt x="45" y="61"/>
                    </a:lnTo>
                    <a:lnTo>
                      <a:pt x="49" y="62"/>
                    </a:lnTo>
                    <a:lnTo>
                      <a:pt x="52" y="62"/>
                    </a:lnTo>
                    <a:lnTo>
                      <a:pt x="72" y="62"/>
                    </a:lnTo>
                    <a:lnTo>
                      <a:pt x="72" y="26"/>
                    </a:lnTo>
                    <a:lnTo>
                      <a:pt x="53" y="26"/>
                    </a:lnTo>
                    <a:lnTo>
                      <a:pt x="53" y="26"/>
                    </a:lnTo>
                    <a:lnTo>
                      <a:pt x="48" y="26"/>
                    </a:lnTo>
                    <a:lnTo>
                      <a:pt x="44" y="27"/>
                    </a:lnTo>
                    <a:lnTo>
                      <a:pt x="41" y="28"/>
                    </a:lnTo>
                    <a:lnTo>
                      <a:pt x="37" y="30"/>
                    </a:lnTo>
                    <a:lnTo>
                      <a:pt x="35" y="32"/>
                    </a:lnTo>
                    <a:lnTo>
                      <a:pt x="34" y="35"/>
                    </a:lnTo>
                    <a:lnTo>
                      <a:pt x="33" y="39"/>
                    </a:lnTo>
                    <a:lnTo>
                      <a:pt x="32" y="43"/>
                    </a:lnTo>
                    <a:lnTo>
                      <a:pt x="32" y="4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74" name="Group 73">
              <a:extLst>
                <a:ext uri="{FF2B5EF4-FFF2-40B4-BE49-F238E27FC236}">
                  <a16:creationId xmlns:a16="http://schemas.microsoft.com/office/drawing/2014/main" id="{D87C9D35-2444-4861-A63C-A1512154F239}"/>
                </a:ext>
              </a:extLst>
            </p:cNvPr>
            <p:cNvGrpSpPr/>
            <p:nvPr userDrawn="1"/>
          </p:nvGrpSpPr>
          <p:grpSpPr>
            <a:xfrm>
              <a:off x="10332720" y="658368"/>
              <a:ext cx="670092" cy="617763"/>
              <a:chOff x="10301291" y="611188"/>
              <a:chExt cx="731838" cy="674687"/>
            </a:xfrm>
          </p:grpSpPr>
          <p:sp>
            <p:nvSpPr>
              <p:cNvPr id="75" name="Freeform 28">
                <a:extLst>
                  <a:ext uri="{FF2B5EF4-FFF2-40B4-BE49-F238E27FC236}">
                    <a16:creationId xmlns:a16="http://schemas.microsoft.com/office/drawing/2014/main" id="{06DE2FD0-C4C1-4E15-8ED7-BEFC075B4CF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301291" y="611188"/>
                <a:ext cx="731838" cy="674687"/>
              </a:xfrm>
              <a:custGeom>
                <a:avLst/>
                <a:gdLst>
                  <a:gd name="T0" fmla="*/ 922 w 922"/>
                  <a:gd name="T1" fmla="*/ 0 h 850"/>
                  <a:gd name="T2" fmla="*/ 922 w 922"/>
                  <a:gd name="T3" fmla="*/ 850 h 850"/>
                  <a:gd name="T4" fmla="*/ 0 w 922"/>
                  <a:gd name="T5" fmla="*/ 850 h 850"/>
                  <a:gd name="T6" fmla="*/ 922 w 922"/>
                  <a:gd name="T7" fmla="*/ 0 h 8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22" h="850">
                    <a:moveTo>
                      <a:pt x="922" y="0"/>
                    </a:moveTo>
                    <a:lnTo>
                      <a:pt x="922" y="850"/>
                    </a:lnTo>
                    <a:lnTo>
                      <a:pt x="0" y="850"/>
                    </a:lnTo>
                    <a:lnTo>
                      <a:pt x="922" y="0"/>
                    </a:lnTo>
                    <a:close/>
                  </a:path>
                </a:pathLst>
              </a:custGeom>
              <a:solidFill>
                <a:srgbClr val="46AC4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29">
                <a:extLst>
                  <a:ext uri="{FF2B5EF4-FFF2-40B4-BE49-F238E27FC236}">
                    <a16:creationId xmlns:a16="http://schemas.microsoft.com/office/drawing/2014/main" id="{AC5779A3-AED7-42F1-BC5E-F3BD42DA5E7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877554" y="611188"/>
                <a:ext cx="155575" cy="674687"/>
              </a:xfrm>
              <a:custGeom>
                <a:avLst/>
                <a:gdLst>
                  <a:gd name="T0" fmla="*/ 196 w 196"/>
                  <a:gd name="T1" fmla="*/ 0 h 850"/>
                  <a:gd name="T2" fmla="*/ 196 w 196"/>
                  <a:gd name="T3" fmla="*/ 850 h 850"/>
                  <a:gd name="T4" fmla="*/ 0 w 196"/>
                  <a:gd name="T5" fmla="*/ 850 h 850"/>
                  <a:gd name="T6" fmla="*/ 0 w 196"/>
                  <a:gd name="T7" fmla="*/ 181 h 850"/>
                  <a:gd name="T8" fmla="*/ 196 w 196"/>
                  <a:gd name="T9" fmla="*/ 0 h 8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6" h="850">
                    <a:moveTo>
                      <a:pt x="196" y="0"/>
                    </a:moveTo>
                    <a:lnTo>
                      <a:pt x="196" y="850"/>
                    </a:lnTo>
                    <a:lnTo>
                      <a:pt x="0" y="850"/>
                    </a:lnTo>
                    <a:lnTo>
                      <a:pt x="0" y="181"/>
                    </a:lnTo>
                    <a:lnTo>
                      <a:pt x="196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30">
                <a:extLst>
                  <a:ext uri="{FF2B5EF4-FFF2-40B4-BE49-F238E27FC236}">
                    <a16:creationId xmlns:a16="http://schemas.microsoft.com/office/drawing/2014/main" id="{209CECF0-513E-4D19-B260-227F93067292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301291" y="625475"/>
                <a:ext cx="493713" cy="660400"/>
              </a:xfrm>
              <a:custGeom>
                <a:avLst/>
                <a:gdLst>
                  <a:gd name="T0" fmla="*/ 339 w 622"/>
                  <a:gd name="T1" fmla="*/ 302 h 833"/>
                  <a:gd name="T2" fmla="*/ 366 w 622"/>
                  <a:gd name="T3" fmla="*/ 303 h 833"/>
                  <a:gd name="T4" fmla="*/ 419 w 622"/>
                  <a:gd name="T5" fmla="*/ 309 h 833"/>
                  <a:gd name="T6" fmla="*/ 447 w 622"/>
                  <a:gd name="T7" fmla="*/ 315 h 833"/>
                  <a:gd name="T8" fmla="*/ 493 w 622"/>
                  <a:gd name="T9" fmla="*/ 332 h 833"/>
                  <a:gd name="T10" fmla="*/ 536 w 622"/>
                  <a:gd name="T11" fmla="*/ 358 h 833"/>
                  <a:gd name="T12" fmla="*/ 546 w 622"/>
                  <a:gd name="T13" fmla="*/ 366 h 833"/>
                  <a:gd name="T14" fmla="*/ 564 w 622"/>
                  <a:gd name="T15" fmla="*/ 383 h 833"/>
                  <a:gd name="T16" fmla="*/ 580 w 622"/>
                  <a:gd name="T17" fmla="*/ 404 h 833"/>
                  <a:gd name="T18" fmla="*/ 594 w 622"/>
                  <a:gd name="T19" fmla="*/ 428 h 833"/>
                  <a:gd name="T20" fmla="*/ 600 w 622"/>
                  <a:gd name="T21" fmla="*/ 440 h 833"/>
                  <a:gd name="T22" fmla="*/ 609 w 622"/>
                  <a:gd name="T23" fmla="*/ 468 h 833"/>
                  <a:gd name="T24" fmla="*/ 616 w 622"/>
                  <a:gd name="T25" fmla="*/ 500 h 833"/>
                  <a:gd name="T26" fmla="*/ 620 w 622"/>
                  <a:gd name="T27" fmla="*/ 532 h 833"/>
                  <a:gd name="T28" fmla="*/ 622 w 622"/>
                  <a:gd name="T29" fmla="*/ 568 h 833"/>
                  <a:gd name="T30" fmla="*/ 621 w 622"/>
                  <a:gd name="T31" fmla="*/ 586 h 833"/>
                  <a:gd name="T32" fmla="*/ 619 w 622"/>
                  <a:gd name="T33" fmla="*/ 620 h 833"/>
                  <a:gd name="T34" fmla="*/ 613 w 622"/>
                  <a:gd name="T35" fmla="*/ 653 h 833"/>
                  <a:gd name="T36" fmla="*/ 605 w 622"/>
                  <a:gd name="T37" fmla="*/ 682 h 833"/>
                  <a:gd name="T38" fmla="*/ 600 w 622"/>
                  <a:gd name="T39" fmla="*/ 695 h 833"/>
                  <a:gd name="T40" fmla="*/ 587 w 622"/>
                  <a:gd name="T41" fmla="*/ 720 h 833"/>
                  <a:gd name="T42" fmla="*/ 573 w 622"/>
                  <a:gd name="T43" fmla="*/ 742 h 833"/>
                  <a:gd name="T44" fmla="*/ 555 w 622"/>
                  <a:gd name="T45" fmla="*/ 761 h 833"/>
                  <a:gd name="T46" fmla="*/ 536 w 622"/>
                  <a:gd name="T47" fmla="*/ 779 h 833"/>
                  <a:gd name="T48" fmla="*/ 515 w 622"/>
                  <a:gd name="T49" fmla="*/ 792 h 833"/>
                  <a:gd name="T50" fmla="*/ 470 w 622"/>
                  <a:gd name="T51" fmla="*/ 813 h 833"/>
                  <a:gd name="T52" fmla="*/ 447 w 622"/>
                  <a:gd name="T53" fmla="*/ 820 h 833"/>
                  <a:gd name="T54" fmla="*/ 392 w 622"/>
                  <a:gd name="T55" fmla="*/ 830 h 833"/>
                  <a:gd name="T56" fmla="*/ 338 w 622"/>
                  <a:gd name="T57" fmla="*/ 833 h 833"/>
                  <a:gd name="T58" fmla="*/ 0 w 622"/>
                  <a:gd name="T59" fmla="*/ 0 h 833"/>
                  <a:gd name="T60" fmla="*/ 558 w 622"/>
                  <a:gd name="T61" fmla="*/ 187 h 833"/>
                  <a:gd name="T62" fmla="*/ 187 w 622"/>
                  <a:gd name="T63" fmla="*/ 302 h 833"/>
                  <a:gd name="T64" fmla="*/ 338 w 622"/>
                  <a:gd name="T65" fmla="*/ 661 h 833"/>
                  <a:gd name="T66" fmla="*/ 349 w 622"/>
                  <a:gd name="T67" fmla="*/ 660 h 833"/>
                  <a:gd name="T68" fmla="*/ 368 w 622"/>
                  <a:gd name="T69" fmla="*/ 658 h 833"/>
                  <a:gd name="T70" fmla="*/ 384 w 622"/>
                  <a:gd name="T71" fmla="*/ 652 h 833"/>
                  <a:gd name="T72" fmla="*/ 397 w 622"/>
                  <a:gd name="T73" fmla="*/ 644 h 833"/>
                  <a:gd name="T74" fmla="*/ 408 w 622"/>
                  <a:gd name="T75" fmla="*/ 634 h 833"/>
                  <a:gd name="T76" fmla="*/ 416 w 622"/>
                  <a:gd name="T77" fmla="*/ 620 h 833"/>
                  <a:gd name="T78" fmla="*/ 422 w 622"/>
                  <a:gd name="T79" fmla="*/ 604 h 833"/>
                  <a:gd name="T80" fmla="*/ 424 w 622"/>
                  <a:gd name="T81" fmla="*/ 586 h 833"/>
                  <a:gd name="T82" fmla="*/ 425 w 622"/>
                  <a:gd name="T83" fmla="*/ 575 h 833"/>
                  <a:gd name="T84" fmla="*/ 423 w 622"/>
                  <a:gd name="T85" fmla="*/ 556 h 833"/>
                  <a:gd name="T86" fmla="*/ 419 w 622"/>
                  <a:gd name="T87" fmla="*/ 539 h 833"/>
                  <a:gd name="T88" fmla="*/ 413 w 622"/>
                  <a:gd name="T89" fmla="*/ 524 h 833"/>
                  <a:gd name="T90" fmla="*/ 403 w 622"/>
                  <a:gd name="T91" fmla="*/ 512 h 833"/>
                  <a:gd name="T92" fmla="*/ 391 w 622"/>
                  <a:gd name="T93" fmla="*/ 503 h 833"/>
                  <a:gd name="T94" fmla="*/ 376 w 622"/>
                  <a:gd name="T95" fmla="*/ 497 h 833"/>
                  <a:gd name="T96" fmla="*/ 358 w 622"/>
                  <a:gd name="T97" fmla="*/ 493 h 833"/>
                  <a:gd name="T98" fmla="*/ 338 w 622"/>
                  <a:gd name="T99" fmla="*/ 491 h 833"/>
                  <a:gd name="T100" fmla="*/ 187 w 622"/>
                  <a:gd name="T101" fmla="*/ 661 h 8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622" h="833">
                    <a:moveTo>
                      <a:pt x="187" y="302"/>
                    </a:moveTo>
                    <a:lnTo>
                      <a:pt x="339" y="302"/>
                    </a:lnTo>
                    <a:lnTo>
                      <a:pt x="339" y="302"/>
                    </a:lnTo>
                    <a:lnTo>
                      <a:pt x="366" y="303"/>
                    </a:lnTo>
                    <a:lnTo>
                      <a:pt x="393" y="305"/>
                    </a:lnTo>
                    <a:lnTo>
                      <a:pt x="419" y="309"/>
                    </a:lnTo>
                    <a:lnTo>
                      <a:pt x="447" y="315"/>
                    </a:lnTo>
                    <a:lnTo>
                      <a:pt x="447" y="315"/>
                    </a:lnTo>
                    <a:lnTo>
                      <a:pt x="471" y="323"/>
                    </a:lnTo>
                    <a:lnTo>
                      <a:pt x="493" y="332"/>
                    </a:lnTo>
                    <a:lnTo>
                      <a:pt x="515" y="345"/>
                    </a:lnTo>
                    <a:lnTo>
                      <a:pt x="536" y="358"/>
                    </a:lnTo>
                    <a:lnTo>
                      <a:pt x="536" y="358"/>
                    </a:lnTo>
                    <a:lnTo>
                      <a:pt x="546" y="366"/>
                    </a:lnTo>
                    <a:lnTo>
                      <a:pt x="555" y="374"/>
                    </a:lnTo>
                    <a:lnTo>
                      <a:pt x="564" y="383"/>
                    </a:lnTo>
                    <a:lnTo>
                      <a:pt x="573" y="393"/>
                    </a:lnTo>
                    <a:lnTo>
                      <a:pt x="580" y="404"/>
                    </a:lnTo>
                    <a:lnTo>
                      <a:pt x="587" y="415"/>
                    </a:lnTo>
                    <a:lnTo>
                      <a:pt x="594" y="428"/>
                    </a:lnTo>
                    <a:lnTo>
                      <a:pt x="600" y="440"/>
                    </a:lnTo>
                    <a:lnTo>
                      <a:pt x="600" y="440"/>
                    </a:lnTo>
                    <a:lnTo>
                      <a:pt x="605" y="454"/>
                    </a:lnTo>
                    <a:lnTo>
                      <a:pt x="609" y="468"/>
                    </a:lnTo>
                    <a:lnTo>
                      <a:pt x="613" y="484"/>
                    </a:lnTo>
                    <a:lnTo>
                      <a:pt x="616" y="500"/>
                    </a:lnTo>
                    <a:lnTo>
                      <a:pt x="619" y="516"/>
                    </a:lnTo>
                    <a:lnTo>
                      <a:pt x="620" y="532"/>
                    </a:lnTo>
                    <a:lnTo>
                      <a:pt x="621" y="550"/>
                    </a:lnTo>
                    <a:lnTo>
                      <a:pt x="622" y="568"/>
                    </a:lnTo>
                    <a:lnTo>
                      <a:pt x="622" y="568"/>
                    </a:lnTo>
                    <a:lnTo>
                      <a:pt x="621" y="586"/>
                    </a:lnTo>
                    <a:lnTo>
                      <a:pt x="620" y="603"/>
                    </a:lnTo>
                    <a:lnTo>
                      <a:pt x="619" y="620"/>
                    </a:lnTo>
                    <a:lnTo>
                      <a:pt x="616" y="637"/>
                    </a:lnTo>
                    <a:lnTo>
                      <a:pt x="613" y="653"/>
                    </a:lnTo>
                    <a:lnTo>
                      <a:pt x="609" y="668"/>
                    </a:lnTo>
                    <a:lnTo>
                      <a:pt x="605" y="682"/>
                    </a:lnTo>
                    <a:lnTo>
                      <a:pt x="600" y="695"/>
                    </a:lnTo>
                    <a:lnTo>
                      <a:pt x="600" y="695"/>
                    </a:lnTo>
                    <a:lnTo>
                      <a:pt x="594" y="708"/>
                    </a:lnTo>
                    <a:lnTo>
                      <a:pt x="587" y="720"/>
                    </a:lnTo>
                    <a:lnTo>
                      <a:pt x="580" y="732"/>
                    </a:lnTo>
                    <a:lnTo>
                      <a:pt x="573" y="742"/>
                    </a:lnTo>
                    <a:lnTo>
                      <a:pt x="564" y="752"/>
                    </a:lnTo>
                    <a:lnTo>
                      <a:pt x="555" y="761"/>
                    </a:lnTo>
                    <a:lnTo>
                      <a:pt x="546" y="771"/>
                    </a:lnTo>
                    <a:lnTo>
                      <a:pt x="536" y="779"/>
                    </a:lnTo>
                    <a:lnTo>
                      <a:pt x="536" y="779"/>
                    </a:lnTo>
                    <a:lnTo>
                      <a:pt x="515" y="792"/>
                    </a:lnTo>
                    <a:lnTo>
                      <a:pt x="493" y="804"/>
                    </a:lnTo>
                    <a:lnTo>
                      <a:pt x="470" y="813"/>
                    </a:lnTo>
                    <a:lnTo>
                      <a:pt x="447" y="820"/>
                    </a:lnTo>
                    <a:lnTo>
                      <a:pt x="447" y="820"/>
                    </a:lnTo>
                    <a:lnTo>
                      <a:pt x="419" y="826"/>
                    </a:lnTo>
                    <a:lnTo>
                      <a:pt x="392" y="830"/>
                    </a:lnTo>
                    <a:lnTo>
                      <a:pt x="365" y="833"/>
                    </a:lnTo>
                    <a:lnTo>
                      <a:pt x="338" y="833"/>
                    </a:lnTo>
                    <a:lnTo>
                      <a:pt x="0" y="833"/>
                    </a:lnTo>
                    <a:lnTo>
                      <a:pt x="0" y="0"/>
                    </a:lnTo>
                    <a:lnTo>
                      <a:pt x="558" y="0"/>
                    </a:lnTo>
                    <a:lnTo>
                      <a:pt x="558" y="187"/>
                    </a:lnTo>
                    <a:lnTo>
                      <a:pt x="187" y="187"/>
                    </a:lnTo>
                    <a:lnTo>
                      <a:pt x="187" y="302"/>
                    </a:lnTo>
                    <a:close/>
                    <a:moveTo>
                      <a:pt x="187" y="661"/>
                    </a:moveTo>
                    <a:lnTo>
                      <a:pt x="338" y="661"/>
                    </a:lnTo>
                    <a:lnTo>
                      <a:pt x="338" y="661"/>
                    </a:lnTo>
                    <a:lnTo>
                      <a:pt x="349" y="660"/>
                    </a:lnTo>
                    <a:lnTo>
                      <a:pt x="358" y="659"/>
                    </a:lnTo>
                    <a:lnTo>
                      <a:pt x="368" y="658"/>
                    </a:lnTo>
                    <a:lnTo>
                      <a:pt x="376" y="655"/>
                    </a:lnTo>
                    <a:lnTo>
                      <a:pt x="384" y="652"/>
                    </a:lnTo>
                    <a:lnTo>
                      <a:pt x="391" y="649"/>
                    </a:lnTo>
                    <a:lnTo>
                      <a:pt x="397" y="644"/>
                    </a:lnTo>
                    <a:lnTo>
                      <a:pt x="403" y="640"/>
                    </a:lnTo>
                    <a:lnTo>
                      <a:pt x="408" y="634"/>
                    </a:lnTo>
                    <a:lnTo>
                      <a:pt x="413" y="628"/>
                    </a:lnTo>
                    <a:lnTo>
                      <a:pt x="416" y="620"/>
                    </a:lnTo>
                    <a:lnTo>
                      <a:pt x="419" y="612"/>
                    </a:lnTo>
                    <a:lnTo>
                      <a:pt x="422" y="604"/>
                    </a:lnTo>
                    <a:lnTo>
                      <a:pt x="423" y="595"/>
                    </a:lnTo>
                    <a:lnTo>
                      <a:pt x="424" y="586"/>
                    </a:lnTo>
                    <a:lnTo>
                      <a:pt x="425" y="575"/>
                    </a:lnTo>
                    <a:lnTo>
                      <a:pt x="425" y="575"/>
                    </a:lnTo>
                    <a:lnTo>
                      <a:pt x="424" y="565"/>
                    </a:lnTo>
                    <a:lnTo>
                      <a:pt x="423" y="556"/>
                    </a:lnTo>
                    <a:lnTo>
                      <a:pt x="422" y="547"/>
                    </a:lnTo>
                    <a:lnTo>
                      <a:pt x="419" y="539"/>
                    </a:lnTo>
                    <a:lnTo>
                      <a:pt x="416" y="531"/>
                    </a:lnTo>
                    <a:lnTo>
                      <a:pt x="413" y="524"/>
                    </a:lnTo>
                    <a:lnTo>
                      <a:pt x="408" y="518"/>
                    </a:lnTo>
                    <a:lnTo>
                      <a:pt x="403" y="512"/>
                    </a:lnTo>
                    <a:lnTo>
                      <a:pt x="397" y="507"/>
                    </a:lnTo>
                    <a:lnTo>
                      <a:pt x="391" y="503"/>
                    </a:lnTo>
                    <a:lnTo>
                      <a:pt x="384" y="500"/>
                    </a:lnTo>
                    <a:lnTo>
                      <a:pt x="376" y="497"/>
                    </a:lnTo>
                    <a:lnTo>
                      <a:pt x="368" y="494"/>
                    </a:lnTo>
                    <a:lnTo>
                      <a:pt x="358" y="493"/>
                    </a:lnTo>
                    <a:lnTo>
                      <a:pt x="349" y="492"/>
                    </a:lnTo>
                    <a:lnTo>
                      <a:pt x="338" y="491"/>
                    </a:lnTo>
                    <a:lnTo>
                      <a:pt x="187" y="491"/>
                    </a:lnTo>
                    <a:lnTo>
                      <a:pt x="187" y="66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36583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5123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-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AB6F1558-0A2C-46B0-BF58-165953AD802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87692" y="2081378"/>
            <a:ext cx="5292000" cy="1800000"/>
          </a:xfrm>
        </p:spPr>
        <p:txBody>
          <a:bodyPr lIns="90000" tIns="46800" rIns="90000" bIns="46800"/>
          <a:lstStyle>
            <a:lvl1pPr marL="0" indent="0">
              <a:buNone/>
              <a:defRPr lang="en-US" sz="2400" dirty="0" smtClean="0">
                <a:latin typeface="Georgia" panose="02040502050405020303" pitchFamily="18" charset="0"/>
              </a:defRPr>
            </a:lvl1pPr>
          </a:lstStyle>
          <a:p>
            <a:pPr marL="267449" lvl="0" indent="-267449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3DF5A0E3-BE8B-4B58-957D-78F80D0E1E0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744534" y="4056459"/>
            <a:ext cx="3906686" cy="297677"/>
          </a:xfrm>
        </p:spPr>
        <p:txBody>
          <a:bodyPr lIns="90000" tIns="46800" rIns="90000" bIns="46800"/>
          <a:lstStyle>
            <a:lvl1pPr marL="0" indent="0" algn="l" defTabSz="685767" rtl="0" eaLnBrk="1" latinLnBrk="0" hangingPunct="1">
              <a:spcBef>
                <a:spcPts val="0"/>
              </a:spcBef>
              <a:spcAft>
                <a:spcPts val="452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200" b="1" kern="1200" dirty="0" smtClean="0">
                <a:solidFill>
                  <a:schemeClr val="tx2"/>
                </a:solidFill>
                <a:latin typeface="Montserrat" pitchFamily="2" charset="77"/>
                <a:ea typeface="+mn-ea"/>
                <a:cs typeface="+mn-cs"/>
              </a:defRPr>
            </a:lvl1pPr>
            <a:lvl2pPr marL="267449" indent="0">
              <a:buNone/>
              <a:defRPr lang="en-US" sz="1500" smtClean="0">
                <a:latin typeface="+mn-lt"/>
              </a:defRPr>
            </a:lvl2pPr>
            <a:lvl3pPr>
              <a:defRPr lang="en-US" sz="1351" smtClean="0">
                <a:latin typeface="+mn-lt"/>
              </a:defRPr>
            </a:lvl3pPr>
            <a:lvl4pPr>
              <a:defRPr lang="en-US" sz="1200" smtClean="0">
                <a:latin typeface="+mn-lt"/>
              </a:defRPr>
            </a:lvl4pPr>
            <a:lvl5pPr>
              <a:defRPr lang="en-IN" sz="12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Name Surnam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8A9B9EE1-551A-411E-9AB4-D5168806017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44534" y="4375897"/>
            <a:ext cx="3906686" cy="297678"/>
          </a:xfrm>
        </p:spPr>
        <p:txBody>
          <a:bodyPr lIns="90000" tIns="46800" rIns="90000" bIns="46800"/>
          <a:lstStyle>
            <a:lvl1pPr marL="0" indent="0" algn="l" defTabSz="685767" rtl="0" eaLnBrk="1" latinLnBrk="0" hangingPunct="1">
              <a:spcBef>
                <a:spcPts val="0"/>
              </a:spcBef>
              <a:spcAft>
                <a:spcPts val="452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67449" indent="0">
              <a:buNone/>
              <a:defRPr lang="en-US" sz="1500" smtClean="0">
                <a:latin typeface="+mn-lt"/>
              </a:defRPr>
            </a:lvl2pPr>
            <a:lvl3pPr>
              <a:defRPr lang="en-US" sz="1351" smtClean="0">
                <a:latin typeface="+mn-lt"/>
              </a:defRPr>
            </a:lvl3pPr>
            <a:lvl4pPr>
              <a:defRPr lang="en-US" sz="1200" smtClean="0">
                <a:latin typeface="+mn-lt"/>
              </a:defRPr>
            </a:lvl4pPr>
            <a:lvl5pPr>
              <a:defRPr lang="en-IN" sz="12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Job Title</a:t>
            </a:r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8FA98821-8CC1-4178-9006-E9F9D4DBBA53}"/>
              </a:ext>
            </a:extLst>
          </p:cNvPr>
          <p:cNvSpPr txBox="1">
            <a:spLocks/>
          </p:cNvSpPr>
          <p:nvPr userDrawn="1"/>
        </p:nvSpPr>
        <p:spPr>
          <a:xfrm rot="10800000">
            <a:off x="2040716" y="1961800"/>
            <a:ext cx="846976" cy="882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2000" dirty="0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  <p:grpSp>
        <p:nvGrpSpPr>
          <p:cNvPr id="18" name="Группа 17">
            <a:extLst>
              <a:ext uri="{FF2B5EF4-FFF2-40B4-BE49-F238E27FC236}">
                <a16:creationId xmlns:a16="http://schemas.microsoft.com/office/drawing/2014/main" id="{C5BEB29B-EDA5-42BB-B2FE-FF78582646DE}"/>
              </a:ext>
            </a:extLst>
          </p:cNvPr>
          <p:cNvGrpSpPr/>
          <p:nvPr userDrawn="1"/>
        </p:nvGrpSpPr>
        <p:grpSpPr>
          <a:xfrm>
            <a:off x="2887692" y="3867059"/>
            <a:ext cx="5292000" cy="715774"/>
            <a:chOff x="1709327" y="4312446"/>
            <a:chExt cx="5292000" cy="715774"/>
          </a:xfrm>
        </p:grpSpPr>
        <p:cxnSp>
          <p:nvCxnSpPr>
            <p:cNvPr id="20" name="Прямая соединительная линия 19">
              <a:extLst>
                <a:ext uri="{FF2B5EF4-FFF2-40B4-BE49-F238E27FC236}">
                  <a16:creationId xmlns:a16="http://schemas.microsoft.com/office/drawing/2014/main" id="{A26CD23B-8007-4B1C-995E-36412F128B3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709327" y="4334079"/>
              <a:ext cx="2935234" cy="0"/>
            </a:xfrm>
            <a:prstGeom prst="line">
              <a:avLst/>
            </a:prstGeom>
            <a:ln w="3810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Прямая соединительная линия 20">
              <a:extLst>
                <a:ext uri="{FF2B5EF4-FFF2-40B4-BE49-F238E27FC236}">
                  <a16:creationId xmlns:a16="http://schemas.microsoft.com/office/drawing/2014/main" id="{84AF586E-DF15-4BBE-806D-C27D1F8068B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631861" y="4326765"/>
              <a:ext cx="720682" cy="682954"/>
            </a:xfrm>
            <a:prstGeom prst="line">
              <a:avLst/>
            </a:prstGeom>
            <a:ln w="3810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Прямая соединительная линия 21">
              <a:extLst>
                <a:ext uri="{FF2B5EF4-FFF2-40B4-BE49-F238E27FC236}">
                  <a16:creationId xmlns:a16="http://schemas.microsoft.com/office/drawing/2014/main" id="{98522BCD-A435-431C-943A-E9D1B8CD523D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5352543" y="4312446"/>
              <a:ext cx="0" cy="715774"/>
            </a:xfrm>
            <a:prstGeom prst="line">
              <a:avLst/>
            </a:prstGeom>
            <a:ln w="3810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Прямая соединительная линия 22">
              <a:extLst>
                <a:ext uri="{FF2B5EF4-FFF2-40B4-BE49-F238E27FC236}">
                  <a16:creationId xmlns:a16="http://schemas.microsoft.com/office/drawing/2014/main" id="{71678F84-B17F-4514-BDEC-6096F6B3D47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352543" y="4331245"/>
              <a:ext cx="1648784" cy="0"/>
            </a:xfrm>
            <a:prstGeom prst="line">
              <a:avLst/>
            </a:prstGeom>
            <a:ln w="3810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5" name="Рисунок 10">
            <a:extLst>
              <a:ext uri="{FF2B5EF4-FFF2-40B4-BE49-F238E27FC236}">
                <a16:creationId xmlns:a16="http://schemas.microsoft.com/office/drawing/2014/main" id="{F9AC08F9-41FF-8F5F-7623-2B519EBDEC2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8208818" y="3175737"/>
            <a:ext cx="3993572" cy="3684558"/>
          </a:xfrm>
          <a:prstGeom prst="rect">
            <a:avLst/>
          </a:prstGeom>
        </p:spPr>
      </p:pic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18878CEF-2113-43D1-BF1C-FE742B7EE04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677397" y="6463527"/>
            <a:ext cx="1588344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685767" rtl="0" eaLnBrk="1" latinLnBrk="0" hangingPunct="1">
              <a:defRPr lang="en-IN" sz="800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fld id="{DD0459E4-AD9B-498E-885E-3205C07BFACE}" type="datetime4">
              <a:rPr lang="ru-RU" smtClean="0"/>
              <a:t>16 августа 2022 г.</a:t>
            </a:fld>
            <a:endParaRPr lang="en-US" dirty="0"/>
          </a:p>
        </p:txBody>
      </p:sp>
      <p:sp>
        <p:nvSpPr>
          <p:cNvPr id="27" name="Footer Placeholder 4">
            <a:extLst>
              <a:ext uri="{FF2B5EF4-FFF2-40B4-BE49-F238E27FC236}">
                <a16:creationId xmlns:a16="http://schemas.microsoft.com/office/drawing/2014/main" id="{129AD029-C09C-4129-BC6E-5CC8A7E7159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83077" y="6463527"/>
            <a:ext cx="41148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685767" rtl="0" eaLnBrk="1" latinLnBrk="0" hangingPunct="1">
              <a:defRPr lang="en-IN" sz="8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ru-RU"/>
              <a:t>Название темы</a:t>
            </a:r>
            <a:endParaRPr lang="en-US" dirty="0"/>
          </a:p>
        </p:txBody>
      </p:sp>
      <p:sp>
        <p:nvSpPr>
          <p:cNvPr id="28" name="Slide Number Placeholder 5">
            <a:extLst>
              <a:ext uri="{FF2B5EF4-FFF2-40B4-BE49-F238E27FC236}">
                <a16:creationId xmlns:a16="http://schemas.microsoft.com/office/drawing/2014/main" id="{2CF53046-0201-4818-8FB7-D456CC5107F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09601" y="6463527"/>
            <a:ext cx="884088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685767" rtl="0" eaLnBrk="1" latinLnBrk="0" hangingPunct="1">
              <a:defRPr lang="en-IN" sz="800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ru-RU"/>
              <a:t>Страница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554053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0052CFA6-7CF5-41BD-9D94-2D0DAE108428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2192000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IN" dirty="0"/>
              <a:t>Video</a:t>
            </a: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24D7BED4-589B-4A19-B237-7AE9A31FA6F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677397" y="6463527"/>
            <a:ext cx="1588344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685767" rtl="0" eaLnBrk="1" latinLnBrk="0" hangingPunct="1">
              <a:defRPr lang="en-IN" sz="800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fld id="{A00C5BCB-05F1-4469-B2B9-2019AC70CD4B}" type="datetime4">
              <a:rPr lang="ru-RU" smtClean="0"/>
              <a:t>16 августа 2022 г.</a:t>
            </a:fld>
            <a:endParaRPr lang="en-US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2A80E062-9C99-4EF8-A531-B64D280EDB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83077" y="6463527"/>
            <a:ext cx="41148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685767" rtl="0" eaLnBrk="1" latinLnBrk="0" hangingPunct="1">
              <a:defRPr lang="en-IN" sz="8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ru-RU"/>
              <a:t>Название темы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EB735675-C808-47C0-8D04-D1AB675F72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09601" y="6463527"/>
            <a:ext cx="884088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685767" rtl="0" eaLnBrk="1" latinLnBrk="0" hangingPunct="1">
              <a:defRPr lang="en-IN" sz="800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ru-RU"/>
              <a:t>Страница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057747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-De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12" y="2313180"/>
            <a:ext cx="6767372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2400" b="1" i="0" u="none" strike="noStrike" cap="none" spc="0" normalizeH="0" baseline="0" dirty="0">
                <a:ln>
                  <a:noFill/>
                </a:ln>
                <a:solidFill>
                  <a:srgbClr val="4AA85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200479" marR="0" lvl="0" indent="-200479" defTabSz="566606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CHAPTER. MONTSERRAT 24</a:t>
            </a:r>
            <a:r>
              <a:rPr lang="ru-RU" dirty="0"/>
              <a:t> </a:t>
            </a:r>
            <a:r>
              <a:rPr lang="en-US" dirty="0"/>
              <a:t>PT </a:t>
            </a:r>
            <a:endParaRPr lang="en-IN" dirty="0"/>
          </a:p>
        </p:txBody>
      </p:sp>
      <p:pic>
        <p:nvPicPr>
          <p:cNvPr id="6" name="Рисунок 10">
            <a:extLst>
              <a:ext uri="{FF2B5EF4-FFF2-40B4-BE49-F238E27FC236}">
                <a16:creationId xmlns:a16="http://schemas.microsoft.com/office/drawing/2014/main" id="{C11ED739-91CE-00F2-3E6A-5D5BD7FFC9E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8208818" y="3175737"/>
            <a:ext cx="3993572" cy="3684558"/>
          </a:xfrm>
          <a:prstGeom prst="rect">
            <a:avLst/>
          </a:prstGeom>
        </p:spPr>
      </p:pic>
      <p:grpSp>
        <p:nvGrpSpPr>
          <p:cNvPr id="37" name="Group 36">
            <a:extLst>
              <a:ext uri="{FF2B5EF4-FFF2-40B4-BE49-F238E27FC236}">
                <a16:creationId xmlns:a16="http://schemas.microsoft.com/office/drawing/2014/main" id="{B72890BB-807F-413D-BDE2-4485CCCE8C06}"/>
              </a:ext>
            </a:extLst>
          </p:cNvPr>
          <p:cNvGrpSpPr/>
          <p:nvPr userDrawn="1"/>
        </p:nvGrpSpPr>
        <p:grpSpPr>
          <a:xfrm>
            <a:off x="10346853" y="658368"/>
            <a:ext cx="1319534" cy="970407"/>
            <a:chOff x="10332720" y="658368"/>
            <a:chExt cx="1319534" cy="970407"/>
          </a:xfrm>
        </p:grpSpPr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B8F16518-72FF-421A-A7B4-C2853B33F779}"/>
                </a:ext>
              </a:extLst>
            </p:cNvPr>
            <p:cNvGrpSpPr/>
            <p:nvPr userDrawn="1"/>
          </p:nvGrpSpPr>
          <p:grpSpPr>
            <a:xfrm>
              <a:off x="10344154" y="1376363"/>
              <a:ext cx="1308100" cy="252412"/>
              <a:chOff x="10344154" y="1376363"/>
              <a:chExt cx="1308100" cy="252412"/>
            </a:xfrm>
          </p:grpSpPr>
          <p:sp>
            <p:nvSpPr>
              <p:cNvPr id="43" name="Freeform 5">
                <a:extLst>
                  <a:ext uri="{FF2B5EF4-FFF2-40B4-BE49-F238E27FC236}">
                    <a16:creationId xmlns:a16="http://schemas.microsoft.com/office/drawing/2014/main" id="{347CBC50-37B2-4A81-B6AC-0FBBC909BDC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344154" y="1379538"/>
                <a:ext cx="85725" cy="90487"/>
              </a:xfrm>
              <a:custGeom>
                <a:avLst/>
                <a:gdLst>
                  <a:gd name="T0" fmla="*/ 109 w 109"/>
                  <a:gd name="T1" fmla="*/ 0 h 115"/>
                  <a:gd name="T2" fmla="*/ 109 w 109"/>
                  <a:gd name="T3" fmla="*/ 115 h 115"/>
                  <a:gd name="T4" fmla="*/ 77 w 109"/>
                  <a:gd name="T5" fmla="*/ 115 h 115"/>
                  <a:gd name="T6" fmla="*/ 77 w 109"/>
                  <a:gd name="T7" fmla="*/ 69 h 115"/>
                  <a:gd name="T8" fmla="*/ 32 w 109"/>
                  <a:gd name="T9" fmla="*/ 69 h 115"/>
                  <a:gd name="T10" fmla="*/ 32 w 109"/>
                  <a:gd name="T11" fmla="*/ 115 h 115"/>
                  <a:gd name="T12" fmla="*/ 0 w 109"/>
                  <a:gd name="T13" fmla="*/ 115 h 115"/>
                  <a:gd name="T14" fmla="*/ 0 w 109"/>
                  <a:gd name="T15" fmla="*/ 0 h 115"/>
                  <a:gd name="T16" fmla="*/ 32 w 109"/>
                  <a:gd name="T17" fmla="*/ 0 h 115"/>
                  <a:gd name="T18" fmla="*/ 32 w 109"/>
                  <a:gd name="T19" fmla="*/ 43 h 115"/>
                  <a:gd name="T20" fmla="*/ 77 w 109"/>
                  <a:gd name="T21" fmla="*/ 43 h 115"/>
                  <a:gd name="T22" fmla="*/ 77 w 109"/>
                  <a:gd name="T23" fmla="*/ 0 h 115"/>
                  <a:gd name="T24" fmla="*/ 109 w 109"/>
                  <a:gd name="T25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9" h="115">
                    <a:moveTo>
                      <a:pt x="109" y="0"/>
                    </a:moveTo>
                    <a:lnTo>
                      <a:pt x="109" y="115"/>
                    </a:lnTo>
                    <a:lnTo>
                      <a:pt x="77" y="115"/>
                    </a:lnTo>
                    <a:lnTo>
                      <a:pt x="77" y="69"/>
                    </a:lnTo>
                    <a:lnTo>
                      <a:pt x="32" y="69"/>
                    </a:lnTo>
                    <a:lnTo>
                      <a:pt x="3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2" y="0"/>
                    </a:lnTo>
                    <a:lnTo>
                      <a:pt x="32" y="43"/>
                    </a:lnTo>
                    <a:lnTo>
                      <a:pt x="77" y="43"/>
                    </a:lnTo>
                    <a:lnTo>
                      <a:pt x="77" y="0"/>
                    </a:lnTo>
                    <a:lnTo>
                      <a:pt x="109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6">
                <a:extLst>
                  <a:ext uri="{FF2B5EF4-FFF2-40B4-BE49-F238E27FC236}">
                    <a16:creationId xmlns:a16="http://schemas.microsoft.com/office/drawing/2014/main" id="{ABC372CE-451B-4A1A-B5C3-3B7C4DBDA8D7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447341" y="1377950"/>
                <a:ext cx="101600" cy="93662"/>
              </a:xfrm>
              <a:custGeom>
                <a:avLst/>
                <a:gdLst>
                  <a:gd name="T0" fmla="*/ 31 w 128"/>
                  <a:gd name="T1" fmla="*/ 112 h 119"/>
                  <a:gd name="T2" fmla="*/ 21 w 128"/>
                  <a:gd name="T3" fmla="*/ 105 h 119"/>
                  <a:gd name="T4" fmla="*/ 6 w 128"/>
                  <a:gd name="T5" fmla="*/ 87 h 119"/>
                  <a:gd name="T6" fmla="*/ 0 w 128"/>
                  <a:gd name="T7" fmla="*/ 65 h 119"/>
                  <a:gd name="T8" fmla="*/ 2 w 128"/>
                  <a:gd name="T9" fmla="*/ 43 h 119"/>
                  <a:gd name="T10" fmla="*/ 6 w 128"/>
                  <a:gd name="T11" fmla="*/ 32 h 119"/>
                  <a:gd name="T12" fmla="*/ 11 w 128"/>
                  <a:gd name="T13" fmla="*/ 24 h 119"/>
                  <a:gd name="T14" fmla="*/ 23 w 128"/>
                  <a:gd name="T15" fmla="*/ 12 h 119"/>
                  <a:gd name="T16" fmla="*/ 31 w 128"/>
                  <a:gd name="T17" fmla="*/ 7 h 119"/>
                  <a:gd name="T18" fmla="*/ 46 w 128"/>
                  <a:gd name="T19" fmla="*/ 2 h 119"/>
                  <a:gd name="T20" fmla="*/ 64 w 128"/>
                  <a:gd name="T21" fmla="*/ 0 h 119"/>
                  <a:gd name="T22" fmla="*/ 81 w 128"/>
                  <a:gd name="T23" fmla="*/ 2 h 119"/>
                  <a:gd name="T24" fmla="*/ 97 w 128"/>
                  <a:gd name="T25" fmla="*/ 7 h 119"/>
                  <a:gd name="T26" fmla="*/ 102 w 128"/>
                  <a:gd name="T27" fmla="*/ 10 h 119"/>
                  <a:gd name="T28" fmla="*/ 115 w 128"/>
                  <a:gd name="T29" fmla="*/ 22 h 119"/>
                  <a:gd name="T30" fmla="*/ 125 w 128"/>
                  <a:gd name="T31" fmla="*/ 42 h 119"/>
                  <a:gd name="T32" fmla="*/ 128 w 128"/>
                  <a:gd name="T33" fmla="*/ 64 h 119"/>
                  <a:gd name="T34" fmla="*/ 124 w 128"/>
                  <a:gd name="T35" fmla="*/ 81 h 119"/>
                  <a:gd name="T36" fmla="*/ 121 w 128"/>
                  <a:gd name="T37" fmla="*/ 86 h 119"/>
                  <a:gd name="T38" fmla="*/ 111 w 128"/>
                  <a:gd name="T39" fmla="*/ 100 h 119"/>
                  <a:gd name="T40" fmla="*/ 97 w 128"/>
                  <a:gd name="T41" fmla="*/ 112 h 119"/>
                  <a:gd name="T42" fmla="*/ 89 w 128"/>
                  <a:gd name="T43" fmla="*/ 115 h 119"/>
                  <a:gd name="T44" fmla="*/ 72 w 128"/>
                  <a:gd name="T45" fmla="*/ 119 h 119"/>
                  <a:gd name="T46" fmla="*/ 55 w 128"/>
                  <a:gd name="T47" fmla="*/ 119 h 119"/>
                  <a:gd name="T48" fmla="*/ 38 w 128"/>
                  <a:gd name="T49" fmla="*/ 115 h 119"/>
                  <a:gd name="T50" fmla="*/ 31 w 128"/>
                  <a:gd name="T51" fmla="*/ 112 h 119"/>
                  <a:gd name="T52" fmla="*/ 80 w 128"/>
                  <a:gd name="T53" fmla="*/ 87 h 119"/>
                  <a:gd name="T54" fmla="*/ 91 w 128"/>
                  <a:gd name="T55" fmla="*/ 76 h 119"/>
                  <a:gd name="T56" fmla="*/ 94 w 128"/>
                  <a:gd name="T57" fmla="*/ 68 h 119"/>
                  <a:gd name="T58" fmla="*/ 94 w 128"/>
                  <a:gd name="T59" fmla="*/ 50 h 119"/>
                  <a:gd name="T60" fmla="*/ 91 w 128"/>
                  <a:gd name="T61" fmla="*/ 42 h 119"/>
                  <a:gd name="T62" fmla="*/ 80 w 128"/>
                  <a:gd name="T63" fmla="*/ 30 h 119"/>
                  <a:gd name="T64" fmla="*/ 72 w 128"/>
                  <a:gd name="T65" fmla="*/ 27 h 119"/>
                  <a:gd name="T66" fmla="*/ 55 w 128"/>
                  <a:gd name="T67" fmla="*/ 27 h 119"/>
                  <a:gd name="T68" fmla="*/ 47 w 128"/>
                  <a:gd name="T69" fmla="*/ 30 h 119"/>
                  <a:gd name="T70" fmla="*/ 36 w 128"/>
                  <a:gd name="T71" fmla="*/ 42 h 119"/>
                  <a:gd name="T72" fmla="*/ 33 w 128"/>
                  <a:gd name="T73" fmla="*/ 50 h 119"/>
                  <a:gd name="T74" fmla="*/ 33 w 128"/>
                  <a:gd name="T75" fmla="*/ 68 h 119"/>
                  <a:gd name="T76" fmla="*/ 36 w 128"/>
                  <a:gd name="T77" fmla="*/ 76 h 119"/>
                  <a:gd name="T78" fmla="*/ 47 w 128"/>
                  <a:gd name="T79" fmla="*/ 87 h 119"/>
                  <a:gd name="T80" fmla="*/ 55 w 128"/>
                  <a:gd name="T81" fmla="*/ 90 h 119"/>
                  <a:gd name="T82" fmla="*/ 72 w 128"/>
                  <a:gd name="T83" fmla="*/ 90 h 119"/>
                  <a:gd name="T84" fmla="*/ 80 w 128"/>
                  <a:gd name="T85" fmla="*/ 87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28" h="119">
                    <a:moveTo>
                      <a:pt x="31" y="112"/>
                    </a:moveTo>
                    <a:lnTo>
                      <a:pt x="31" y="112"/>
                    </a:lnTo>
                    <a:lnTo>
                      <a:pt x="25" y="109"/>
                    </a:lnTo>
                    <a:lnTo>
                      <a:pt x="21" y="105"/>
                    </a:lnTo>
                    <a:lnTo>
                      <a:pt x="13" y="96"/>
                    </a:lnTo>
                    <a:lnTo>
                      <a:pt x="6" y="87"/>
                    </a:lnTo>
                    <a:lnTo>
                      <a:pt x="2" y="76"/>
                    </a:lnTo>
                    <a:lnTo>
                      <a:pt x="0" y="65"/>
                    </a:lnTo>
                    <a:lnTo>
                      <a:pt x="0" y="54"/>
                    </a:lnTo>
                    <a:lnTo>
                      <a:pt x="2" y="43"/>
                    </a:lnTo>
                    <a:lnTo>
                      <a:pt x="4" y="37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11" y="24"/>
                    </a:lnTo>
                    <a:lnTo>
                      <a:pt x="16" y="18"/>
                    </a:lnTo>
                    <a:lnTo>
                      <a:pt x="23" y="12"/>
                    </a:lnTo>
                    <a:lnTo>
                      <a:pt x="31" y="7"/>
                    </a:lnTo>
                    <a:lnTo>
                      <a:pt x="31" y="7"/>
                    </a:lnTo>
                    <a:lnTo>
                      <a:pt x="38" y="4"/>
                    </a:lnTo>
                    <a:lnTo>
                      <a:pt x="46" y="2"/>
                    </a:lnTo>
                    <a:lnTo>
                      <a:pt x="55" y="0"/>
                    </a:lnTo>
                    <a:lnTo>
                      <a:pt x="64" y="0"/>
                    </a:lnTo>
                    <a:lnTo>
                      <a:pt x="72" y="0"/>
                    </a:lnTo>
                    <a:lnTo>
                      <a:pt x="81" y="2"/>
                    </a:lnTo>
                    <a:lnTo>
                      <a:pt x="89" y="4"/>
                    </a:lnTo>
                    <a:lnTo>
                      <a:pt x="97" y="7"/>
                    </a:lnTo>
                    <a:lnTo>
                      <a:pt x="97" y="7"/>
                    </a:lnTo>
                    <a:lnTo>
                      <a:pt x="102" y="10"/>
                    </a:lnTo>
                    <a:lnTo>
                      <a:pt x="106" y="14"/>
                    </a:lnTo>
                    <a:lnTo>
                      <a:pt x="115" y="22"/>
                    </a:lnTo>
                    <a:lnTo>
                      <a:pt x="121" y="31"/>
                    </a:lnTo>
                    <a:lnTo>
                      <a:pt x="125" y="42"/>
                    </a:lnTo>
                    <a:lnTo>
                      <a:pt x="127" y="53"/>
                    </a:lnTo>
                    <a:lnTo>
                      <a:pt x="128" y="64"/>
                    </a:lnTo>
                    <a:lnTo>
                      <a:pt x="125" y="75"/>
                    </a:lnTo>
                    <a:lnTo>
                      <a:pt x="124" y="81"/>
                    </a:lnTo>
                    <a:lnTo>
                      <a:pt x="121" y="86"/>
                    </a:lnTo>
                    <a:lnTo>
                      <a:pt x="121" y="86"/>
                    </a:lnTo>
                    <a:lnTo>
                      <a:pt x="116" y="94"/>
                    </a:lnTo>
                    <a:lnTo>
                      <a:pt x="111" y="100"/>
                    </a:lnTo>
                    <a:lnTo>
                      <a:pt x="104" y="107"/>
                    </a:lnTo>
                    <a:lnTo>
                      <a:pt x="97" y="112"/>
                    </a:lnTo>
                    <a:lnTo>
                      <a:pt x="97" y="112"/>
                    </a:lnTo>
                    <a:lnTo>
                      <a:pt x="89" y="115"/>
                    </a:lnTo>
                    <a:lnTo>
                      <a:pt x="81" y="117"/>
                    </a:lnTo>
                    <a:lnTo>
                      <a:pt x="72" y="119"/>
                    </a:lnTo>
                    <a:lnTo>
                      <a:pt x="64" y="119"/>
                    </a:lnTo>
                    <a:lnTo>
                      <a:pt x="55" y="119"/>
                    </a:lnTo>
                    <a:lnTo>
                      <a:pt x="46" y="117"/>
                    </a:lnTo>
                    <a:lnTo>
                      <a:pt x="38" y="115"/>
                    </a:lnTo>
                    <a:lnTo>
                      <a:pt x="31" y="112"/>
                    </a:lnTo>
                    <a:lnTo>
                      <a:pt x="31" y="112"/>
                    </a:lnTo>
                    <a:close/>
                    <a:moveTo>
                      <a:pt x="80" y="87"/>
                    </a:moveTo>
                    <a:lnTo>
                      <a:pt x="80" y="87"/>
                    </a:lnTo>
                    <a:lnTo>
                      <a:pt x="86" y="82"/>
                    </a:lnTo>
                    <a:lnTo>
                      <a:pt x="91" y="76"/>
                    </a:lnTo>
                    <a:lnTo>
                      <a:pt x="91" y="76"/>
                    </a:lnTo>
                    <a:lnTo>
                      <a:pt x="94" y="68"/>
                    </a:lnTo>
                    <a:lnTo>
                      <a:pt x="95" y="59"/>
                    </a:lnTo>
                    <a:lnTo>
                      <a:pt x="94" y="50"/>
                    </a:lnTo>
                    <a:lnTo>
                      <a:pt x="91" y="42"/>
                    </a:lnTo>
                    <a:lnTo>
                      <a:pt x="91" y="42"/>
                    </a:lnTo>
                    <a:lnTo>
                      <a:pt x="86" y="35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72" y="27"/>
                    </a:lnTo>
                    <a:lnTo>
                      <a:pt x="64" y="26"/>
                    </a:lnTo>
                    <a:lnTo>
                      <a:pt x="55" y="27"/>
                    </a:lnTo>
                    <a:lnTo>
                      <a:pt x="47" y="30"/>
                    </a:lnTo>
                    <a:lnTo>
                      <a:pt x="47" y="30"/>
                    </a:lnTo>
                    <a:lnTo>
                      <a:pt x="41" y="35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3" y="50"/>
                    </a:lnTo>
                    <a:lnTo>
                      <a:pt x="32" y="59"/>
                    </a:lnTo>
                    <a:lnTo>
                      <a:pt x="33" y="68"/>
                    </a:lnTo>
                    <a:lnTo>
                      <a:pt x="36" y="76"/>
                    </a:lnTo>
                    <a:lnTo>
                      <a:pt x="36" y="76"/>
                    </a:lnTo>
                    <a:lnTo>
                      <a:pt x="41" y="82"/>
                    </a:lnTo>
                    <a:lnTo>
                      <a:pt x="47" y="87"/>
                    </a:lnTo>
                    <a:lnTo>
                      <a:pt x="47" y="87"/>
                    </a:lnTo>
                    <a:lnTo>
                      <a:pt x="55" y="90"/>
                    </a:lnTo>
                    <a:lnTo>
                      <a:pt x="64" y="91"/>
                    </a:lnTo>
                    <a:lnTo>
                      <a:pt x="72" y="90"/>
                    </a:lnTo>
                    <a:lnTo>
                      <a:pt x="80" y="87"/>
                    </a:lnTo>
                    <a:lnTo>
                      <a:pt x="80" y="8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7">
                <a:extLst>
                  <a:ext uri="{FF2B5EF4-FFF2-40B4-BE49-F238E27FC236}">
                    <a16:creationId xmlns:a16="http://schemas.microsoft.com/office/drawing/2014/main" id="{6C5A6BFF-4579-4B83-9B4C-70EDED2A6F81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564816" y="1379538"/>
                <a:ext cx="84138" cy="90487"/>
              </a:xfrm>
              <a:custGeom>
                <a:avLst/>
                <a:gdLst>
                  <a:gd name="T0" fmla="*/ 99 w 105"/>
                  <a:gd name="T1" fmla="*/ 64 h 115"/>
                  <a:gd name="T2" fmla="*/ 103 w 105"/>
                  <a:gd name="T3" fmla="*/ 72 h 115"/>
                  <a:gd name="T4" fmla="*/ 105 w 105"/>
                  <a:gd name="T5" fmla="*/ 81 h 115"/>
                  <a:gd name="T6" fmla="*/ 104 w 105"/>
                  <a:gd name="T7" fmla="*/ 88 h 115"/>
                  <a:gd name="T8" fmla="*/ 98 w 105"/>
                  <a:gd name="T9" fmla="*/ 101 h 115"/>
                  <a:gd name="T10" fmla="*/ 93 w 105"/>
                  <a:gd name="T11" fmla="*/ 106 h 115"/>
                  <a:gd name="T12" fmla="*/ 77 w 105"/>
                  <a:gd name="T13" fmla="*/ 113 h 115"/>
                  <a:gd name="T14" fmla="*/ 59 w 105"/>
                  <a:gd name="T15" fmla="*/ 115 h 115"/>
                  <a:gd name="T16" fmla="*/ 0 w 105"/>
                  <a:gd name="T17" fmla="*/ 0 h 115"/>
                  <a:gd name="T18" fmla="*/ 56 w 105"/>
                  <a:gd name="T19" fmla="*/ 0 h 115"/>
                  <a:gd name="T20" fmla="*/ 73 w 105"/>
                  <a:gd name="T21" fmla="*/ 2 h 115"/>
                  <a:gd name="T22" fmla="*/ 88 w 105"/>
                  <a:gd name="T23" fmla="*/ 8 h 115"/>
                  <a:gd name="T24" fmla="*/ 93 w 105"/>
                  <a:gd name="T25" fmla="*/ 12 h 115"/>
                  <a:gd name="T26" fmla="*/ 99 w 105"/>
                  <a:gd name="T27" fmla="*/ 23 h 115"/>
                  <a:gd name="T28" fmla="*/ 99 w 105"/>
                  <a:gd name="T29" fmla="*/ 30 h 115"/>
                  <a:gd name="T30" fmla="*/ 95 w 105"/>
                  <a:gd name="T31" fmla="*/ 45 h 115"/>
                  <a:gd name="T32" fmla="*/ 90 w 105"/>
                  <a:gd name="T33" fmla="*/ 50 h 115"/>
                  <a:gd name="T34" fmla="*/ 84 w 105"/>
                  <a:gd name="T35" fmla="*/ 54 h 115"/>
                  <a:gd name="T36" fmla="*/ 92 w 105"/>
                  <a:gd name="T37" fmla="*/ 58 h 115"/>
                  <a:gd name="T38" fmla="*/ 99 w 105"/>
                  <a:gd name="T39" fmla="*/ 64 h 115"/>
                  <a:gd name="T40" fmla="*/ 32 w 105"/>
                  <a:gd name="T41" fmla="*/ 46 h 115"/>
                  <a:gd name="T42" fmla="*/ 53 w 105"/>
                  <a:gd name="T43" fmla="*/ 46 h 115"/>
                  <a:gd name="T44" fmla="*/ 63 w 105"/>
                  <a:gd name="T45" fmla="*/ 43 h 115"/>
                  <a:gd name="T46" fmla="*/ 67 w 105"/>
                  <a:gd name="T47" fmla="*/ 34 h 115"/>
                  <a:gd name="T48" fmla="*/ 66 w 105"/>
                  <a:gd name="T49" fmla="*/ 29 h 115"/>
                  <a:gd name="T50" fmla="*/ 59 w 105"/>
                  <a:gd name="T51" fmla="*/ 24 h 115"/>
                  <a:gd name="T52" fmla="*/ 32 w 105"/>
                  <a:gd name="T53" fmla="*/ 23 h 115"/>
                  <a:gd name="T54" fmla="*/ 72 w 105"/>
                  <a:gd name="T55" fmla="*/ 79 h 115"/>
                  <a:gd name="T56" fmla="*/ 71 w 105"/>
                  <a:gd name="T57" fmla="*/ 74 h 115"/>
                  <a:gd name="T58" fmla="*/ 64 w 105"/>
                  <a:gd name="T59" fmla="*/ 68 h 115"/>
                  <a:gd name="T60" fmla="*/ 32 w 105"/>
                  <a:gd name="T61" fmla="*/ 67 h 115"/>
                  <a:gd name="T62" fmla="*/ 58 w 105"/>
                  <a:gd name="T63" fmla="*/ 91 h 115"/>
                  <a:gd name="T64" fmla="*/ 64 w 105"/>
                  <a:gd name="T65" fmla="*/ 90 h 115"/>
                  <a:gd name="T66" fmla="*/ 71 w 105"/>
                  <a:gd name="T67" fmla="*/ 84 h 115"/>
                  <a:gd name="T68" fmla="*/ 72 w 105"/>
                  <a:gd name="T69" fmla="*/ 79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5" h="115">
                    <a:moveTo>
                      <a:pt x="99" y="64"/>
                    </a:moveTo>
                    <a:lnTo>
                      <a:pt x="99" y="64"/>
                    </a:lnTo>
                    <a:lnTo>
                      <a:pt x="102" y="68"/>
                    </a:lnTo>
                    <a:lnTo>
                      <a:pt x="103" y="72"/>
                    </a:lnTo>
                    <a:lnTo>
                      <a:pt x="104" y="77"/>
                    </a:lnTo>
                    <a:lnTo>
                      <a:pt x="105" y="81"/>
                    </a:lnTo>
                    <a:lnTo>
                      <a:pt x="105" y="81"/>
                    </a:lnTo>
                    <a:lnTo>
                      <a:pt x="104" y="88"/>
                    </a:lnTo>
                    <a:lnTo>
                      <a:pt x="102" y="95"/>
                    </a:lnTo>
                    <a:lnTo>
                      <a:pt x="98" y="101"/>
                    </a:lnTo>
                    <a:lnTo>
                      <a:pt x="93" y="106"/>
                    </a:lnTo>
                    <a:lnTo>
                      <a:pt x="93" y="106"/>
                    </a:lnTo>
                    <a:lnTo>
                      <a:pt x="85" y="110"/>
                    </a:lnTo>
                    <a:lnTo>
                      <a:pt x="77" y="113"/>
                    </a:lnTo>
                    <a:lnTo>
                      <a:pt x="68" y="115"/>
                    </a:lnTo>
                    <a:lnTo>
                      <a:pt x="59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5" y="0"/>
                    </a:lnTo>
                    <a:lnTo>
                      <a:pt x="73" y="2"/>
                    </a:lnTo>
                    <a:lnTo>
                      <a:pt x="81" y="4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93" y="12"/>
                    </a:lnTo>
                    <a:lnTo>
                      <a:pt x="97" y="17"/>
                    </a:lnTo>
                    <a:lnTo>
                      <a:pt x="99" y="23"/>
                    </a:lnTo>
                    <a:lnTo>
                      <a:pt x="99" y="30"/>
                    </a:lnTo>
                    <a:lnTo>
                      <a:pt x="99" y="30"/>
                    </a:lnTo>
                    <a:lnTo>
                      <a:pt x="98" y="37"/>
                    </a:lnTo>
                    <a:lnTo>
                      <a:pt x="95" y="45"/>
                    </a:lnTo>
                    <a:lnTo>
                      <a:pt x="95" y="45"/>
                    </a:lnTo>
                    <a:lnTo>
                      <a:pt x="90" y="50"/>
                    </a:lnTo>
                    <a:lnTo>
                      <a:pt x="84" y="54"/>
                    </a:lnTo>
                    <a:lnTo>
                      <a:pt x="84" y="54"/>
                    </a:lnTo>
                    <a:lnTo>
                      <a:pt x="88" y="56"/>
                    </a:lnTo>
                    <a:lnTo>
                      <a:pt x="92" y="58"/>
                    </a:lnTo>
                    <a:lnTo>
                      <a:pt x="96" y="61"/>
                    </a:lnTo>
                    <a:lnTo>
                      <a:pt x="99" y="64"/>
                    </a:lnTo>
                    <a:lnTo>
                      <a:pt x="99" y="64"/>
                    </a:lnTo>
                    <a:close/>
                    <a:moveTo>
                      <a:pt x="32" y="46"/>
                    </a:moveTo>
                    <a:lnTo>
                      <a:pt x="53" y="46"/>
                    </a:lnTo>
                    <a:lnTo>
                      <a:pt x="53" y="46"/>
                    </a:lnTo>
                    <a:lnTo>
                      <a:pt x="59" y="45"/>
                    </a:lnTo>
                    <a:lnTo>
                      <a:pt x="63" y="43"/>
                    </a:lnTo>
                    <a:lnTo>
                      <a:pt x="66" y="39"/>
                    </a:lnTo>
                    <a:lnTo>
                      <a:pt x="67" y="34"/>
                    </a:lnTo>
                    <a:lnTo>
                      <a:pt x="67" y="34"/>
                    </a:lnTo>
                    <a:lnTo>
                      <a:pt x="66" y="29"/>
                    </a:lnTo>
                    <a:lnTo>
                      <a:pt x="63" y="26"/>
                    </a:lnTo>
                    <a:lnTo>
                      <a:pt x="59" y="24"/>
                    </a:lnTo>
                    <a:lnTo>
                      <a:pt x="53" y="23"/>
                    </a:lnTo>
                    <a:lnTo>
                      <a:pt x="32" y="23"/>
                    </a:lnTo>
                    <a:lnTo>
                      <a:pt x="32" y="46"/>
                    </a:lnTo>
                    <a:close/>
                    <a:moveTo>
                      <a:pt x="72" y="79"/>
                    </a:moveTo>
                    <a:lnTo>
                      <a:pt x="72" y="79"/>
                    </a:lnTo>
                    <a:lnTo>
                      <a:pt x="71" y="74"/>
                    </a:lnTo>
                    <a:lnTo>
                      <a:pt x="69" y="70"/>
                    </a:lnTo>
                    <a:lnTo>
                      <a:pt x="64" y="68"/>
                    </a:lnTo>
                    <a:lnTo>
                      <a:pt x="58" y="67"/>
                    </a:lnTo>
                    <a:lnTo>
                      <a:pt x="32" y="67"/>
                    </a:lnTo>
                    <a:lnTo>
                      <a:pt x="32" y="91"/>
                    </a:lnTo>
                    <a:lnTo>
                      <a:pt x="58" y="91"/>
                    </a:lnTo>
                    <a:lnTo>
                      <a:pt x="58" y="91"/>
                    </a:lnTo>
                    <a:lnTo>
                      <a:pt x="64" y="90"/>
                    </a:lnTo>
                    <a:lnTo>
                      <a:pt x="69" y="88"/>
                    </a:lnTo>
                    <a:lnTo>
                      <a:pt x="71" y="84"/>
                    </a:lnTo>
                    <a:lnTo>
                      <a:pt x="72" y="79"/>
                    </a:lnTo>
                    <a:lnTo>
                      <a:pt x="72" y="7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8">
                <a:extLst>
                  <a:ext uri="{FF2B5EF4-FFF2-40B4-BE49-F238E27FC236}">
                    <a16:creationId xmlns:a16="http://schemas.microsoft.com/office/drawing/2014/main" id="{8443E52D-30C1-4CF3-98C4-A096CF534519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664829" y="1379538"/>
                <a:ext cx="115888" cy="90487"/>
              </a:xfrm>
              <a:custGeom>
                <a:avLst/>
                <a:gdLst>
                  <a:gd name="T0" fmla="*/ 92 w 147"/>
                  <a:gd name="T1" fmla="*/ 46 h 115"/>
                  <a:gd name="T2" fmla="*/ 92 w 147"/>
                  <a:gd name="T3" fmla="*/ 46 h 115"/>
                  <a:gd name="T4" fmla="*/ 97 w 147"/>
                  <a:gd name="T5" fmla="*/ 51 h 115"/>
                  <a:gd name="T6" fmla="*/ 101 w 147"/>
                  <a:gd name="T7" fmla="*/ 58 h 115"/>
                  <a:gd name="T8" fmla="*/ 103 w 147"/>
                  <a:gd name="T9" fmla="*/ 66 h 115"/>
                  <a:gd name="T10" fmla="*/ 103 w 147"/>
                  <a:gd name="T11" fmla="*/ 73 h 115"/>
                  <a:gd name="T12" fmla="*/ 103 w 147"/>
                  <a:gd name="T13" fmla="*/ 73 h 115"/>
                  <a:gd name="T14" fmla="*/ 103 w 147"/>
                  <a:gd name="T15" fmla="*/ 82 h 115"/>
                  <a:gd name="T16" fmla="*/ 100 w 147"/>
                  <a:gd name="T17" fmla="*/ 90 h 115"/>
                  <a:gd name="T18" fmla="*/ 96 w 147"/>
                  <a:gd name="T19" fmla="*/ 97 h 115"/>
                  <a:gd name="T20" fmla="*/ 90 w 147"/>
                  <a:gd name="T21" fmla="*/ 104 h 115"/>
                  <a:gd name="T22" fmla="*/ 90 w 147"/>
                  <a:gd name="T23" fmla="*/ 104 h 115"/>
                  <a:gd name="T24" fmla="*/ 82 w 147"/>
                  <a:gd name="T25" fmla="*/ 109 h 115"/>
                  <a:gd name="T26" fmla="*/ 74 w 147"/>
                  <a:gd name="T27" fmla="*/ 113 h 115"/>
                  <a:gd name="T28" fmla="*/ 65 w 147"/>
                  <a:gd name="T29" fmla="*/ 115 h 115"/>
                  <a:gd name="T30" fmla="*/ 55 w 147"/>
                  <a:gd name="T31" fmla="*/ 115 h 115"/>
                  <a:gd name="T32" fmla="*/ 0 w 147"/>
                  <a:gd name="T33" fmla="*/ 115 h 115"/>
                  <a:gd name="T34" fmla="*/ 0 w 147"/>
                  <a:gd name="T35" fmla="*/ 0 h 115"/>
                  <a:gd name="T36" fmla="*/ 32 w 147"/>
                  <a:gd name="T37" fmla="*/ 0 h 115"/>
                  <a:gd name="T38" fmla="*/ 32 w 147"/>
                  <a:gd name="T39" fmla="*/ 36 h 115"/>
                  <a:gd name="T40" fmla="*/ 59 w 147"/>
                  <a:gd name="T41" fmla="*/ 36 h 115"/>
                  <a:gd name="T42" fmla="*/ 59 w 147"/>
                  <a:gd name="T43" fmla="*/ 36 h 115"/>
                  <a:gd name="T44" fmla="*/ 68 w 147"/>
                  <a:gd name="T45" fmla="*/ 37 h 115"/>
                  <a:gd name="T46" fmla="*/ 76 w 147"/>
                  <a:gd name="T47" fmla="*/ 38 h 115"/>
                  <a:gd name="T48" fmla="*/ 84 w 147"/>
                  <a:gd name="T49" fmla="*/ 41 h 115"/>
                  <a:gd name="T50" fmla="*/ 92 w 147"/>
                  <a:gd name="T51" fmla="*/ 46 h 115"/>
                  <a:gd name="T52" fmla="*/ 92 w 147"/>
                  <a:gd name="T53" fmla="*/ 46 h 115"/>
                  <a:gd name="T54" fmla="*/ 66 w 147"/>
                  <a:gd name="T55" fmla="*/ 86 h 115"/>
                  <a:gd name="T56" fmla="*/ 66 w 147"/>
                  <a:gd name="T57" fmla="*/ 86 h 115"/>
                  <a:gd name="T58" fmla="*/ 68 w 147"/>
                  <a:gd name="T59" fmla="*/ 84 h 115"/>
                  <a:gd name="T60" fmla="*/ 70 w 147"/>
                  <a:gd name="T61" fmla="*/ 81 h 115"/>
                  <a:gd name="T62" fmla="*/ 71 w 147"/>
                  <a:gd name="T63" fmla="*/ 77 h 115"/>
                  <a:gd name="T64" fmla="*/ 71 w 147"/>
                  <a:gd name="T65" fmla="*/ 74 h 115"/>
                  <a:gd name="T66" fmla="*/ 71 w 147"/>
                  <a:gd name="T67" fmla="*/ 74 h 115"/>
                  <a:gd name="T68" fmla="*/ 71 w 147"/>
                  <a:gd name="T69" fmla="*/ 71 h 115"/>
                  <a:gd name="T70" fmla="*/ 70 w 147"/>
                  <a:gd name="T71" fmla="*/ 68 h 115"/>
                  <a:gd name="T72" fmla="*/ 68 w 147"/>
                  <a:gd name="T73" fmla="*/ 65 h 115"/>
                  <a:gd name="T74" fmla="*/ 67 w 147"/>
                  <a:gd name="T75" fmla="*/ 63 h 115"/>
                  <a:gd name="T76" fmla="*/ 64 w 147"/>
                  <a:gd name="T77" fmla="*/ 61 h 115"/>
                  <a:gd name="T78" fmla="*/ 61 w 147"/>
                  <a:gd name="T79" fmla="*/ 60 h 115"/>
                  <a:gd name="T80" fmla="*/ 53 w 147"/>
                  <a:gd name="T81" fmla="*/ 59 h 115"/>
                  <a:gd name="T82" fmla="*/ 32 w 147"/>
                  <a:gd name="T83" fmla="*/ 59 h 115"/>
                  <a:gd name="T84" fmla="*/ 32 w 147"/>
                  <a:gd name="T85" fmla="*/ 91 h 115"/>
                  <a:gd name="T86" fmla="*/ 53 w 147"/>
                  <a:gd name="T87" fmla="*/ 91 h 115"/>
                  <a:gd name="T88" fmla="*/ 53 w 147"/>
                  <a:gd name="T89" fmla="*/ 91 h 115"/>
                  <a:gd name="T90" fmla="*/ 57 w 147"/>
                  <a:gd name="T91" fmla="*/ 91 h 115"/>
                  <a:gd name="T92" fmla="*/ 60 w 147"/>
                  <a:gd name="T93" fmla="*/ 90 h 115"/>
                  <a:gd name="T94" fmla="*/ 63 w 147"/>
                  <a:gd name="T95" fmla="*/ 88 h 115"/>
                  <a:gd name="T96" fmla="*/ 66 w 147"/>
                  <a:gd name="T97" fmla="*/ 86 h 115"/>
                  <a:gd name="T98" fmla="*/ 66 w 147"/>
                  <a:gd name="T99" fmla="*/ 86 h 115"/>
                  <a:gd name="T100" fmla="*/ 116 w 147"/>
                  <a:gd name="T101" fmla="*/ 0 h 115"/>
                  <a:gd name="T102" fmla="*/ 147 w 147"/>
                  <a:gd name="T103" fmla="*/ 0 h 115"/>
                  <a:gd name="T104" fmla="*/ 147 w 147"/>
                  <a:gd name="T105" fmla="*/ 115 h 115"/>
                  <a:gd name="T106" fmla="*/ 116 w 147"/>
                  <a:gd name="T107" fmla="*/ 115 h 115"/>
                  <a:gd name="T108" fmla="*/ 116 w 147"/>
                  <a:gd name="T109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47" h="115">
                    <a:moveTo>
                      <a:pt x="92" y="46"/>
                    </a:moveTo>
                    <a:lnTo>
                      <a:pt x="92" y="46"/>
                    </a:lnTo>
                    <a:lnTo>
                      <a:pt x="97" y="51"/>
                    </a:lnTo>
                    <a:lnTo>
                      <a:pt x="101" y="58"/>
                    </a:lnTo>
                    <a:lnTo>
                      <a:pt x="103" y="66"/>
                    </a:lnTo>
                    <a:lnTo>
                      <a:pt x="103" y="73"/>
                    </a:lnTo>
                    <a:lnTo>
                      <a:pt x="103" y="73"/>
                    </a:lnTo>
                    <a:lnTo>
                      <a:pt x="103" y="82"/>
                    </a:lnTo>
                    <a:lnTo>
                      <a:pt x="100" y="90"/>
                    </a:lnTo>
                    <a:lnTo>
                      <a:pt x="96" y="97"/>
                    </a:lnTo>
                    <a:lnTo>
                      <a:pt x="90" y="104"/>
                    </a:lnTo>
                    <a:lnTo>
                      <a:pt x="90" y="104"/>
                    </a:lnTo>
                    <a:lnTo>
                      <a:pt x="82" y="109"/>
                    </a:lnTo>
                    <a:lnTo>
                      <a:pt x="74" y="113"/>
                    </a:lnTo>
                    <a:lnTo>
                      <a:pt x="65" y="115"/>
                    </a:lnTo>
                    <a:lnTo>
                      <a:pt x="55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2" y="0"/>
                    </a:lnTo>
                    <a:lnTo>
                      <a:pt x="32" y="36"/>
                    </a:lnTo>
                    <a:lnTo>
                      <a:pt x="59" y="36"/>
                    </a:lnTo>
                    <a:lnTo>
                      <a:pt x="59" y="36"/>
                    </a:lnTo>
                    <a:lnTo>
                      <a:pt x="68" y="37"/>
                    </a:lnTo>
                    <a:lnTo>
                      <a:pt x="76" y="38"/>
                    </a:lnTo>
                    <a:lnTo>
                      <a:pt x="84" y="41"/>
                    </a:lnTo>
                    <a:lnTo>
                      <a:pt x="92" y="46"/>
                    </a:lnTo>
                    <a:lnTo>
                      <a:pt x="92" y="46"/>
                    </a:lnTo>
                    <a:close/>
                    <a:moveTo>
                      <a:pt x="66" y="86"/>
                    </a:moveTo>
                    <a:lnTo>
                      <a:pt x="66" y="86"/>
                    </a:lnTo>
                    <a:lnTo>
                      <a:pt x="68" y="84"/>
                    </a:lnTo>
                    <a:lnTo>
                      <a:pt x="70" y="81"/>
                    </a:lnTo>
                    <a:lnTo>
                      <a:pt x="71" y="77"/>
                    </a:lnTo>
                    <a:lnTo>
                      <a:pt x="71" y="74"/>
                    </a:lnTo>
                    <a:lnTo>
                      <a:pt x="71" y="74"/>
                    </a:lnTo>
                    <a:lnTo>
                      <a:pt x="71" y="71"/>
                    </a:lnTo>
                    <a:lnTo>
                      <a:pt x="70" y="68"/>
                    </a:lnTo>
                    <a:lnTo>
                      <a:pt x="68" y="65"/>
                    </a:lnTo>
                    <a:lnTo>
                      <a:pt x="67" y="63"/>
                    </a:lnTo>
                    <a:lnTo>
                      <a:pt x="64" y="61"/>
                    </a:lnTo>
                    <a:lnTo>
                      <a:pt x="61" y="60"/>
                    </a:lnTo>
                    <a:lnTo>
                      <a:pt x="53" y="59"/>
                    </a:lnTo>
                    <a:lnTo>
                      <a:pt x="32" y="59"/>
                    </a:lnTo>
                    <a:lnTo>
                      <a:pt x="32" y="91"/>
                    </a:lnTo>
                    <a:lnTo>
                      <a:pt x="53" y="91"/>
                    </a:lnTo>
                    <a:lnTo>
                      <a:pt x="53" y="91"/>
                    </a:lnTo>
                    <a:lnTo>
                      <a:pt x="57" y="91"/>
                    </a:lnTo>
                    <a:lnTo>
                      <a:pt x="60" y="90"/>
                    </a:lnTo>
                    <a:lnTo>
                      <a:pt x="63" y="88"/>
                    </a:lnTo>
                    <a:lnTo>
                      <a:pt x="66" y="86"/>
                    </a:lnTo>
                    <a:lnTo>
                      <a:pt x="66" y="86"/>
                    </a:lnTo>
                    <a:close/>
                    <a:moveTo>
                      <a:pt x="116" y="0"/>
                    </a:moveTo>
                    <a:lnTo>
                      <a:pt x="147" y="0"/>
                    </a:lnTo>
                    <a:lnTo>
                      <a:pt x="147" y="115"/>
                    </a:lnTo>
                    <a:lnTo>
                      <a:pt x="116" y="115"/>
                    </a:lnTo>
                    <a:lnTo>
                      <a:pt x="116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9">
                <a:extLst>
                  <a:ext uri="{FF2B5EF4-FFF2-40B4-BE49-F238E27FC236}">
                    <a16:creationId xmlns:a16="http://schemas.microsoft.com/office/drawing/2014/main" id="{339C0D6F-C8CF-4609-BF7A-9F5078137F1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802941" y="1379538"/>
                <a:ext cx="74613" cy="90487"/>
              </a:xfrm>
              <a:custGeom>
                <a:avLst/>
                <a:gdLst>
                  <a:gd name="T0" fmla="*/ 92 w 92"/>
                  <a:gd name="T1" fmla="*/ 89 h 115"/>
                  <a:gd name="T2" fmla="*/ 92 w 92"/>
                  <a:gd name="T3" fmla="*/ 115 h 115"/>
                  <a:gd name="T4" fmla="*/ 0 w 92"/>
                  <a:gd name="T5" fmla="*/ 115 h 115"/>
                  <a:gd name="T6" fmla="*/ 0 w 92"/>
                  <a:gd name="T7" fmla="*/ 0 h 115"/>
                  <a:gd name="T8" fmla="*/ 90 w 92"/>
                  <a:gd name="T9" fmla="*/ 0 h 115"/>
                  <a:gd name="T10" fmla="*/ 90 w 92"/>
                  <a:gd name="T11" fmla="*/ 25 h 115"/>
                  <a:gd name="T12" fmla="*/ 32 w 92"/>
                  <a:gd name="T13" fmla="*/ 25 h 115"/>
                  <a:gd name="T14" fmla="*/ 32 w 92"/>
                  <a:gd name="T15" fmla="*/ 44 h 115"/>
                  <a:gd name="T16" fmla="*/ 83 w 92"/>
                  <a:gd name="T17" fmla="*/ 44 h 115"/>
                  <a:gd name="T18" fmla="*/ 83 w 92"/>
                  <a:gd name="T19" fmla="*/ 68 h 115"/>
                  <a:gd name="T20" fmla="*/ 32 w 92"/>
                  <a:gd name="T21" fmla="*/ 68 h 115"/>
                  <a:gd name="T22" fmla="*/ 32 w 92"/>
                  <a:gd name="T23" fmla="*/ 89 h 115"/>
                  <a:gd name="T24" fmla="*/ 92 w 92"/>
                  <a:gd name="T25" fmla="*/ 89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2" h="115">
                    <a:moveTo>
                      <a:pt x="92" y="89"/>
                    </a:moveTo>
                    <a:lnTo>
                      <a:pt x="9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25"/>
                    </a:lnTo>
                    <a:lnTo>
                      <a:pt x="32" y="25"/>
                    </a:lnTo>
                    <a:lnTo>
                      <a:pt x="32" y="44"/>
                    </a:lnTo>
                    <a:lnTo>
                      <a:pt x="83" y="44"/>
                    </a:lnTo>
                    <a:lnTo>
                      <a:pt x="83" y="68"/>
                    </a:lnTo>
                    <a:lnTo>
                      <a:pt x="32" y="68"/>
                    </a:lnTo>
                    <a:lnTo>
                      <a:pt x="32" y="89"/>
                    </a:lnTo>
                    <a:lnTo>
                      <a:pt x="92" y="8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10">
                <a:extLst>
                  <a:ext uri="{FF2B5EF4-FFF2-40B4-BE49-F238E27FC236}">
                    <a16:creationId xmlns:a16="http://schemas.microsoft.com/office/drawing/2014/main" id="{8DABDE40-70E9-43DD-9DF8-5E195FA52981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934704" y="1379538"/>
                <a:ext cx="82550" cy="90487"/>
              </a:xfrm>
              <a:custGeom>
                <a:avLst/>
                <a:gdLst>
                  <a:gd name="T0" fmla="*/ 99 w 105"/>
                  <a:gd name="T1" fmla="*/ 64 h 115"/>
                  <a:gd name="T2" fmla="*/ 104 w 105"/>
                  <a:gd name="T3" fmla="*/ 72 h 115"/>
                  <a:gd name="T4" fmla="*/ 105 w 105"/>
                  <a:gd name="T5" fmla="*/ 81 h 115"/>
                  <a:gd name="T6" fmla="*/ 104 w 105"/>
                  <a:gd name="T7" fmla="*/ 88 h 115"/>
                  <a:gd name="T8" fmla="*/ 98 w 105"/>
                  <a:gd name="T9" fmla="*/ 101 h 115"/>
                  <a:gd name="T10" fmla="*/ 93 w 105"/>
                  <a:gd name="T11" fmla="*/ 106 h 115"/>
                  <a:gd name="T12" fmla="*/ 78 w 105"/>
                  <a:gd name="T13" fmla="*/ 113 h 115"/>
                  <a:gd name="T14" fmla="*/ 58 w 105"/>
                  <a:gd name="T15" fmla="*/ 115 h 115"/>
                  <a:gd name="T16" fmla="*/ 0 w 105"/>
                  <a:gd name="T17" fmla="*/ 0 h 115"/>
                  <a:gd name="T18" fmla="*/ 55 w 105"/>
                  <a:gd name="T19" fmla="*/ 0 h 115"/>
                  <a:gd name="T20" fmla="*/ 72 w 105"/>
                  <a:gd name="T21" fmla="*/ 2 h 115"/>
                  <a:gd name="T22" fmla="*/ 88 w 105"/>
                  <a:gd name="T23" fmla="*/ 8 h 115"/>
                  <a:gd name="T24" fmla="*/ 93 w 105"/>
                  <a:gd name="T25" fmla="*/ 12 h 115"/>
                  <a:gd name="T26" fmla="*/ 99 w 105"/>
                  <a:gd name="T27" fmla="*/ 23 h 115"/>
                  <a:gd name="T28" fmla="*/ 100 w 105"/>
                  <a:gd name="T29" fmla="*/ 30 h 115"/>
                  <a:gd name="T30" fmla="*/ 96 w 105"/>
                  <a:gd name="T31" fmla="*/ 45 h 115"/>
                  <a:gd name="T32" fmla="*/ 91 w 105"/>
                  <a:gd name="T33" fmla="*/ 50 h 115"/>
                  <a:gd name="T34" fmla="*/ 84 w 105"/>
                  <a:gd name="T35" fmla="*/ 54 h 115"/>
                  <a:gd name="T36" fmla="*/ 93 w 105"/>
                  <a:gd name="T37" fmla="*/ 58 h 115"/>
                  <a:gd name="T38" fmla="*/ 99 w 105"/>
                  <a:gd name="T39" fmla="*/ 64 h 115"/>
                  <a:gd name="T40" fmla="*/ 32 w 105"/>
                  <a:gd name="T41" fmla="*/ 46 h 115"/>
                  <a:gd name="T42" fmla="*/ 52 w 105"/>
                  <a:gd name="T43" fmla="*/ 46 h 115"/>
                  <a:gd name="T44" fmla="*/ 63 w 105"/>
                  <a:gd name="T45" fmla="*/ 43 h 115"/>
                  <a:gd name="T46" fmla="*/ 66 w 105"/>
                  <a:gd name="T47" fmla="*/ 34 h 115"/>
                  <a:gd name="T48" fmla="*/ 65 w 105"/>
                  <a:gd name="T49" fmla="*/ 29 h 115"/>
                  <a:gd name="T50" fmla="*/ 58 w 105"/>
                  <a:gd name="T51" fmla="*/ 24 h 115"/>
                  <a:gd name="T52" fmla="*/ 32 w 105"/>
                  <a:gd name="T53" fmla="*/ 23 h 115"/>
                  <a:gd name="T54" fmla="*/ 71 w 105"/>
                  <a:gd name="T55" fmla="*/ 79 h 115"/>
                  <a:gd name="T56" fmla="*/ 70 w 105"/>
                  <a:gd name="T57" fmla="*/ 74 h 115"/>
                  <a:gd name="T58" fmla="*/ 63 w 105"/>
                  <a:gd name="T59" fmla="*/ 68 h 115"/>
                  <a:gd name="T60" fmla="*/ 32 w 105"/>
                  <a:gd name="T61" fmla="*/ 67 h 115"/>
                  <a:gd name="T62" fmla="*/ 57 w 105"/>
                  <a:gd name="T63" fmla="*/ 91 h 115"/>
                  <a:gd name="T64" fmla="*/ 63 w 105"/>
                  <a:gd name="T65" fmla="*/ 90 h 115"/>
                  <a:gd name="T66" fmla="*/ 70 w 105"/>
                  <a:gd name="T67" fmla="*/ 84 h 115"/>
                  <a:gd name="T68" fmla="*/ 71 w 105"/>
                  <a:gd name="T69" fmla="*/ 79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5" h="115">
                    <a:moveTo>
                      <a:pt x="99" y="64"/>
                    </a:moveTo>
                    <a:lnTo>
                      <a:pt x="99" y="64"/>
                    </a:lnTo>
                    <a:lnTo>
                      <a:pt x="102" y="68"/>
                    </a:lnTo>
                    <a:lnTo>
                      <a:pt x="104" y="72"/>
                    </a:lnTo>
                    <a:lnTo>
                      <a:pt x="105" y="77"/>
                    </a:lnTo>
                    <a:lnTo>
                      <a:pt x="105" y="81"/>
                    </a:lnTo>
                    <a:lnTo>
                      <a:pt x="105" y="81"/>
                    </a:lnTo>
                    <a:lnTo>
                      <a:pt x="104" y="88"/>
                    </a:lnTo>
                    <a:lnTo>
                      <a:pt x="102" y="95"/>
                    </a:lnTo>
                    <a:lnTo>
                      <a:pt x="98" y="101"/>
                    </a:lnTo>
                    <a:lnTo>
                      <a:pt x="93" y="106"/>
                    </a:lnTo>
                    <a:lnTo>
                      <a:pt x="93" y="106"/>
                    </a:lnTo>
                    <a:lnTo>
                      <a:pt x="86" y="110"/>
                    </a:lnTo>
                    <a:lnTo>
                      <a:pt x="78" y="113"/>
                    </a:lnTo>
                    <a:lnTo>
                      <a:pt x="69" y="114"/>
                    </a:lnTo>
                    <a:lnTo>
                      <a:pt x="58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55" y="0"/>
                    </a:lnTo>
                    <a:lnTo>
                      <a:pt x="55" y="0"/>
                    </a:lnTo>
                    <a:lnTo>
                      <a:pt x="64" y="0"/>
                    </a:lnTo>
                    <a:lnTo>
                      <a:pt x="72" y="2"/>
                    </a:lnTo>
                    <a:lnTo>
                      <a:pt x="81" y="4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93" y="12"/>
                    </a:lnTo>
                    <a:lnTo>
                      <a:pt x="97" y="17"/>
                    </a:lnTo>
                    <a:lnTo>
                      <a:pt x="99" y="23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99" y="37"/>
                    </a:lnTo>
                    <a:lnTo>
                      <a:pt x="96" y="45"/>
                    </a:lnTo>
                    <a:lnTo>
                      <a:pt x="96" y="45"/>
                    </a:lnTo>
                    <a:lnTo>
                      <a:pt x="91" y="50"/>
                    </a:lnTo>
                    <a:lnTo>
                      <a:pt x="84" y="54"/>
                    </a:lnTo>
                    <a:lnTo>
                      <a:pt x="84" y="54"/>
                    </a:lnTo>
                    <a:lnTo>
                      <a:pt x="88" y="56"/>
                    </a:lnTo>
                    <a:lnTo>
                      <a:pt x="93" y="58"/>
                    </a:lnTo>
                    <a:lnTo>
                      <a:pt x="96" y="61"/>
                    </a:lnTo>
                    <a:lnTo>
                      <a:pt x="99" y="64"/>
                    </a:lnTo>
                    <a:lnTo>
                      <a:pt x="99" y="64"/>
                    </a:lnTo>
                    <a:close/>
                    <a:moveTo>
                      <a:pt x="32" y="46"/>
                    </a:moveTo>
                    <a:lnTo>
                      <a:pt x="52" y="46"/>
                    </a:lnTo>
                    <a:lnTo>
                      <a:pt x="52" y="46"/>
                    </a:lnTo>
                    <a:lnTo>
                      <a:pt x="58" y="45"/>
                    </a:lnTo>
                    <a:lnTo>
                      <a:pt x="63" y="43"/>
                    </a:lnTo>
                    <a:lnTo>
                      <a:pt x="65" y="39"/>
                    </a:lnTo>
                    <a:lnTo>
                      <a:pt x="66" y="34"/>
                    </a:lnTo>
                    <a:lnTo>
                      <a:pt x="66" y="34"/>
                    </a:lnTo>
                    <a:lnTo>
                      <a:pt x="65" y="29"/>
                    </a:lnTo>
                    <a:lnTo>
                      <a:pt x="63" y="26"/>
                    </a:lnTo>
                    <a:lnTo>
                      <a:pt x="58" y="24"/>
                    </a:lnTo>
                    <a:lnTo>
                      <a:pt x="52" y="23"/>
                    </a:lnTo>
                    <a:lnTo>
                      <a:pt x="32" y="23"/>
                    </a:lnTo>
                    <a:lnTo>
                      <a:pt x="32" y="46"/>
                    </a:lnTo>
                    <a:close/>
                    <a:moveTo>
                      <a:pt x="71" y="79"/>
                    </a:moveTo>
                    <a:lnTo>
                      <a:pt x="71" y="79"/>
                    </a:lnTo>
                    <a:lnTo>
                      <a:pt x="70" y="74"/>
                    </a:lnTo>
                    <a:lnTo>
                      <a:pt x="68" y="70"/>
                    </a:lnTo>
                    <a:lnTo>
                      <a:pt x="63" y="68"/>
                    </a:lnTo>
                    <a:lnTo>
                      <a:pt x="57" y="67"/>
                    </a:lnTo>
                    <a:lnTo>
                      <a:pt x="32" y="67"/>
                    </a:lnTo>
                    <a:lnTo>
                      <a:pt x="32" y="91"/>
                    </a:lnTo>
                    <a:lnTo>
                      <a:pt x="57" y="91"/>
                    </a:lnTo>
                    <a:lnTo>
                      <a:pt x="57" y="91"/>
                    </a:lnTo>
                    <a:lnTo>
                      <a:pt x="63" y="90"/>
                    </a:lnTo>
                    <a:lnTo>
                      <a:pt x="68" y="88"/>
                    </a:lnTo>
                    <a:lnTo>
                      <a:pt x="70" y="84"/>
                    </a:lnTo>
                    <a:lnTo>
                      <a:pt x="71" y="79"/>
                    </a:lnTo>
                    <a:lnTo>
                      <a:pt x="71" y="7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11">
                <a:extLst>
                  <a:ext uri="{FF2B5EF4-FFF2-40B4-BE49-F238E27FC236}">
                    <a16:creationId xmlns:a16="http://schemas.microsoft.com/office/drawing/2014/main" id="{DC01AD75-38C8-4BD2-A24A-85DF1C13809C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1033129" y="1379538"/>
                <a:ext cx="119063" cy="90487"/>
              </a:xfrm>
              <a:custGeom>
                <a:avLst/>
                <a:gdLst>
                  <a:gd name="T0" fmla="*/ 92 w 148"/>
                  <a:gd name="T1" fmla="*/ 46 h 115"/>
                  <a:gd name="T2" fmla="*/ 92 w 148"/>
                  <a:gd name="T3" fmla="*/ 46 h 115"/>
                  <a:gd name="T4" fmla="*/ 97 w 148"/>
                  <a:gd name="T5" fmla="*/ 51 h 115"/>
                  <a:gd name="T6" fmla="*/ 101 w 148"/>
                  <a:gd name="T7" fmla="*/ 58 h 115"/>
                  <a:gd name="T8" fmla="*/ 103 w 148"/>
                  <a:gd name="T9" fmla="*/ 66 h 115"/>
                  <a:gd name="T10" fmla="*/ 103 w 148"/>
                  <a:gd name="T11" fmla="*/ 73 h 115"/>
                  <a:gd name="T12" fmla="*/ 103 w 148"/>
                  <a:gd name="T13" fmla="*/ 73 h 115"/>
                  <a:gd name="T14" fmla="*/ 103 w 148"/>
                  <a:gd name="T15" fmla="*/ 82 h 115"/>
                  <a:gd name="T16" fmla="*/ 100 w 148"/>
                  <a:gd name="T17" fmla="*/ 90 h 115"/>
                  <a:gd name="T18" fmla="*/ 96 w 148"/>
                  <a:gd name="T19" fmla="*/ 97 h 115"/>
                  <a:gd name="T20" fmla="*/ 91 w 148"/>
                  <a:gd name="T21" fmla="*/ 104 h 115"/>
                  <a:gd name="T22" fmla="*/ 91 w 148"/>
                  <a:gd name="T23" fmla="*/ 104 h 115"/>
                  <a:gd name="T24" fmla="*/ 83 w 148"/>
                  <a:gd name="T25" fmla="*/ 109 h 115"/>
                  <a:gd name="T26" fmla="*/ 73 w 148"/>
                  <a:gd name="T27" fmla="*/ 113 h 115"/>
                  <a:gd name="T28" fmla="*/ 64 w 148"/>
                  <a:gd name="T29" fmla="*/ 115 h 115"/>
                  <a:gd name="T30" fmla="*/ 54 w 148"/>
                  <a:gd name="T31" fmla="*/ 115 h 115"/>
                  <a:gd name="T32" fmla="*/ 0 w 148"/>
                  <a:gd name="T33" fmla="*/ 115 h 115"/>
                  <a:gd name="T34" fmla="*/ 0 w 148"/>
                  <a:gd name="T35" fmla="*/ 0 h 115"/>
                  <a:gd name="T36" fmla="*/ 32 w 148"/>
                  <a:gd name="T37" fmla="*/ 0 h 115"/>
                  <a:gd name="T38" fmla="*/ 32 w 148"/>
                  <a:gd name="T39" fmla="*/ 36 h 115"/>
                  <a:gd name="T40" fmla="*/ 59 w 148"/>
                  <a:gd name="T41" fmla="*/ 36 h 115"/>
                  <a:gd name="T42" fmla="*/ 59 w 148"/>
                  <a:gd name="T43" fmla="*/ 36 h 115"/>
                  <a:gd name="T44" fmla="*/ 67 w 148"/>
                  <a:gd name="T45" fmla="*/ 37 h 115"/>
                  <a:gd name="T46" fmla="*/ 76 w 148"/>
                  <a:gd name="T47" fmla="*/ 38 h 115"/>
                  <a:gd name="T48" fmla="*/ 85 w 148"/>
                  <a:gd name="T49" fmla="*/ 41 h 115"/>
                  <a:gd name="T50" fmla="*/ 92 w 148"/>
                  <a:gd name="T51" fmla="*/ 46 h 115"/>
                  <a:gd name="T52" fmla="*/ 92 w 148"/>
                  <a:gd name="T53" fmla="*/ 46 h 115"/>
                  <a:gd name="T54" fmla="*/ 65 w 148"/>
                  <a:gd name="T55" fmla="*/ 86 h 115"/>
                  <a:gd name="T56" fmla="*/ 65 w 148"/>
                  <a:gd name="T57" fmla="*/ 86 h 115"/>
                  <a:gd name="T58" fmla="*/ 67 w 148"/>
                  <a:gd name="T59" fmla="*/ 84 h 115"/>
                  <a:gd name="T60" fmla="*/ 69 w 148"/>
                  <a:gd name="T61" fmla="*/ 81 h 115"/>
                  <a:gd name="T62" fmla="*/ 70 w 148"/>
                  <a:gd name="T63" fmla="*/ 77 h 115"/>
                  <a:gd name="T64" fmla="*/ 70 w 148"/>
                  <a:gd name="T65" fmla="*/ 74 h 115"/>
                  <a:gd name="T66" fmla="*/ 70 w 148"/>
                  <a:gd name="T67" fmla="*/ 74 h 115"/>
                  <a:gd name="T68" fmla="*/ 70 w 148"/>
                  <a:gd name="T69" fmla="*/ 71 h 115"/>
                  <a:gd name="T70" fmla="*/ 69 w 148"/>
                  <a:gd name="T71" fmla="*/ 68 h 115"/>
                  <a:gd name="T72" fmla="*/ 68 w 148"/>
                  <a:gd name="T73" fmla="*/ 65 h 115"/>
                  <a:gd name="T74" fmla="*/ 66 w 148"/>
                  <a:gd name="T75" fmla="*/ 63 h 115"/>
                  <a:gd name="T76" fmla="*/ 63 w 148"/>
                  <a:gd name="T77" fmla="*/ 61 h 115"/>
                  <a:gd name="T78" fmla="*/ 60 w 148"/>
                  <a:gd name="T79" fmla="*/ 60 h 115"/>
                  <a:gd name="T80" fmla="*/ 52 w 148"/>
                  <a:gd name="T81" fmla="*/ 59 h 115"/>
                  <a:gd name="T82" fmla="*/ 33 w 148"/>
                  <a:gd name="T83" fmla="*/ 59 h 115"/>
                  <a:gd name="T84" fmla="*/ 33 w 148"/>
                  <a:gd name="T85" fmla="*/ 91 h 115"/>
                  <a:gd name="T86" fmla="*/ 52 w 148"/>
                  <a:gd name="T87" fmla="*/ 91 h 115"/>
                  <a:gd name="T88" fmla="*/ 52 w 148"/>
                  <a:gd name="T89" fmla="*/ 91 h 115"/>
                  <a:gd name="T90" fmla="*/ 56 w 148"/>
                  <a:gd name="T91" fmla="*/ 91 h 115"/>
                  <a:gd name="T92" fmla="*/ 59 w 148"/>
                  <a:gd name="T93" fmla="*/ 90 h 115"/>
                  <a:gd name="T94" fmla="*/ 62 w 148"/>
                  <a:gd name="T95" fmla="*/ 88 h 115"/>
                  <a:gd name="T96" fmla="*/ 65 w 148"/>
                  <a:gd name="T97" fmla="*/ 86 h 115"/>
                  <a:gd name="T98" fmla="*/ 65 w 148"/>
                  <a:gd name="T99" fmla="*/ 86 h 115"/>
                  <a:gd name="T100" fmla="*/ 116 w 148"/>
                  <a:gd name="T101" fmla="*/ 0 h 115"/>
                  <a:gd name="T102" fmla="*/ 148 w 148"/>
                  <a:gd name="T103" fmla="*/ 0 h 115"/>
                  <a:gd name="T104" fmla="*/ 148 w 148"/>
                  <a:gd name="T105" fmla="*/ 115 h 115"/>
                  <a:gd name="T106" fmla="*/ 116 w 148"/>
                  <a:gd name="T107" fmla="*/ 115 h 115"/>
                  <a:gd name="T108" fmla="*/ 116 w 148"/>
                  <a:gd name="T109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48" h="115">
                    <a:moveTo>
                      <a:pt x="92" y="46"/>
                    </a:moveTo>
                    <a:lnTo>
                      <a:pt x="92" y="46"/>
                    </a:lnTo>
                    <a:lnTo>
                      <a:pt x="97" y="51"/>
                    </a:lnTo>
                    <a:lnTo>
                      <a:pt x="101" y="58"/>
                    </a:lnTo>
                    <a:lnTo>
                      <a:pt x="103" y="66"/>
                    </a:lnTo>
                    <a:lnTo>
                      <a:pt x="103" y="73"/>
                    </a:lnTo>
                    <a:lnTo>
                      <a:pt x="103" y="73"/>
                    </a:lnTo>
                    <a:lnTo>
                      <a:pt x="103" y="82"/>
                    </a:lnTo>
                    <a:lnTo>
                      <a:pt x="100" y="90"/>
                    </a:lnTo>
                    <a:lnTo>
                      <a:pt x="96" y="97"/>
                    </a:lnTo>
                    <a:lnTo>
                      <a:pt x="91" y="104"/>
                    </a:lnTo>
                    <a:lnTo>
                      <a:pt x="91" y="104"/>
                    </a:lnTo>
                    <a:lnTo>
                      <a:pt x="83" y="109"/>
                    </a:lnTo>
                    <a:lnTo>
                      <a:pt x="73" y="113"/>
                    </a:lnTo>
                    <a:lnTo>
                      <a:pt x="64" y="115"/>
                    </a:lnTo>
                    <a:lnTo>
                      <a:pt x="54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2" y="0"/>
                    </a:lnTo>
                    <a:lnTo>
                      <a:pt x="32" y="36"/>
                    </a:lnTo>
                    <a:lnTo>
                      <a:pt x="59" y="36"/>
                    </a:lnTo>
                    <a:lnTo>
                      <a:pt x="59" y="36"/>
                    </a:lnTo>
                    <a:lnTo>
                      <a:pt x="67" y="37"/>
                    </a:lnTo>
                    <a:lnTo>
                      <a:pt x="76" y="38"/>
                    </a:lnTo>
                    <a:lnTo>
                      <a:pt x="85" y="41"/>
                    </a:lnTo>
                    <a:lnTo>
                      <a:pt x="92" y="46"/>
                    </a:lnTo>
                    <a:lnTo>
                      <a:pt x="92" y="46"/>
                    </a:lnTo>
                    <a:close/>
                    <a:moveTo>
                      <a:pt x="65" y="86"/>
                    </a:moveTo>
                    <a:lnTo>
                      <a:pt x="65" y="86"/>
                    </a:lnTo>
                    <a:lnTo>
                      <a:pt x="67" y="84"/>
                    </a:lnTo>
                    <a:lnTo>
                      <a:pt x="69" y="81"/>
                    </a:lnTo>
                    <a:lnTo>
                      <a:pt x="70" y="77"/>
                    </a:lnTo>
                    <a:lnTo>
                      <a:pt x="70" y="74"/>
                    </a:lnTo>
                    <a:lnTo>
                      <a:pt x="70" y="74"/>
                    </a:lnTo>
                    <a:lnTo>
                      <a:pt x="70" y="71"/>
                    </a:lnTo>
                    <a:lnTo>
                      <a:pt x="69" y="68"/>
                    </a:lnTo>
                    <a:lnTo>
                      <a:pt x="68" y="65"/>
                    </a:lnTo>
                    <a:lnTo>
                      <a:pt x="66" y="63"/>
                    </a:lnTo>
                    <a:lnTo>
                      <a:pt x="63" y="61"/>
                    </a:lnTo>
                    <a:lnTo>
                      <a:pt x="60" y="60"/>
                    </a:lnTo>
                    <a:lnTo>
                      <a:pt x="52" y="59"/>
                    </a:lnTo>
                    <a:lnTo>
                      <a:pt x="33" y="59"/>
                    </a:lnTo>
                    <a:lnTo>
                      <a:pt x="33" y="91"/>
                    </a:lnTo>
                    <a:lnTo>
                      <a:pt x="52" y="91"/>
                    </a:lnTo>
                    <a:lnTo>
                      <a:pt x="52" y="91"/>
                    </a:lnTo>
                    <a:lnTo>
                      <a:pt x="56" y="91"/>
                    </a:lnTo>
                    <a:lnTo>
                      <a:pt x="59" y="90"/>
                    </a:lnTo>
                    <a:lnTo>
                      <a:pt x="62" y="88"/>
                    </a:lnTo>
                    <a:lnTo>
                      <a:pt x="65" y="86"/>
                    </a:lnTo>
                    <a:lnTo>
                      <a:pt x="65" y="86"/>
                    </a:lnTo>
                    <a:close/>
                    <a:moveTo>
                      <a:pt x="116" y="0"/>
                    </a:moveTo>
                    <a:lnTo>
                      <a:pt x="148" y="0"/>
                    </a:lnTo>
                    <a:lnTo>
                      <a:pt x="148" y="115"/>
                    </a:lnTo>
                    <a:lnTo>
                      <a:pt x="116" y="115"/>
                    </a:lnTo>
                    <a:lnTo>
                      <a:pt x="116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12">
                <a:extLst>
                  <a:ext uri="{FF2B5EF4-FFF2-40B4-BE49-F238E27FC236}">
                    <a16:creationId xmlns:a16="http://schemas.microsoft.com/office/drawing/2014/main" id="{23604D6D-DEB4-4A88-9414-010ACCF31A9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166479" y="1376363"/>
                <a:ext cx="79375" cy="95250"/>
              </a:xfrm>
              <a:custGeom>
                <a:avLst/>
                <a:gdLst>
                  <a:gd name="T0" fmla="*/ 96 w 101"/>
                  <a:gd name="T1" fmla="*/ 68 h 120"/>
                  <a:gd name="T2" fmla="*/ 100 w 101"/>
                  <a:gd name="T3" fmla="*/ 76 h 120"/>
                  <a:gd name="T4" fmla="*/ 101 w 101"/>
                  <a:gd name="T5" fmla="*/ 85 h 120"/>
                  <a:gd name="T6" fmla="*/ 101 w 101"/>
                  <a:gd name="T7" fmla="*/ 90 h 120"/>
                  <a:gd name="T8" fmla="*/ 97 w 101"/>
                  <a:gd name="T9" fmla="*/ 99 h 120"/>
                  <a:gd name="T10" fmla="*/ 94 w 101"/>
                  <a:gd name="T11" fmla="*/ 104 h 120"/>
                  <a:gd name="T12" fmla="*/ 85 w 101"/>
                  <a:gd name="T13" fmla="*/ 111 h 120"/>
                  <a:gd name="T14" fmla="*/ 75 w 101"/>
                  <a:gd name="T15" fmla="*/ 116 h 120"/>
                  <a:gd name="T16" fmla="*/ 61 w 101"/>
                  <a:gd name="T17" fmla="*/ 119 h 120"/>
                  <a:gd name="T18" fmla="*/ 48 w 101"/>
                  <a:gd name="T19" fmla="*/ 120 h 120"/>
                  <a:gd name="T20" fmla="*/ 23 w 101"/>
                  <a:gd name="T21" fmla="*/ 118 h 120"/>
                  <a:gd name="T22" fmla="*/ 12 w 101"/>
                  <a:gd name="T23" fmla="*/ 114 h 120"/>
                  <a:gd name="T24" fmla="*/ 10 w 101"/>
                  <a:gd name="T25" fmla="*/ 86 h 120"/>
                  <a:gd name="T26" fmla="*/ 18 w 101"/>
                  <a:gd name="T27" fmla="*/ 89 h 120"/>
                  <a:gd name="T28" fmla="*/ 26 w 101"/>
                  <a:gd name="T29" fmla="*/ 92 h 120"/>
                  <a:gd name="T30" fmla="*/ 44 w 101"/>
                  <a:gd name="T31" fmla="*/ 94 h 120"/>
                  <a:gd name="T32" fmla="*/ 53 w 101"/>
                  <a:gd name="T33" fmla="*/ 93 h 120"/>
                  <a:gd name="T34" fmla="*/ 62 w 101"/>
                  <a:gd name="T35" fmla="*/ 90 h 120"/>
                  <a:gd name="T36" fmla="*/ 67 w 101"/>
                  <a:gd name="T37" fmla="*/ 86 h 120"/>
                  <a:gd name="T38" fmla="*/ 69 w 101"/>
                  <a:gd name="T39" fmla="*/ 80 h 120"/>
                  <a:gd name="T40" fmla="*/ 68 w 101"/>
                  <a:gd name="T41" fmla="*/ 78 h 120"/>
                  <a:gd name="T42" fmla="*/ 66 w 101"/>
                  <a:gd name="T43" fmla="*/ 74 h 120"/>
                  <a:gd name="T44" fmla="*/ 64 w 101"/>
                  <a:gd name="T45" fmla="*/ 73 h 120"/>
                  <a:gd name="T46" fmla="*/ 53 w 101"/>
                  <a:gd name="T47" fmla="*/ 70 h 120"/>
                  <a:gd name="T48" fmla="*/ 23 w 101"/>
                  <a:gd name="T49" fmla="*/ 47 h 120"/>
                  <a:gd name="T50" fmla="*/ 50 w 101"/>
                  <a:gd name="T51" fmla="*/ 47 h 120"/>
                  <a:gd name="T52" fmla="*/ 60 w 101"/>
                  <a:gd name="T53" fmla="*/ 44 h 120"/>
                  <a:gd name="T54" fmla="*/ 63 w 101"/>
                  <a:gd name="T55" fmla="*/ 41 h 120"/>
                  <a:gd name="T56" fmla="*/ 64 w 101"/>
                  <a:gd name="T57" fmla="*/ 37 h 120"/>
                  <a:gd name="T58" fmla="*/ 62 w 101"/>
                  <a:gd name="T59" fmla="*/ 32 h 120"/>
                  <a:gd name="T60" fmla="*/ 58 w 101"/>
                  <a:gd name="T61" fmla="*/ 29 h 120"/>
                  <a:gd name="T62" fmla="*/ 51 w 101"/>
                  <a:gd name="T63" fmla="*/ 26 h 120"/>
                  <a:gd name="T64" fmla="*/ 44 w 101"/>
                  <a:gd name="T65" fmla="*/ 26 h 120"/>
                  <a:gd name="T66" fmla="*/ 28 w 101"/>
                  <a:gd name="T67" fmla="*/ 28 h 120"/>
                  <a:gd name="T68" fmla="*/ 20 w 101"/>
                  <a:gd name="T69" fmla="*/ 30 h 120"/>
                  <a:gd name="T70" fmla="*/ 3 w 101"/>
                  <a:gd name="T71" fmla="*/ 9 h 120"/>
                  <a:gd name="T72" fmla="*/ 13 w 101"/>
                  <a:gd name="T73" fmla="*/ 5 h 120"/>
                  <a:gd name="T74" fmla="*/ 33 w 101"/>
                  <a:gd name="T75" fmla="*/ 1 h 120"/>
                  <a:gd name="T76" fmla="*/ 44 w 101"/>
                  <a:gd name="T77" fmla="*/ 0 h 120"/>
                  <a:gd name="T78" fmla="*/ 70 w 101"/>
                  <a:gd name="T79" fmla="*/ 4 h 120"/>
                  <a:gd name="T80" fmla="*/ 75 w 101"/>
                  <a:gd name="T81" fmla="*/ 6 h 120"/>
                  <a:gd name="T82" fmla="*/ 85 w 101"/>
                  <a:gd name="T83" fmla="*/ 12 h 120"/>
                  <a:gd name="T84" fmla="*/ 89 w 101"/>
                  <a:gd name="T85" fmla="*/ 16 h 120"/>
                  <a:gd name="T86" fmla="*/ 95 w 101"/>
                  <a:gd name="T87" fmla="*/ 24 h 120"/>
                  <a:gd name="T88" fmla="*/ 96 w 101"/>
                  <a:gd name="T89" fmla="*/ 34 h 120"/>
                  <a:gd name="T90" fmla="*/ 95 w 101"/>
                  <a:gd name="T91" fmla="*/ 41 h 120"/>
                  <a:gd name="T92" fmla="*/ 92 w 101"/>
                  <a:gd name="T93" fmla="*/ 48 h 120"/>
                  <a:gd name="T94" fmla="*/ 81 w 101"/>
                  <a:gd name="T95" fmla="*/ 58 h 120"/>
                  <a:gd name="T96" fmla="*/ 85 w 101"/>
                  <a:gd name="T97" fmla="*/ 59 h 120"/>
                  <a:gd name="T98" fmla="*/ 93 w 101"/>
                  <a:gd name="T99" fmla="*/ 65 h 120"/>
                  <a:gd name="T100" fmla="*/ 96 w 101"/>
                  <a:gd name="T101" fmla="*/ 68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01" h="120">
                    <a:moveTo>
                      <a:pt x="96" y="68"/>
                    </a:moveTo>
                    <a:lnTo>
                      <a:pt x="96" y="68"/>
                    </a:lnTo>
                    <a:lnTo>
                      <a:pt x="98" y="72"/>
                    </a:lnTo>
                    <a:lnTo>
                      <a:pt x="100" y="76"/>
                    </a:lnTo>
                    <a:lnTo>
                      <a:pt x="101" y="80"/>
                    </a:lnTo>
                    <a:lnTo>
                      <a:pt x="101" y="85"/>
                    </a:lnTo>
                    <a:lnTo>
                      <a:pt x="101" y="85"/>
                    </a:lnTo>
                    <a:lnTo>
                      <a:pt x="101" y="90"/>
                    </a:lnTo>
                    <a:lnTo>
                      <a:pt x="99" y="95"/>
                    </a:lnTo>
                    <a:lnTo>
                      <a:pt x="97" y="99"/>
                    </a:lnTo>
                    <a:lnTo>
                      <a:pt x="94" y="104"/>
                    </a:lnTo>
                    <a:lnTo>
                      <a:pt x="94" y="104"/>
                    </a:lnTo>
                    <a:lnTo>
                      <a:pt x="90" y="108"/>
                    </a:lnTo>
                    <a:lnTo>
                      <a:pt x="85" y="111"/>
                    </a:lnTo>
                    <a:lnTo>
                      <a:pt x="80" y="114"/>
                    </a:lnTo>
                    <a:lnTo>
                      <a:pt x="75" y="116"/>
                    </a:lnTo>
                    <a:lnTo>
                      <a:pt x="75" y="116"/>
                    </a:lnTo>
                    <a:lnTo>
                      <a:pt x="61" y="119"/>
                    </a:lnTo>
                    <a:lnTo>
                      <a:pt x="48" y="120"/>
                    </a:lnTo>
                    <a:lnTo>
                      <a:pt x="48" y="120"/>
                    </a:lnTo>
                    <a:lnTo>
                      <a:pt x="35" y="120"/>
                    </a:lnTo>
                    <a:lnTo>
                      <a:pt x="23" y="118"/>
                    </a:lnTo>
                    <a:lnTo>
                      <a:pt x="23" y="118"/>
                    </a:lnTo>
                    <a:lnTo>
                      <a:pt x="12" y="114"/>
                    </a:lnTo>
                    <a:lnTo>
                      <a:pt x="0" y="109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8" y="89"/>
                    </a:lnTo>
                    <a:lnTo>
                      <a:pt x="26" y="92"/>
                    </a:lnTo>
                    <a:lnTo>
                      <a:pt x="26" y="92"/>
                    </a:lnTo>
                    <a:lnTo>
                      <a:pt x="35" y="93"/>
                    </a:lnTo>
                    <a:lnTo>
                      <a:pt x="44" y="94"/>
                    </a:lnTo>
                    <a:lnTo>
                      <a:pt x="44" y="94"/>
                    </a:lnTo>
                    <a:lnTo>
                      <a:pt x="53" y="93"/>
                    </a:lnTo>
                    <a:lnTo>
                      <a:pt x="62" y="90"/>
                    </a:lnTo>
                    <a:lnTo>
                      <a:pt x="62" y="90"/>
                    </a:lnTo>
                    <a:lnTo>
                      <a:pt x="64" y="89"/>
                    </a:lnTo>
                    <a:lnTo>
                      <a:pt x="67" y="86"/>
                    </a:lnTo>
                    <a:lnTo>
                      <a:pt x="68" y="84"/>
                    </a:lnTo>
                    <a:lnTo>
                      <a:pt x="69" y="80"/>
                    </a:lnTo>
                    <a:lnTo>
                      <a:pt x="69" y="80"/>
                    </a:lnTo>
                    <a:lnTo>
                      <a:pt x="68" y="78"/>
                    </a:lnTo>
                    <a:lnTo>
                      <a:pt x="67" y="76"/>
                    </a:lnTo>
                    <a:lnTo>
                      <a:pt x="66" y="74"/>
                    </a:lnTo>
                    <a:lnTo>
                      <a:pt x="64" y="73"/>
                    </a:lnTo>
                    <a:lnTo>
                      <a:pt x="64" y="73"/>
                    </a:lnTo>
                    <a:lnTo>
                      <a:pt x="59" y="71"/>
                    </a:lnTo>
                    <a:lnTo>
                      <a:pt x="53" y="70"/>
                    </a:lnTo>
                    <a:lnTo>
                      <a:pt x="23" y="70"/>
                    </a:lnTo>
                    <a:lnTo>
                      <a:pt x="23" y="47"/>
                    </a:lnTo>
                    <a:lnTo>
                      <a:pt x="50" y="47"/>
                    </a:lnTo>
                    <a:lnTo>
                      <a:pt x="50" y="47"/>
                    </a:lnTo>
                    <a:lnTo>
                      <a:pt x="55" y="46"/>
                    </a:lnTo>
                    <a:lnTo>
                      <a:pt x="60" y="44"/>
                    </a:lnTo>
                    <a:lnTo>
                      <a:pt x="60" y="44"/>
                    </a:lnTo>
                    <a:lnTo>
                      <a:pt x="63" y="41"/>
                    </a:lnTo>
                    <a:lnTo>
                      <a:pt x="64" y="37"/>
                    </a:lnTo>
                    <a:lnTo>
                      <a:pt x="64" y="37"/>
                    </a:lnTo>
                    <a:lnTo>
                      <a:pt x="63" y="35"/>
                    </a:lnTo>
                    <a:lnTo>
                      <a:pt x="62" y="32"/>
                    </a:lnTo>
                    <a:lnTo>
                      <a:pt x="61" y="30"/>
                    </a:lnTo>
                    <a:lnTo>
                      <a:pt x="58" y="29"/>
                    </a:lnTo>
                    <a:lnTo>
                      <a:pt x="58" y="29"/>
                    </a:lnTo>
                    <a:lnTo>
                      <a:pt x="51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35" y="26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0" y="30"/>
                    </a:lnTo>
                    <a:lnTo>
                      <a:pt x="13" y="34"/>
                    </a:lnTo>
                    <a:lnTo>
                      <a:pt x="3" y="9"/>
                    </a:lnTo>
                    <a:lnTo>
                      <a:pt x="3" y="9"/>
                    </a:lnTo>
                    <a:lnTo>
                      <a:pt x="13" y="5"/>
                    </a:lnTo>
                    <a:lnTo>
                      <a:pt x="23" y="2"/>
                    </a:lnTo>
                    <a:lnTo>
                      <a:pt x="33" y="1"/>
                    </a:lnTo>
                    <a:lnTo>
                      <a:pt x="44" y="0"/>
                    </a:lnTo>
                    <a:lnTo>
                      <a:pt x="44" y="0"/>
                    </a:lnTo>
                    <a:lnTo>
                      <a:pt x="57" y="1"/>
                    </a:lnTo>
                    <a:lnTo>
                      <a:pt x="70" y="4"/>
                    </a:lnTo>
                    <a:lnTo>
                      <a:pt x="70" y="4"/>
                    </a:lnTo>
                    <a:lnTo>
                      <a:pt x="75" y="6"/>
                    </a:lnTo>
                    <a:lnTo>
                      <a:pt x="80" y="9"/>
                    </a:lnTo>
                    <a:lnTo>
                      <a:pt x="85" y="12"/>
                    </a:lnTo>
                    <a:lnTo>
                      <a:pt x="89" y="16"/>
                    </a:lnTo>
                    <a:lnTo>
                      <a:pt x="89" y="16"/>
                    </a:lnTo>
                    <a:lnTo>
                      <a:pt x="92" y="20"/>
                    </a:lnTo>
                    <a:lnTo>
                      <a:pt x="95" y="24"/>
                    </a:lnTo>
                    <a:lnTo>
                      <a:pt x="96" y="29"/>
                    </a:lnTo>
                    <a:lnTo>
                      <a:pt x="96" y="34"/>
                    </a:lnTo>
                    <a:lnTo>
                      <a:pt x="96" y="34"/>
                    </a:lnTo>
                    <a:lnTo>
                      <a:pt x="95" y="41"/>
                    </a:lnTo>
                    <a:lnTo>
                      <a:pt x="92" y="48"/>
                    </a:lnTo>
                    <a:lnTo>
                      <a:pt x="92" y="48"/>
                    </a:lnTo>
                    <a:lnTo>
                      <a:pt x="87" y="53"/>
                    </a:lnTo>
                    <a:lnTo>
                      <a:pt x="81" y="58"/>
                    </a:lnTo>
                    <a:lnTo>
                      <a:pt x="81" y="58"/>
                    </a:lnTo>
                    <a:lnTo>
                      <a:pt x="85" y="59"/>
                    </a:lnTo>
                    <a:lnTo>
                      <a:pt x="89" y="62"/>
                    </a:lnTo>
                    <a:lnTo>
                      <a:pt x="93" y="65"/>
                    </a:lnTo>
                    <a:lnTo>
                      <a:pt x="96" y="68"/>
                    </a:lnTo>
                    <a:lnTo>
                      <a:pt x="96" y="6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13">
                <a:extLst>
                  <a:ext uri="{FF2B5EF4-FFF2-40B4-BE49-F238E27FC236}">
                    <a16:creationId xmlns:a16="http://schemas.microsoft.com/office/drawing/2014/main" id="{BEB42CE3-6E95-4417-846E-E8BA79D057B8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1256966" y="1377950"/>
                <a:ext cx="101600" cy="93662"/>
              </a:xfrm>
              <a:custGeom>
                <a:avLst/>
                <a:gdLst>
                  <a:gd name="T0" fmla="*/ 31 w 128"/>
                  <a:gd name="T1" fmla="*/ 112 h 119"/>
                  <a:gd name="T2" fmla="*/ 21 w 128"/>
                  <a:gd name="T3" fmla="*/ 105 h 119"/>
                  <a:gd name="T4" fmla="*/ 7 w 128"/>
                  <a:gd name="T5" fmla="*/ 87 h 119"/>
                  <a:gd name="T6" fmla="*/ 0 w 128"/>
                  <a:gd name="T7" fmla="*/ 65 h 119"/>
                  <a:gd name="T8" fmla="*/ 2 w 128"/>
                  <a:gd name="T9" fmla="*/ 43 h 119"/>
                  <a:gd name="T10" fmla="*/ 7 w 128"/>
                  <a:gd name="T11" fmla="*/ 32 h 119"/>
                  <a:gd name="T12" fmla="*/ 11 w 128"/>
                  <a:gd name="T13" fmla="*/ 24 h 119"/>
                  <a:gd name="T14" fmla="*/ 24 w 128"/>
                  <a:gd name="T15" fmla="*/ 12 h 119"/>
                  <a:gd name="T16" fmla="*/ 31 w 128"/>
                  <a:gd name="T17" fmla="*/ 7 h 119"/>
                  <a:gd name="T18" fmla="*/ 47 w 128"/>
                  <a:gd name="T19" fmla="*/ 2 h 119"/>
                  <a:gd name="T20" fmla="*/ 65 w 128"/>
                  <a:gd name="T21" fmla="*/ 0 h 119"/>
                  <a:gd name="T22" fmla="*/ 81 w 128"/>
                  <a:gd name="T23" fmla="*/ 2 h 119"/>
                  <a:gd name="T24" fmla="*/ 97 w 128"/>
                  <a:gd name="T25" fmla="*/ 7 h 119"/>
                  <a:gd name="T26" fmla="*/ 102 w 128"/>
                  <a:gd name="T27" fmla="*/ 10 h 119"/>
                  <a:gd name="T28" fmla="*/ 115 w 128"/>
                  <a:gd name="T29" fmla="*/ 22 h 119"/>
                  <a:gd name="T30" fmla="*/ 126 w 128"/>
                  <a:gd name="T31" fmla="*/ 42 h 119"/>
                  <a:gd name="T32" fmla="*/ 128 w 128"/>
                  <a:gd name="T33" fmla="*/ 64 h 119"/>
                  <a:gd name="T34" fmla="*/ 124 w 128"/>
                  <a:gd name="T35" fmla="*/ 81 h 119"/>
                  <a:gd name="T36" fmla="*/ 122 w 128"/>
                  <a:gd name="T37" fmla="*/ 86 h 119"/>
                  <a:gd name="T38" fmla="*/ 111 w 128"/>
                  <a:gd name="T39" fmla="*/ 100 h 119"/>
                  <a:gd name="T40" fmla="*/ 97 w 128"/>
                  <a:gd name="T41" fmla="*/ 112 h 119"/>
                  <a:gd name="T42" fmla="*/ 89 w 128"/>
                  <a:gd name="T43" fmla="*/ 115 h 119"/>
                  <a:gd name="T44" fmla="*/ 73 w 128"/>
                  <a:gd name="T45" fmla="*/ 119 h 119"/>
                  <a:gd name="T46" fmla="*/ 56 w 128"/>
                  <a:gd name="T47" fmla="*/ 119 h 119"/>
                  <a:gd name="T48" fmla="*/ 39 w 128"/>
                  <a:gd name="T49" fmla="*/ 115 h 119"/>
                  <a:gd name="T50" fmla="*/ 31 w 128"/>
                  <a:gd name="T51" fmla="*/ 112 h 119"/>
                  <a:gd name="T52" fmla="*/ 80 w 128"/>
                  <a:gd name="T53" fmla="*/ 87 h 119"/>
                  <a:gd name="T54" fmla="*/ 91 w 128"/>
                  <a:gd name="T55" fmla="*/ 76 h 119"/>
                  <a:gd name="T56" fmla="*/ 94 w 128"/>
                  <a:gd name="T57" fmla="*/ 68 h 119"/>
                  <a:gd name="T58" fmla="*/ 94 w 128"/>
                  <a:gd name="T59" fmla="*/ 50 h 119"/>
                  <a:gd name="T60" fmla="*/ 91 w 128"/>
                  <a:gd name="T61" fmla="*/ 42 h 119"/>
                  <a:gd name="T62" fmla="*/ 80 w 128"/>
                  <a:gd name="T63" fmla="*/ 30 h 119"/>
                  <a:gd name="T64" fmla="*/ 73 w 128"/>
                  <a:gd name="T65" fmla="*/ 27 h 119"/>
                  <a:gd name="T66" fmla="*/ 57 w 128"/>
                  <a:gd name="T67" fmla="*/ 27 h 119"/>
                  <a:gd name="T68" fmla="*/ 48 w 128"/>
                  <a:gd name="T69" fmla="*/ 30 h 119"/>
                  <a:gd name="T70" fmla="*/ 37 w 128"/>
                  <a:gd name="T71" fmla="*/ 42 h 119"/>
                  <a:gd name="T72" fmla="*/ 34 w 128"/>
                  <a:gd name="T73" fmla="*/ 50 h 119"/>
                  <a:gd name="T74" fmla="*/ 34 w 128"/>
                  <a:gd name="T75" fmla="*/ 68 h 119"/>
                  <a:gd name="T76" fmla="*/ 37 w 128"/>
                  <a:gd name="T77" fmla="*/ 76 h 119"/>
                  <a:gd name="T78" fmla="*/ 48 w 128"/>
                  <a:gd name="T79" fmla="*/ 87 h 119"/>
                  <a:gd name="T80" fmla="*/ 57 w 128"/>
                  <a:gd name="T81" fmla="*/ 90 h 119"/>
                  <a:gd name="T82" fmla="*/ 73 w 128"/>
                  <a:gd name="T83" fmla="*/ 90 h 119"/>
                  <a:gd name="T84" fmla="*/ 80 w 128"/>
                  <a:gd name="T85" fmla="*/ 87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28" h="119">
                    <a:moveTo>
                      <a:pt x="31" y="112"/>
                    </a:moveTo>
                    <a:lnTo>
                      <a:pt x="31" y="112"/>
                    </a:lnTo>
                    <a:lnTo>
                      <a:pt x="26" y="109"/>
                    </a:lnTo>
                    <a:lnTo>
                      <a:pt x="21" y="105"/>
                    </a:lnTo>
                    <a:lnTo>
                      <a:pt x="13" y="96"/>
                    </a:lnTo>
                    <a:lnTo>
                      <a:pt x="7" y="87"/>
                    </a:lnTo>
                    <a:lnTo>
                      <a:pt x="3" y="76"/>
                    </a:lnTo>
                    <a:lnTo>
                      <a:pt x="0" y="65"/>
                    </a:lnTo>
                    <a:lnTo>
                      <a:pt x="0" y="54"/>
                    </a:lnTo>
                    <a:lnTo>
                      <a:pt x="2" y="43"/>
                    </a:lnTo>
                    <a:lnTo>
                      <a:pt x="4" y="37"/>
                    </a:lnTo>
                    <a:lnTo>
                      <a:pt x="7" y="32"/>
                    </a:lnTo>
                    <a:lnTo>
                      <a:pt x="7" y="32"/>
                    </a:lnTo>
                    <a:lnTo>
                      <a:pt x="11" y="24"/>
                    </a:lnTo>
                    <a:lnTo>
                      <a:pt x="17" y="18"/>
                    </a:lnTo>
                    <a:lnTo>
                      <a:pt x="24" y="12"/>
                    </a:lnTo>
                    <a:lnTo>
                      <a:pt x="31" y="7"/>
                    </a:lnTo>
                    <a:lnTo>
                      <a:pt x="31" y="7"/>
                    </a:lnTo>
                    <a:lnTo>
                      <a:pt x="39" y="4"/>
                    </a:lnTo>
                    <a:lnTo>
                      <a:pt x="47" y="2"/>
                    </a:lnTo>
                    <a:lnTo>
                      <a:pt x="56" y="0"/>
                    </a:lnTo>
                    <a:lnTo>
                      <a:pt x="65" y="0"/>
                    </a:lnTo>
                    <a:lnTo>
                      <a:pt x="73" y="0"/>
                    </a:lnTo>
                    <a:lnTo>
                      <a:pt x="81" y="2"/>
                    </a:lnTo>
                    <a:lnTo>
                      <a:pt x="89" y="4"/>
                    </a:lnTo>
                    <a:lnTo>
                      <a:pt x="97" y="7"/>
                    </a:lnTo>
                    <a:lnTo>
                      <a:pt x="97" y="7"/>
                    </a:lnTo>
                    <a:lnTo>
                      <a:pt x="102" y="10"/>
                    </a:lnTo>
                    <a:lnTo>
                      <a:pt x="107" y="14"/>
                    </a:lnTo>
                    <a:lnTo>
                      <a:pt x="115" y="22"/>
                    </a:lnTo>
                    <a:lnTo>
                      <a:pt x="121" y="31"/>
                    </a:lnTo>
                    <a:lnTo>
                      <a:pt x="126" y="42"/>
                    </a:lnTo>
                    <a:lnTo>
                      <a:pt x="128" y="53"/>
                    </a:lnTo>
                    <a:lnTo>
                      <a:pt x="128" y="64"/>
                    </a:lnTo>
                    <a:lnTo>
                      <a:pt x="126" y="75"/>
                    </a:lnTo>
                    <a:lnTo>
                      <a:pt x="124" y="81"/>
                    </a:lnTo>
                    <a:lnTo>
                      <a:pt x="122" y="86"/>
                    </a:lnTo>
                    <a:lnTo>
                      <a:pt x="122" y="86"/>
                    </a:lnTo>
                    <a:lnTo>
                      <a:pt x="117" y="94"/>
                    </a:lnTo>
                    <a:lnTo>
                      <a:pt x="111" y="100"/>
                    </a:lnTo>
                    <a:lnTo>
                      <a:pt x="105" y="107"/>
                    </a:lnTo>
                    <a:lnTo>
                      <a:pt x="97" y="112"/>
                    </a:lnTo>
                    <a:lnTo>
                      <a:pt x="97" y="112"/>
                    </a:lnTo>
                    <a:lnTo>
                      <a:pt x="89" y="115"/>
                    </a:lnTo>
                    <a:lnTo>
                      <a:pt x="81" y="117"/>
                    </a:lnTo>
                    <a:lnTo>
                      <a:pt x="73" y="119"/>
                    </a:lnTo>
                    <a:lnTo>
                      <a:pt x="65" y="119"/>
                    </a:lnTo>
                    <a:lnTo>
                      <a:pt x="56" y="119"/>
                    </a:lnTo>
                    <a:lnTo>
                      <a:pt x="47" y="117"/>
                    </a:lnTo>
                    <a:lnTo>
                      <a:pt x="39" y="115"/>
                    </a:lnTo>
                    <a:lnTo>
                      <a:pt x="31" y="112"/>
                    </a:lnTo>
                    <a:lnTo>
                      <a:pt x="31" y="112"/>
                    </a:lnTo>
                    <a:close/>
                    <a:moveTo>
                      <a:pt x="80" y="87"/>
                    </a:moveTo>
                    <a:lnTo>
                      <a:pt x="80" y="87"/>
                    </a:lnTo>
                    <a:lnTo>
                      <a:pt x="87" y="82"/>
                    </a:lnTo>
                    <a:lnTo>
                      <a:pt x="91" y="76"/>
                    </a:lnTo>
                    <a:lnTo>
                      <a:pt x="91" y="76"/>
                    </a:lnTo>
                    <a:lnTo>
                      <a:pt x="94" y="68"/>
                    </a:lnTo>
                    <a:lnTo>
                      <a:pt x="96" y="59"/>
                    </a:lnTo>
                    <a:lnTo>
                      <a:pt x="94" y="50"/>
                    </a:lnTo>
                    <a:lnTo>
                      <a:pt x="91" y="42"/>
                    </a:lnTo>
                    <a:lnTo>
                      <a:pt x="91" y="42"/>
                    </a:lnTo>
                    <a:lnTo>
                      <a:pt x="87" y="35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73" y="27"/>
                    </a:lnTo>
                    <a:lnTo>
                      <a:pt x="65" y="26"/>
                    </a:lnTo>
                    <a:lnTo>
                      <a:pt x="57" y="27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2" y="35"/>
                    </a:lnTo>
                    <a:lnTo>
                      <a:pt x="37" y="42"/>
                    </a:lnTo>
                    <a:lnTo>
                      <a:pt x="37" y="42"/>
                    </a:lnTo>
                    <a:lnTo>
                      <a:pt x="34" y="50"/>
                    </a:lnTo>
                    <a:lnTo>
                      <a:pt x="33" y="59"/>
                    </a:lnTo>
                    <a:lnTo>
                      <a:pt x="34" y="68"/>
                    </a:lnTo>
                    <a:lnTo>
                      <a:pt x="37" y="76"/>
                    </a:lnTo>
                    <a:lnTo>
                      <a:pt x="37" y="76"/>
                    </a:lnTo>
                    <a:lnTo>
                      <a:pt x="42" y="82"/>
                    </a:lnTo>
                    <a:lnTo>
                      <a:pt x="48" y="87"/>
                    </a:lnTo>
                    <a:lnTo>
                      <a:pt x="48" y="87"/>
                    </a:lnTo>
                    <a:lnTo>
                      <a:pt x="57" y="90"/>
                    </a:lnTo>
                    <a:lnTo>
                      <a:pt x="65" y="91"/>
                    </a:lnTo>
                    <a:lnTo>
                      <a:pt x="73" y="90"/>
                    </a:lnTo>
                    <a:lnTo>
                      <a:pt x="80" y="87"/>
                    </a:lnTo>
                    <a:lnTo>
                      <a:pt x="80" y="8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14">
                <a:extLst>
                  <a:ext uri="{FF2B5EF4-FFF2-40B4-BE49-F238E27FC236}">
                    <a16:creationId xmlns:a16="http://schemas.microsoft.com/office/drawing/2014/main" id="{B44BA2E6-8FE5-44DF-9E45-D59908847AE3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1374441" y="1379538"/>
                <a:ext cx="82550" cy="90487"/>
              </a:xfrm>
              <a:custGeom>
                <a:avLst/>
                <a:gdLst>
                  <a:gd name="T0" fmla="*/ 99 w 104"/>
                  <a:gd name="T1" fmla="*/ 64 h 115"/>
                  <a:gd name="T2" fmla="*/ 103 w 104"/>
                  <a:gd name="T3" fmla="*/ 72 h 115"/>
                  <a:gd name="T4" fmla="*/ 104 w 104"/>
                  <a:gd name="T5" fmla="*/ 81 h 115"/>
                  <a:gd name="T6" fmla="*/ 104 w 104"/>
                  <a:gd name="T7" fmla="*/ 88 h 115"/>
                  <a:gd name="T8" fmla="*/ 98 w 104"/>
                  <a:gd name="T9" fmla="*/ 101 h 115"/>
                  <a:gd name="T10" fmla="*/ 92 w 104"/>
                  <a:gd name="T11" fmla="*/ 106 h 115"/>
                  <a:gd name="T12" fmla="*/ 78 w 104"/>
                  <a:gd name="T13" fmla="*/ 113 h 115"/>
                  <a:gd name="T14" fmla="*/ 59 w 104"/>
                  <a:gd name="T15" fmla="*/ 115 h 115"/>
                  <a:gd name="T16" fmla="*/ 0 w 104"/>
                  <a:gd name="T17" fmla="*/ 0 h 115"/>
                  <a:gd name="T18" fmla="*/ 56 w 104"/>
                  <a:gd name="T19" fmla="*/ 0 h 115"/>
                  <a:gd name="T20" fmla="*/ 72 w 104"/>
                  <a:gd name="T21" fmla="*/ 2 h 115"/>
                  <a:gd name="T22" fmla="*/ 88 w 104"/>
                  <a:gd name="T23" fmla="*/ 8 h 115"/>
                  <a:gd name="T24" fmla="*/ 93 w 104"/>
                  <a:gd name="T25" fmla="*/ 12 h 115"/>
                  <a:gd name="T26" fmla="*/ 99 w 104"/>
                  <a:gd name="T27" fmla="*/ 23 h 115"/>
                  <a:gd name="T28" fmla="*/ 99 w 104"/>
                  <a:gd name="T29" fmla="*/ 30 h 115"/>
                  <a:gd name="T30" fmla="*/ 95 w 104"/>
                  <a:gd name="T31" fmla="*/ 45 h 115"/>
                  <a:gd name="T32" fmla="*/ 90 w 104"/>
                  <a:gd name="T33" fmla="*/ 50 h 115"/>
                  <a:gd name="T34" fmla="*/ 84 w 104"/>
                  <a:gd name="T35" fmla="*/ 54 h 115"/>
                  <a:gd name="T36" fmla="*/ 92 w 104"/>
                  <a:gd name="T37" fmla="*/ 58 h 115"/>
                  <a:gd name="T38" fmla="*/ 99 w 104"/>
                  <a:gd name="T39" fmla="*/ 64 h 115"/>
                  <a:gd name="T40" fmla="*/ 31 w 104"/>
                  <a:gd name="T41" fmla="*/ 46 h 115"/>
                  <a:gd name="T42" fmla="*/ 53 w 104"/>
                  <a:gd name="T43" fmla="*/ 46 h 115"/>
                  <a:gd name="T44" fmla="*/ 63 w 104"/>
                  <a:gd name="T45" fmla="*/ 43 h 115"/>
                  <a:gd name="T46" fmla="*/ 67 w 104"/>
                  <a:gd name="T47" fmla="*/ 34 h 115"/>
                  <a:gd name="T48" fmla="*/ 66 w 104"/>
                  <a:gd name="T49" fmla="*/ 29 h 115"/>
                  <a:gd name="T50" fmla="*/ 59 w 104"/>
                  <a:gd name="T51" fmla="*/ 24 h 115"/>
                  <a:gd name="T52" fmla="*/ 31 w 104"/>
                  <a:gd name="T53" fmla="*/ 23 h 115"/>
                  <a:gd name="T54" fmla="*/ 72 w 104"/>
                  <a:gd name="T55" fmla="*/ 79 h 115"/>
                  <a:gd name="T56" fmla="*/ 71 w 104"/>
                  <a:gd name="T57" fmla="*/ 74 h 115"/>
                  <a:gd name="T58" fmla="*/ 64 w 104"/>
                  <a:gd name="T59" fmla="*/ 68 h 115"/>
                  <a:gd name="T60" fmla="*/ 32 w 104"/>
                  <a:gd name="T61" fmla="*/ 67 h 115"/>
                  <a:gd name="T62" fmla="*/ 58 w 104"/>
                  <a:gd name="T63" fmla="*/ 91 h 115"/>
                  <a:gd name="T64" fmla="*/ 64 w 104"/>
                  <a:gd name="T65" fmla="*/ 90 h 115"/>
                  <a:gd name="T66" fmla="*/ 71 w 104"/>
                  <a:gd name="T67" fmla="*/ 84 h 115"/>
                  <a:gd name="T68" fmla="*/ 72 w 104"/>
                  <a:gd name="T69" fmla="*/ 79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4" h="115">
                    <a:moveTo>
                      <a:pt x="99" y="64"/>
                    </a:moveTo>
                    <a:lnTo>
                      <a:pt x="99" y="64"/>
                    </a:lnTo>
                    <a:lnTo>
                      <a:pt x="101" y="68"/>
                    </a:lnTo>
                    <a:lnTo>
                      <a:pt x="103" y="72"/>
                    </a:lnTo>
                    <a:lnTo>
                      <a:pt x="104" y="77"/>
                    </a:lnTo>
                    <a:lnTo>
                      <a:pt x="104" y="81"/>
                    </a:lnTo>
                    <a:lnTo>
                      <a:pt x="104" y="81"/>
                    </a:lnTo>
                    <a:lnTo>
                      <a:pt x="104" y="88"/>
                    </a:lnTo>
                    <a:lnTo>
                      <a:pt x="101" y="95"/>
                    </a:lnTo>
                    <a:lnTo>
                      <a:pt x="98" y="101"/>
                    </a:lnTo>
                    <a:lnTo>
                      <a:pt x="92" y="106"/>
                    </a:lnTo>
                    <a:lnTo>
                      <a:pt x="92" y="106"/>
                    </a:lnTo>
                    <a:lnTo>
                      <a:pt x="86" y="110"/>
                    </a:lnTo>
                    <a:lnTo>
                      <a:pt x="78" y="113"/>
                    </a:lnTo>
                    <a:lnTo>
                      <a:pt x="69" y="114"/>
                    </a:lnTo>
                    <a:lnTo>
                      <a:pt x="59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4" y="0"/>
                    </a:lnTo>
                    <a:lnTo>
                      <a:pt x="72" y="2"/>
                    </a:lnTo>
                    <a:lnTo>
                      <a:pt x="80" y="4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93" y="12"/>
                    </a:lnTo>
                    <a:lnTo>
                      <a:pt x="96" y="17"/>
                    </a:lnTo>
                    <a:lnTo>
                      <a:pt x="99" y="23"/>
                    </a:lnTo>
                    <a:lnTo>
                      <a:pt x="99" y="30"/>
                    </a:lnTo>
                    <a:lnTo>
                      <a:pt x="99" y="30"/>
                    </a:lnTo>
                    <a:lnTo>
                      <a:pt x="98" y="37"/>
                    </a:lnTo>
                    <a:lnTo>
                      <a:pt x="95" y="45"/>
                    </a:lnTo>
                    <a:lnTo>
                      <a:pt x="95" y="45"/>
                    </a:lnTo>
                    <a:lnTo>
                      <a:pt x="90" y="50"/>
                    </a:lnTo>
                    <a:lnTo>
                      <a:pt x="84" y="54"/>
                    </a:lnTo>
                    <a:lnTo>
                      <a:pt x="84" y="54"/>
                    </a:lnTo>
                    <a:lnTo>
                      <a:pt x="88" y="56"/>
                    </a:lnTo>
                    <a:lnTo>
                      <a:pt x="92" y="58"/>
                    </a:lnTo>
                    <a:lnTo>
                      <a:pt x="96" y="61"/>
                    </a:lnTo>
                    <a:lnTo>
                      <a:pt x="99" y="64"/>
                    </a:lnTo>
                    <a:lnTo>
                      <a:pt x="99" y="64"/>
                    </a:lnTo>
                    <a:close/>
                    <a:moveTo>
                      <a:pt x="31" y="46"/>
                    </a:moveTo>
                    <a:lnTo>
                      <a:pt x="53" y="46"/>
                    </a:lnTo>
                    <a:lnTo>
                      <a:pt x="53" y="46"/>
                    </a:lnTo>
                    <a:lnTo>
                      <a:pt x="59" y="45"/>
                    </a:lnTo>
                    <a:lnTo>
                      <a:pt x="63" y="43"/>
                    </a:lnTo>
                    <a:lnTo>
                      <a:pt x="66" y="39"/>
                    </a:lnTo>
                    <a:lnTo>
                      <a:pt x="67" y="34"/>
                    </a:lnTo>
                    <a:lnTo>
                      <a:pt x="67" y="34"/>
                    </a:lnTo>
                    <a:lnTo>
                      <a:pt x="66" y="29"/>
                    </a:lnTo>
                    <a:lnTo>
                      <a:pt x="63" y="26"/>
                    </a:lnTo>
                    <a:lnTo>
                      <a:pt x="59" y="24"/>
                    </a:lnTo>
                    <a:lnTo>
                      <a:pt x="53" y="23"/>
                    </a:lnTo>
                    <a:lnTo>
                      <a:pt x="31" y="23"/>
                    </a:lnTo>
                    <a:lnTo>
                      <a:pt x="31" y="46"/>
                    </a:lnTo>
                    <a:close/>
                    <a:moveTo>
                      <a:pt x="72" y="79"/>
                    </a:moveTo>
                    <a:lnTo>
                      <a:pt x="72" y="79"/>
                    </a:lnTo>
                    <a:lnTo>
                      <a:pt x="71" y="74"/>
                    </a:lnTo>
                    <a:lnTo>
                      <a:pt x="68" y="70"/>
                    </a:lnTo>
                    <a:lnTo>
                      <a:pt x="64" y="68"/>
                    </a:lnTo>
                    <a:lnTo>
                      <a:pt x="58" y="67"/>
                    </a:lnTo>
                    <a:lnTo>
                      <a:pt x="32" y="67"/>
                    </a:lnTo>
                    <a:lnTo>
                      <a:pt x="32" y="91"/>
                    </a:lnTo>
                    <a:lnTo>
                      <a:pt x="58" y="91"/>
                    </a:lnTo>
                    <a:lnTo>
                      <a:pt x="58" y="91"/>
                    </a:lnTo>
                    <a:lnTo>
                      <a:pt x="64" y="90"/>
                    </a:lnTo>
                    <a:lnTo>
                      <a:pt x="68" y="88"/>
                    </a:lnTo>
                    <a:lnTo>
                      <a:pt x="71" y="84"/>
                    </a:lnTo>
                    <a:lnTo>
                      <a:pt x="72" y="79"/>
                    </a:lnTo>
                    <a:lnTo>
                      <a:pt x="72" y="7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15">
                <a:extLst>
                  <a:ext uri="{FF2B5EF4-FFF2-40B4-BE49-F238E27FC236}">
                    <a16:creationId xmlns:a16="http://schemas.microsoft.com/office/drawing/2014/main" id="{0DF3C71D-197D-4D18-90C6-A08FBAFD59D2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1474454" y="1379538"/>
                <a:ext cx="115888" cy="90487"/>
              </a:xfrm>
              <a:custGeom>
                <a:avLst/>
                <a:gdLst>
                  <a:gd name="T0" fmla="*/ 91 w 147"/>
                  <a:gd name="T1" fmla="*/ 46 h 115"/>
                  <a:gd name="T2" fmla="*/ 91 w 147"/>
                  <a:gd name="T3" fmla="*/ 46 h 115"/>
                  <a:gd name="T4" fmla="*/ 97 w 147"/>
                  <a:gd name="T5" fmla="*/ 51 h 115"/>
                  <a:gd name="T6" fmla="*/ 100 w 147"/>
                  <a:gd name="T7" fmla="*/ 58 h 115"/>
                  <a:gd name="T8" fmla="*/ 103 w 147"/>
                  <a:gd name="T9" fmla="*/ 66 h 115"/>
                  <a:gd name="T10" fmla="*/ 103 w 147"/>
                  <a:gd name="T11" fmla="*/ 73 h 115"/>
                  <a:gd name="T12" fmla="*/ 103 w 147"/>
                  <a:gd name="T13" fmla="*/ 73 h 115"/>
                  <a:gd name="T14" fmla="*/ 102 w 147"/>
                  <a:gd name="T15" fmla="*/ 82 h 115"/>
                  <a:gd name="T16" fmla="*/ 100 w 147"/>
                  <a:gd name="T17" fmla="*/ 90 h 115"/>
                  <a:gd name="T18" fmla="*/ 96 w 147"/>
                  <a:gd name="T19" fmla="*/ 97 h 115"/>
                  <a:gd name="T20" fmla="*/ 90 w 147"/>
                  <a:gd name="T21" fmla="*/ 104 h 115"/>
                  <a:gd name="T22" fmla="*/ 90 w 147"/>
                  <a:gd name="T23" fmla="*/ 104 h 115"/>
                  <a:gd name="T24" fmla="*/ 82 w 147"/>
                  <a:gd name="T25" fmla="*/ 109 h 115"/>
                  <a:gd name="T26" fmla="*/ 73 w 147"/>
                  <a:gd name="T27" fmla="*/ 113 h 115"/>
                  <a:gd name="T28" fmla="*/ 64 w 147"/>
                  <a:gd name="T29" fmla="*/ 115 h 115"/>
                  <a:gd name="T30" fmla="*/ 55 w 147"/>
                  <a:gd name="T31" fmla="*/ 115 h 115"/>
                  <a:gd name="T32" fmla="*/ 0 w 147"/>
                  <a:gd name="T33" fmla="*/ 115 h 115"/>
                  <a:gd name="T34" fmla="*/ 0 w 147"/>
                  <a:gd name="T35" fmla="*/ 0 h 115"/>
                  <a:gd name="T36" fmla="*/ 32 w 147"/>
                  <a:gd name="T37" fmla="*/ 0 h 115"/>
                  <a:gd name="T38" fmla="*/ 32 w 147"/>
                  <a:gd name="T39" fmla="*/ 36 h 115"/>
                  <a:gd name="T40" fmla="*/ 59 w 147"/>
                  <a:gd name="T41" fmla="*/ 36 h 115"/>
                  <a:gd name="T42" fmla="*/ 59 w 147"/>
                  <a:gd name="T43" fmla="*/ 36 h 115"/>
                  <a:gd name="T44" fmla="*/ 68 w 147"/>
                  <a:gd name="T45" fmla="*/ 37 h 115"/>
                  <a:gd name="T46" fmla="*/ 76 w 147"/>
                  <a:gd name="T47" fmla="*/ 38 h 115"/>
                  <a:gd name="T48" fmla="*/ 84 w 147"/>
                  <a:gd name="T49" fmla="*/ 41 h 115"/>
                  <a:gd name="T50" fmla="*/ 91 w 147"/>
                  <a:gd name="T51" fmla="*/ 46 h 115"/>
                  <a:gd name="T52" fmla="*/ 91 w 147"/>
                  <a:gd name="T53" fmla="*/ 46 h 115"/>
                  <a:gd name="T54" fmla="*/ 66 w 147"/>
                  <a:gd name="T55" fmla="*/ 86 h 115"/>
                  <a:gd name="T56" fmla="*/ 66 w 147"/>
                  <a:gd name="T57" fmla="*/ 86 h 115"/>
                  <a:gd name="T58" fmla="*/ 68 w 147"/>
                  <a:gd name="T59" fmla="*/ 84 h 115"/>
                  <a:gd name="T60" fmla="*/ 69 w 147"/>
                  <a:gd name="T61" fmla="*/ 81 h 115"/>
                  <a:gd name="T62" fmla="*/ 70 w 147"/>
                  <a:gd name="T63" fmla="*/ 77 h 115"/>
                  <a:gd name="T64" fmla="*/ 71 w 147"/>
                  <a:gd name="T65" fmla="*/ 74 h 115"/>
                  <a:gd name="T66" fmla="*/ 71 w 147"/>
                  <a:gd name="T67" fmla="*/ 74 h 115"/>
                  <a:gd name="T68" fmla="*/ 70 w 147"/>
                  <a:gd name="T69" fmla="*/ 71 h 115"/>
                  <a:gd name="T70" fmla="*/ 70 w 147"/>
                  <a:gd name="T71" fmla="*/ 68 h 115"/>
                  <a:gd name="T72" fmla="*/ 68 w 147"/>
                  <a:gd name="T73" fmla="*/ 65 h 115"/>
                  <a:gd name="T74" fmla="*/ 66 w 147"/>
                  <a:gd name="T75" fmla="*/ 63 h 115"/>
                  <a:gd name="T76" fmla="*/ 64 w 147"/>
                  <a:gd name="T77" fmla="*/ 61 h 115"/>
                  <a:gd name="T78" fmla="*/ 61 w 147"/>
                  <a:gd name="T79" fmla="*/ 60 h 115"/>
                  <a:gd name="T80" fmla="*/ 53 w 147"/>
                  <a:gd name="T81" fmla="*/ 59 h 115"/>
                  <a:gd name="T82" fmla="*/ 32 w 147"/>
                  <a:gd name="T83" fmla="*/ 59 h 115"/>
                  <a:gd name="T84" fmla="*/ 32 w 147"/>
                  <a:gd name="T85" fmla="*/ 91 h 115"/>
                  <a:gd name="T86" fmla="*/ 53 w 147"/>
                  <a:gd name="T87" fmla="*/ 91 h 115"/>
                  <a:gd name="T88" fmla="*/ 53 w 147"/>
                  <a:gd name="T89" fmla="*/ 91 h 115"/>
                  <a:gd name="T90" fmla="*/ 56 w 147"/>
                  <a:gd name="T91" fmla="*/ 91 h 115"/>
                  <a:gd name="T92" fmla="*/ 60 w 147"/>
                  <a:gd name="T93" fmla="*/ 90 h 115"/>
                  <a:gd name="T94" fmla="*/ 63 w 147"/>
                  <a:gd name="T95" fmla="*/ 88 h 115"/>
                  <a:gd name="T96" fmla="*/ 66 w 147"/>
                  <a:gd name="T97" fmla="*/ 86 h 115"/>
                  <a:gd name="T98" fmla="*/ 66 w 147"/>
                  <a:gd name="T99" fmla="*/ 86 h 115"/>
                  <a:gd name="T100" fmla="*/ 115 w 147"/>
                  <a:gd name="T101" fmla="*/ 0 h 115"/>
                  <a:gd name="T102" fmla="*/ 147 w 147"/>
                  <a:gd name="T103" fmla="*/ 0 h 115"/>
                  <a:gd name="T104" fmla="*/ 147 w 147"/>
                  <a:gd name="T105" fmla="*/ 115 h 115"/>
                  <a:gd name="T106" fmla="*/ 115 w 147"/>
                  <a:gd name="T107" fmla="*/ 115 h 115"/>
                  <a:gd name="T108" fmla="*/ 115 w 147"/>
                  <a:gd name="T109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47" h="115">
                    <a:moveTo>
                      <a:pt x="91" y="46"/>
                    </a:moveTo>
                    <a:lnTo>
                      <a:pt x="91" y="46"/>
                    </a:lnTo>
                    <a:lnTo>
                      <a:pt x="97" y="51"/>
                    </a:lnTo>
                    <a:lnTo>
                      <a:pt x="100" y="58"/>
                    </a:lnTo>
                    <a:lnTo>
                      <a:pt x="103" y="66"/>
                    </a:lnTo>
                    <a:lnTo>
                      <a:pt x="103" y="73"/>
                    </a:lnTo>
                    <a:lnTo>
                      <a:pt x="103" y="73"/>
                    </a:lnTo>
                    <a:lnTo>
                      <a:pt x="102" y="82"/>
                    </a:lnTo>
                    <a:lnTo>
                      <a:pt x="100" y="90"/>
                    </a:lnTo>
                    <a:lnTo>
                      <a:pt x="96" y="97"/>
                    </a:lnTo>
                    <a:lnTo>
                      <a:pt x="90" y="104"/>
                    </a:lnTo>
                    <a:lnTo>
                      <a:pt x="90" y="104"/>
                    </a:lnTo>
                    <a:lnTo>
                      <a:pt x="82" y="109"/>
                    </a:lnTo>
                    <a:lnTo>
                      <a:pt x="73" y="113"/>
                    </a:lnTo>
                    <a:lnTo>
                      <a:pt x="64" y="115"/>
                    </a:lnTo>
                    <a:lnTo>
                      <a:pt x="55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2" y="0"/>
                    </a:lnTo>
                    <a:lnTo>
                      <a:pt x="32" y="36"/>
                    </a:lnTo>
                    <a:lnTo>
                      <a:pt x="59" y="36"/>
                    </a:lnTo>
                    <a:lnTo>
                      <a:pt x="59" y="36"/>
                    </a:lnTo>
                    <a:lnTo>
                      <a:pt x="68" y="37"/>
                    </a:lnTo>
                    <a:lnTo>
                      <a:pt x="76" y="38"/>
                    </a:lnTo>
                    <a:lnTo>
                      <a:pt x="84" y="41"/>
                    </a:lnTo>
                    <a:lnTo>
                      <a:pt x="91" y="46"/>
                    </a:lnTo>
                    <a:lnTo>
                      <a:pt x="91" y="46"/>
                    </a:lnTo>
                    <a:close/>
                    <a:moveTo>
                      <a:pt x="66" y="86"/>
                    </a:moveTo>
                    <a:lnTo>
                      <a:pt x="66" y="86"/>
                    </a:lnTo>
                    <a:lnTo>
                      <a:pt x="68" y="84"/>
                    </a:lnTo>
                    <a:lnTo>
                      <a:pt x="69" y="81"/>
                    </a:lnTo>
                    <a:lnTo>
                      <a:pt x="70" y="77"/>
                    </a:lnTo>
                    <a:lnTo>
                      <a:pt x="71" y="74"/>
                    </a:lnTo>
                    <a:lnTo>
                      <a:pt x="71" y="74"/>
                    </a:lnTo>
                    <a:lnTo>
                      <a:pt x="70" y="71"/>
                    </a:lnTo>
                    <a:lnTo>
                      <a:pt x="70" y="68"/>
                    </a:lnTo>
                    <a:lnTo>
                      <a:pt x="68" y="65"/>
                    </a:lnTo>
                    <a:lnTo>
                      <a:pt x="66" y="63"/>
                    </a:lnTo>
                    <a:lnTo>
                      <a:pt x="64" y="61"/>
                    </a:lnTo>
                    <a:lnTo>
                      <a:pt x="61" y="60"/>
                    </a:lnTo>
                    <a:lnTo>
                      <a:pt x="53" y="59"/>
                    </a:lnTo>
                    <a:lnTo>
                      <a:pt x="32" y="59"/>
                    </a:lnTo>
                    <a:lnTo>
                      <a:pt x="32" y="91"/>
                    </a:lnTo>
                    <a:lnTo>
                      <a:pt x="53" y="91"/>
                    </a:lnTo>
                    <a:lnTo>
                      <a:pt x="53" y="91"/>
                    </a:lnTo>
                    <a:lnTo>
                      <a:pt x="56" y="91"/>
                    </a:lnTo>
                    <a:lnTo>
                      <a:pt x="60" y="90"/>
                    </a:lnTo>
                    <a:lnTo>
                      <a:pt x="63" y="88"/>
                    </a:lnTo>
                    <a:lnTo>
                      <a:pt x="66" y="86"/>
                    </a:lnTo>
                    <a:lnTo>
                      <a:pt x="66" y="86"/>
                    </a:lnTo>
                    <a:close/>
                    <a:moveTo>
                      <a:pt x="115" y="0"/>
                    </a:moveTo>
                    <a:lnTo>
                      <a:pt x="147" y="0"/>
                    </a:lnTo>
                    <a:lnTo>
                      <a:pt x="147" y="115"/>
                    </a:lnTo>
                    <a:lnTo>
                      <a:pt x="115" y="115"/>
                    </a:lnTo>
                    <a:lnTo>
                      <a:pt x="11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16">
                <a:extLst>
                  <a:ext uri="{FF2B5EF4-FFF2-40B4-BE49-F238E27FC236}">
                    <a16:creationId xmlns:a16="http://schemas.microsoft.com/office/drawing/2014/main" id="{0D3B1C06-12BF-4CD0-80D4-01F45795B8C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344154" y="1535113"/>
                <a:ext cx="85725" cy="90487"/>
              </a:xfrm>
              <a:custGeom>
                <a:avLst/>
                <a:gdLst>
                  <a:gd name="T0" fmla="*/ 109 w 109"/>
                  <a:gd name="T1" fmla="*/ 0 h 115"/>
                  <a:gd name="T2" fmla="*/ 109 w 109"/>
                  <a:gd name="T3" fmla="*/ 115 h 115"/>
                  <a:gd name="T4" fmla="*/ 77 w 109"/>
                  <a:gd name="T5" fmla="*/ 115 h 115"/>
                  <a:gd name="T6" fmla="*/ 77 w 109"/>
                  <a:gd name="T7" fmla="*/ 71 h 115"/>
                  <a:gd name="T8" fmla="*/ 32 w 109"/>
                  <a:gd name="T9" fmla="*/ 71 h 115"/>
                  <a:gd name="T10" fmla="*/ 32 w 109"/>
                  <a:gd name="T11" fmla="*/ 115 h 115"/>
                  <a:gd name="T12" fmla="*/ 0 w 109"/>
                  <a:gd name="T13" fmla="*/ 115 h 115"/>
                  <a:gd name="T14" fmla="*/ 0 w 109"/>
                  <a:gd name="T15" fmla="*/ 0 h 115"/>
                  <a:gd name="T16" fmla="*/ 32 w 109"/>
                  <a:gd name="T17" fmla="*/ 0 h 115"/>
                  <a:gd name="T18" fmla="*/ 32 w 109"/>
                  <a:gd name="T19" fmla="*/ 43 h 115"/>
                  <a:gd name="T20" fmla="*/ 77 w 109"/>
                  <a:gd name="T21" fmla="*/ 43 h 115"/>
                  <a:gd name="T22" fmla="*/ 77 w 109"/>
                  <a:gd name="T23" fmla="*/ 0 h 115"/>
                  <a:gd name="T24" fmla="*/ 109 w 109"/>
                  <a:gd name="T25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9" h="115">
                    <a:moveTo>
                      <a:pt x="109" y="0"/>
                    </a:moveTo>
                    <a:lnTo>
                      <a:pt x="109" y="115"/>
                    </a:lnTo>
                    <a:lnTo>
                      <a:pt x="77" y="115"/>
                    </a:lnTo>
                    <a:lnTo>
                      <a:pt x="77" y="71"/>
                    </a:lnTo>
                    <a:lnTo>
                      <a:pt x="32" y="71"/>
                    </a:lnTo>
                    <a:lnTo>
                      <a:pt x="3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2" y="0"/>
                    </a:lnTo>
                    <a:lnTo>
                      <a:pt x="32" y="43"/>
                    </a:lnTo>
                    <a:lnTo>
                      <a:pt x="77" y="43"/>
                    </a:lnTo>
                    <a:lnTo>
                      <a:pt x="77" y="0"/>
                    </a:lnTo>
                    <a:lnTo>
                      <a:pt x="109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17">
                <a:extLst>
                  <a:ext uri="{FF2B5EF4-FFF2-40B4-BE49-F238E27FC236}">
                    <a16:creationId xmlns:a16="http://schemas.microsoft.com/office/drawing/2014/main" id="{BB7B733C-9A10-4244-834E-F130C457FA92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447341" y="1533525"/>
                <a:ext cx="101600" cy="95250"/>
              </a:xfrm>
              <a:custGeom>
                <a:avLst/>
                <a:gdLst>
                  <a:gd name="T0" fmla="*/ 31 w 128"/>
                  <a:gd name="T1" fmla="*/ 112 h 120"/>
                  <a:gd name="T2" fmla="*/ 21 w 128"/>
                  <a:gd name="T3" fmla="*/ 105 h 120"/>
                  <a:gd name="T4" fmla="*/ 6 w 128"/>
                  <a:gd name="T5" fmla="*/ 88 h 120"/>
                  <a:gd name="T6" fmla="*/ 0 w 128"/>
                  <a:gd name="T7" fmla="*/ 67 h 120"/>
                  <a:gd name="T8" fmla="*/ 2 w 128"/>
                  <a:gd name="T9" fmla="*/ 43 h 120"/>
                  <a:gd name="T10" fmla="*/ 6 w 128"/>
                  <a:gd name="T11" fmla="*/ 32 h 120"/>
                  <a:gd name="T12" fmla="*/ 11 w 128"/>
                  <a:gd name="T13" fmla="*/ 25 h 120"/>
                  <a:gd name="T14" fmla="*/ 23 w 128"/>
                  <a:gd name="T15" fmla="*/ 12 h 120"/>
                  <a:gd name="T16" fmla="*/ 31 w 128"/>
                  <a:gd name="T17" fmla="*/ 8 h 120"/>
                  <a:gd name="T18" fmla="*/ 46 w 128"/>
                  <a:gd name="T19" fmla="*/ 2 h 120"/>
                  <a:gd name="T20" fmla="*/ 64 w 128"/>
                  <a:gd name="T21" fmla="*/ 0 h 120"/>
                  <a:gd name="T22" fmla="*/ 81 w 128"/>
                  <a:gd name="T23" fmla="*/ 2 h 120"/>
                  <a:gd name="T24" fmla="*/ 97 w 128"/>
                  <a:gd name="T25" fmla="*/ 8 h 120"/>
                  <a:gd name="T26" fmla="*/ 102 w 128"/>
                  <a:gd name="T27" fmla="*/ 11 h 120"/>
                  <a:gd name="T28" fmla="*/ 115 w 128"/>
                  <a:gd name="T29" fmla="*/ 22 h 120"/>
                  <a:gd name="T30" fmla="*/ 125 w 128"/>
                  <a:gd name="T31" fmla="*/ 42 h 120"/>
                  <a:gd name="T32" fmla="*/ 128 w 128"/>
                  <a:gd name="T33" fmla="*/ 65 h 120"/>
                  <a:gd name="T34" fmla="*/ 124 w 128"/>
                  <a:gd name="T35" fmla="*/ 82 h 120"/>
                  <a:gd name="T36" fmla="*/ 121 w 128"/>
                  <a:gd name="T37" fmla="*/ 87 h 120"/>
                  <a:gd name="T38" fmla="*/ 111 w 128"/>
                  <a:gd name="T39" fmla="*/ 101 h 120"/>
                  <a:gd name="T40" fmla="*/ 97 w 128"/>
                  <a:gd name="T41" fmla="*/ 112 h 120"/>
                  <a:gd name="T42" fmla="*/ 89 w 128"/>
                  <a:gd name="T43" fmla="*/ 115 h 120"/>
                  <a:gd name="T44" fmla="*/ 72 w 128"/>
                  <a:gd name="T45" fmla="*/ 119 h 120"/>
                  <a:gd name="T46" fmla="*/ 55 w 128"/>
                  <a:gd name="T47" fmla="*/ 119 h 120"/>
                  <a:gd name="T48" fmla="*/ 38 w 128"/>
                  <a:gd name="T49" fmla="*/ 115 h 120"/>
                  <a:gd name="T50" fmla="*/ 31 w 128"/>
                  <a:gd name="T51" fmla="*/ 112 h 120"/>
                  <a:gd name="T52" fmla="*/ 80 w 128"/>
                  <a:gd name="T53" fmla="*/ 89 h 120"/>
                  <a:gd name="T54" fmla="*/ 91 w 128"/>
                  <a:gd name="T55" fmla="*/ 77 h 120"/>
                  <a:gd name="T56" fmla="*/ 94 w 128"/>
                  <a:gd name="T57" fmla="*/ 69 h 120"/>
                  <a:gd name="T58" fmla="*/ 94 w 128"/>
                  <a:gd name="T59" fmla="*/ 52 h 120"/>
                  <a:gd name="T60" fmla="*/ 91 w 128"/>
                  <a:gd name="T61" fmla="*/ 42 h 120"/>
                  <a:gd name="T62" fmla="*/ 80 w 128"/>
                  <a:gd name="T63" fmla="*/ 31 h 120"/>
                  <a:gd name="T64" fmla="*/ 72 w 128"/>
                  <a:gd name="T65" fmla="*/ 28 h 120"/>
                  <a:gd name="T66" fmla="*/ 55 w 128"/>
                  <a:gd name="T67" fmla="*/ 28 h 120"/>
                  <a:gd name="T68" fmla="*/ 47 w 128"/>
                  <a:gd name="T69" fmla="*/ 31 h 120"/>
                  <a:gd name="T70" fmla="*/ 36 w 128"/>
                  <a:gd name="T71" fmla="*/ 42 h 120"/>
                  <a:gd name="T72" fmla="*/ 33 w 128"/>
                  <a:gd name="T73" fmla="*/ 52 h 120"/>
                  <a:gd name="T74" fmla="*/ 33 w 128"/>
                  <a:gd name="T75" fmla="*/ 69 h 120"/>
                  <a:gd name="T76" fmla="*/ 36 w 128"/>
                  <a:gd name="T77" fmla="*/ 77 h 120"/>
                  <a:gd name="T78" fmla="*/ 47 w 128"/>
                  <a:gd name="T79" fmla="*/ 89 h 120"/>
                  <a:gd name="T80" fmla="*/ 55 w 128"/>
                  <a:gd name="T81" fmla="*/ 92 h 120"/>
                  <a:gd name="T82" fmla="*/ 72 w 128"/>
                  <a:gd name="T83" fmla="*/ 92 h 120"/>
                  <a:gd name="T84" fmla="*/ 80 w 128"/>
                  <a:gd name="T85" fmla="*/ 89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28" h="120">
                    <a:moveTo>
                      <a:pt x="31" y="112"/>
                    </a:moveTo>
                    <a:lnTo>
                      <a:pt x="31" y="112"/>
                    </a:lnTo>
                    <a:lnTo>
                      <a:pt x="25" y="109"/>
                    </a:lnTo>
                    <a:lnTo>
                      <a:pt x="21" y="105"/>
                    </a:lnTo>
                    <a:lnTo>
                      <a:pt x="13" y="97"/>
                    </a:lnTo>
                    <a:lnTo>
                      <a:pt x="6" y="88"/>
                    </a:lnTo>
                    <a:lnTo>
                      <a:pt x="2" y="78"/>
                    </a:lnTo>
                    <a:lnTo>
                      <a:pt x="0" y="67"/>
                    </a:lnTo>
                    <a:lnTo>
                      <a:pt x="0" y="55"/>
                    </a:lnTo>
                    <a:lnTo>
                      <a:pt x="2" y="43"/>
                    </a:lnTo>
                    <a:lnTo>
                      <a:pt x="4" y="38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11" y="25"/>
                    </a:lnTo>
                    <a:lnTo>
                      <a:pt x="16" y="18"/>
                    </a:lnTo>
                    <a:lnTo>
                      <a:pt x="23" y="12"/>
                    </a:lnTo>
                    <a:lnTo>
                      <a:pt x="31" y="8"/>
                    </a:lnTo>
                    <a:lnTo>
                      <a:pt x="31" y="8"/>
                    </a:lnTo>
                    <a:lnTo>
                      <a:pt x="38" y="4"/>
                    </a:lnTo>
                    <a:lnTo>
                      <a:pt x="46" y="2"/>
                    </a:lnTo>
                    <a:lnTo>
                      <a:pt x="55" y="0"/>
                    </a:lnTo>
                    <a:lnTo>
                      <a:pt x="64" y="0"/>
                    </a:lnTo>
                    <a:lnTo>
                      <a:pt x="72" y="0"/>
                    </a:lnTo>
                    <a:lnTo>
                      <a:pt x="81" y="2"/>
                    </a:lnTo>
                    <a:lnTo>
                      <a:pt x="89" y="4"/>
                    </a:lnTo>
                    <a:lnTo>
                      <a:pt x="97" y="8"/>
                    </a:lnTo>
                    <a:lnTo>
                      <a:pt x="97" y="8"/>
                    </a:lnTo>
                    <a:lnTo>
                      <a:pt x="102" y="11"/>
                    </a:lnTo>
                    <a:lnTo>
                      <a:pt x="106" y="14"/>
                    </a:lnTo>
                    <a:lnTo>
                      <a:pt x="115" y="22"/>
                    </a:lnTo>
                    <a:lnTo>
                      <a:pt x="121" y="32"/>
                    </a:lnTo>
                    <a:lnTo>
                      <a:pt x="125" y="42"/>
                    </a:lnTo>
                    <a:lnTo>
                      <a:pt x="127" y="54"/>
                    </a:lnTo>
                    <a:lnTo>
                      <a:pt x="128" y="65"/>
                    </a:lnTo>
                    <a:lnTo>
                      <a:pt x="126" y="76"/>
                    </a:lnTo>
                    <a:lnTo>
                      <a:pt x="124" y="82"/>
                    </a:lnTo>
                    <a:lnTo>
                      <a:pt x="121" y="87"/>
                    </a:lnTo>
                    <a:lnTo>
                      <a:pt x="121" y="87"/>
                    </a:lnTo>
                    <a:lnTo>
                      <a:pt x="116" y="95"/>
                    </a:lnTo>
                    <a:lnTo>
                      <a:pt x="111" y="101"/>
                    </a:lnTo>
                    <a:lnTo>
                      <a:pt x="104" y="107"/>
                    </a:lnTo>
                    <a:lnTo>
                      <a:pt x="97" y="112"/>
                    </a:lnTo>
                    <a:lnTo>
                      <a:pt x="97" y="112"/>
                    </a:lnTo>
                    <a:lnTo>
                      <a:pt x="89" y="115"/>
                    </a:lnTo>
                    <a:lnTo>
                      <a:pt x="81" y="118"/>
                    </a:lnTo>
                    <a:lnTo>
                      <a:pt x="72" y="119"/>
                    </a:lnTo>
                    <a:lnTo>
                      <a:pt x="64" y="120"/>
                    </a:lnTo>
                    <a:lnTo>
                      <a:pt x="55" y="119"/>
                    </a:lnTo>
                    <a:lnTo>
                      <a:pt x="46" y="118"/>
                    </a:lnTo>
                    <a:lnTo>
                      <a:pt x="38" y="115"/>
                    </a:lnTo>
                    <a:lnTo>
                      <a:pt x="31" y="112"/>
                    </a:lnTo>
                    <a:lnTo>
                      <a:pt x="31" y="112"/>
                    </a:lnTo>
                    <a:close/>
                    <a:moveTo>
                      <a:pt x="80" y="89"/>
                    </a:moveTo>
                    <a:lnTo>
                      <a:pt x="80" y="89"/>
                    </a:lnTo>
                    <a:lnTo>
                      <a:pt x="86" y="84"/>
                    </a:lnTo>
                    <a:lnTo>
                      <a:pt x="91" y="77"/>
                    </a:lnTo>
                    <a:lnTo>
                      <a:pt x="91" y="77"/>
                    </a:lnTo>
                    <a:lnTo>
                      <a:pt x="94" y="69"/>
                    </a:lnTo>
                    <a:lnTo>
                      <a:pt x="95" y="60"/>
                    </a:lnTo>
                    <a:lnTo>
                      <a:pt x="94" y="52"/>
                    </a:lnTo>
                    <a:lnTo>
                      <a:pt x="91" y="42"/>
                    </a:lnTo>
                    <a:lnTo>
                      <a:pt x="91" y="42"/>
                    </a:lnTo>
                    <a:lnTo>
                      <a:pt x="86" y="36"/>
                    </a:lnTo>
                    <a:lnTo>
                      <a:pt x="80" y="31"/>
                    </a:lnTo>
                    <a:lnTo>
                      <a:pt x="80" y="31"/>
                    </a:lnTo>
                    <a:lnTo>
                      <a:pt x="72" y="28"/>
                    </a:lnTo>
                    <a:lnTo>
                      <a:pt x="64" y="27"/>
                    </a:lnTo>
                    <a:lnTo>
                      <a:pt x="55" y="28"/>
                    </a:lnTo>
                    <a:lnTo>
                      <a:pt x="47" y="31"/>
                    </a:lnTo>
                    <a:lnTo>
                      <a:pt x="47" y="31"/>
                    </a:lnTo>
                    <a:lnTo>
                      <a:pt x="41" y="36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3" y="52"/>
                    </a:lnTo>
                    <a:lnTo>
                      <a:pt x="32" y="60"/>
                    </a:lnTo>
                    <a:lnTo>
                      <a:pt x="33" y="69"/>
                    </a:lnTo>
                    <a:lnTo>
                      <a:pt x="36" y="77"/>
                    </a:lnTo>
                    <a:lnTo>
                      <a:pt x="36" y="77"/>
                    </a:lnTo>
                    <a:lnTo>
                      <a:pt x="41" y="84"/>
                    </a:lnTo>
                    <a:lnTo>
                      <a:pt x="47" y="89"/>
                    </a:lnTo>
                    <a:lnTo>
                      <a:pt x="47" y="89"/>
                    </a:lnTo>
                    <a:lnTo>
                      <a:pt x="55" y="92"/>
                    </a:lnTo>
                    <a:lnTo>
                      <a:pt x="64" y="93"/>
                    </a:lnTo>
                    <a:lnTo>
                      <a:pt x="72" y="92"/>
                    </a:lnTo>
                    <a:lnTo>
                      <a:pt x="80" y="89"/>
                    </a:lnTo>
                    <a:lnTo>
                      <a:pt x="80" y="8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18">
                <a:extLst>
                  <a:ext uri="{FF2B5EF4-FFF2-40B4-BE49-F238E27FC236}">
                    <a16:creationId xmlns:a16="http://schemas.microsoft.com/office/drawing/2014/main" id="{E1AB16D2-A374-4576-A539-7A20CB09EB2D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564816" y="1535113"/>
                <a:ext cx="84138" cy="90487"/>
              </a:xfrm>
              <a:custGeom>
                <a:avLst/>
                <a:gdLst>
                  <a:gd name="T0" fmla="*/ 99 w 105"/>
                  <a:gd name="T1" fmla="*/ 66 h 115"/>
                  <a:gd name="T2" fmla="*/ 103 w 105"/>
                  <a:gd name="T3" fmla="*/ 74 h 115"/>
                  <a:gd name="T4" fmla="*/ 105 w 105"/>
                  <a:gd name="T5" fmla="*/ 83 h 115"/>
                  <a:gd name="T6" fmla="*/ 104 w 105"/>
                  <a:gd name="T7" fmla="*/ 90 h 115"/>
                  <a:gd name="T8" fmla="*/ 98 w 105"/>
                  <a:gd name="T9" fmla="*/ 102 h 115"/>
                  <a:gd name="T10" fmla="*/ 93 w 105"/>
                  <a:gd name="T11" fmla="*/ 107 h 115"/>
                  <a:gd name="T12" fmla="*/ 77 w 105"/>
                  <a:gd name="T13" fmla="*/ 114 h 115"/>
                  <a:gd name="T14" fmla="*/ 59 w 105"/>
                  <a:gd name="T15" fmla="*/ 115 h 115"/>
                  <a:gd name="T16" fmla="*/ 0 w 105"/>
                  <a:gd name="T17" fmla="*/ 0 h 115"/>
                  <a:gd name="T18" fmla="*/ 56 w 105"/>
                  <a:gd name="T19" fmla="*/ 0 h 115"/>
                  <a:gd name="T20" fmla="*/ 73 w 105"/>
                  <a:gd name="T21" fmla="*/ 2 h 115"/>
                  <a:gd name="T22" fmla="*/ 88 w 105"/>
                  <a:gd name="T23" fmla="*/ 8 h 115"/>
                  <a:gd name="T24" fmla="*/ 93 w 105"/>
                  <a:gd name="T25" fmla="*/ 12 h 115"/>
                  <a:gd name="T26" fmla="*/ 99 w 105"/>
                  <a:gd name="T27" fmla="*/ 24 h 115"/>
                  <a:gd name="T28" fmla="*/ 99 w 105"/>
                  <a:gd name="T29" fmla="*/ 30 h 115"/>
                  <a:gd name="T30" fmla="*/ 95 w 105"/>
                  <a:gd name="T31" fmla="*/ 45 h 115"/>
                  <a:gd name="T32" fmla="*/ 90 w 105"/>
                  <a:gd name="T33" fmla="*/ 52 h 115"/>
                  <a:gd name="T34" fmla="*/ 84 w 105"/>
                  <a:gd name="T35" fmla="*/ 56 h 115"/>
                  <a:gd name="T36" fmla="*/ 92 w 105"/>
                  <a:gd name="T37" fmla="*/ 60 h 115"/>
                  <a:gd name="T38" fmla="*/ 99 w 105"/>
                  <a:gd name="T39" fmla="*/ 66 h 115"/>
                  <a:gd name="T40" fmla="*/ 32 w 105"/>
                  <a:gd name="T41" fmla="*/ 46 h 115"/>
                  <a:gd name="T42" fmla="*/ 53 w 105"/>
                  <a:gd name="T43" fmla="*/ 46 h 115"/>
                  <a:gd name="T44" fmla="*/ 63 w 105"/>
                  <a:gd name="T45" fmla="*/ 43 h 115"/>
                  <a:gd name="T46" fmla="*/ 67 w 105"/>
                  <a:gd name="T47" fmla="*/ 35 h 115"/>
                  <a:gd name="T48" fmla="*/ 66 w 105"/>
                  <a:gd name="T49" fmla="*/ 30 h 115"/>
                  <a:gd name="T50" fmla="*/ 59 w 105"/>
                  <a:gd name="T51" fmla="*/ 24 h 115"/>
                  <a:gd name="T52" fmla="*/ 32 w 105"/>
                  <a:gd name="T53" fmla="*/ 23 h 115"/>
                  <a:gd name="T54" fmla="*/ 72 w 105"/>
                  <a:gd name="T55" fmla="*/ 80 h 115"/>
                  <a:gd name="T56" fmla="*/ 71 w 105"/>
                  <a:gd name="T57" fmla="*/ 75 h 115"/>
                  <a:gd name="T58" fmla="*/ 64 w 105"/>
                  <a:gd name="T59" fmla="*/ 69 h 115"/>
                  <a:gd name="T60" fmla="*/ 32 w 105"/>
                  <a:gd name="T61" fmla="*/ 69 h 115"/>
                  <a:gd name="T62" fmla="*/ 58 w 105"/>
                  <a:gd name="T63" fmla="*/ 92 h 115"/>
                  <a:gd name="T64" fmla="*/ 64 w 105"/>
                  <a:gd name="T65" fmla="*/ 91 h 115"/>
                  <a:gd name="T66" fmla="*/ 71 w 105"/>
                  <a:gd name="T67" fmla="*/ 85 h 115"/>
                  <a:gd name="T68" fmla="*/ 72 w 105"/>
                  <a:gd name="T69" fmla="*/ 8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5" h="115">
                    <a:moveTo>
                      <a:pt x="99" y="66"/>
                    </a:moveTo>
                    <a:lnTo>
                      <a:pt x="99" y="66"/>
                    </a:lnTo>
                    <a:lnTo>
                      <a:pt x="102" y="70"/>
                    </a:lnTo>
                    <a:lnTo>
                      <a:pt x="103" y="74"/>
                    </a:lnTo>
                    <a:lnTo>
                      <a:pt x="104" y="78"/>
                    </a:lnTo>
                    <a:lnTo>
                      <a:pt x="105" y="83"/>
                    </a:lnTo>
                    <a:lnTo>
                      <a:pt x="105" y="83"/>
                    </a:lnTo>
                    <a:lnTo>
                      <a:pt x="104" y="90"/>
                    </a:lnTo>
                    <a:lnTo>
                      <a:pt x="102" y="96"/>
                    </a:lnTo>
                    <a:lnTo>
                      <a:pt x="98" y="102"/>
                    </a:lnTo>
                    <a:lnTo>
                      <a:pt x="93" y="107"/>
                    </a:lnTo>
                    <a:lnTo>
                      <a:pt x="93" y="107"/>
                    </a:lnTo>
                    <a:lnTo>
                      <a:pt x="85" y="111"/>
                    </a:lnTo>
                    <a:lnTo>
                      <a:pt x="77" y="114"/>
                    </a:lnTo>
                    <a:lnTo>
                      <a:pt x="68" y="115"/>
                    </a:lnTo>
                    <a:lnTo>
                      <a:pt x="59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5" y="1"/>
                    </a:lnTo>
                    <a:lnTo>
                      <a:pt x="73" y="2"/>
                    </a:lnTo>
                    <a:lnTo>
                      <a:pt x="81" y="4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93" y="12"/>
                    </a:lnTo>
                    <a:lnTo>
                      <a:pt x="97" y="18"/>
                    </a:lnTo>
                    <a:lnTo>
                      <a:pt x="99" y="24"/>
                    </a:lnTo>
                    <a:lnTo>
                      <a:pt x="99" y="30"/>
                    </a:lnTo>
                    <a:lnTo>
                      <a:pt x="99" y="30"/>
                    </a:lnTo>
                    <a:lnTo>
                      <a:pt x="98" y="38"/>
                    </a:lnTo>
                    <a:lnTo>
                      <a:pt x="95" y="45"/>
                    </a:lnTo>
                    <a:lnTo>
                      <a:pt x="95" y="45"/>
                    </a:lnTo>
                    <a:lnTo>
                      <a:pt x="90" y="52"/>
                    </a:lnTo>
                    <a:lnTo>
                      <a:pt x="84" y="56"/>
                    </a:lnTo>
                    <a:lnTo>
                      <a:pt x="84" y="56"/>
                    </a:lnTo>
                    <a:lnTo>
                      <a:pt x="88" y="57"/>
                    </a:lnTo>
                    <a:lnTo>
                      <a:pt x="92" y="60"/>
                    </a:lnTo>
                    <a:lnTo>
                      <a:pt x="96" y="62"/>
                    </a:lnTo>
                    <a:lnTo>
                      <a:pt x="99" y="66"/>
                    </a:lnTo>
                    <a:lnTo>
                      <a:pt x="99" y="66"/>
                    </a:lnTo>
                    <a:close/>
                    <a:moveTo>
                      <a:pt x="32" y="46"/>
                    </a:moveTo>
                    <a:lnTo>
                      <a:pt x="53" y="46"/>
                    </a:lnTo>
                    <a:lnTo>
                      <a:pt x="53" y="46"/>
                    </a:lnTo>
                    <a:lnTo>
                      <a:pt x="59" y="45"/>
                    </a:lnTo>
                    <a:lnTo>
                      <a:pt x="63" y="43"/>
                    </a:lnTo>
                    <a:lnTo>
                      <a:pt x="66" y="40"/>
                    </a:lnTo>
                    <a:lnTo>
                      <a:pt x="67" y="35"/>
                    </a:lnTo>
                    <a:lnTo>
                      <a:pt x="67" y="35"/>
                    </a:lnTo>
                    <a:lnTo>
                      <a:pt x="66" y="30"/>
                    </a:lnTo>
                    <a:lnTo>
                      <a:pt x="63" y="26"/>
                    </a:lnTo>
                    <a:lnTo>
                      <a:pt x="59" y="24"/>
                    </a:lnTo>
                    <a:lnTo>
                      <a:pt x="53" y="23"/>
                    </a:lnTo>
                    <a:lnTo>
                      <a:pt x="32" y="23"/>
                    </a:lnTo>
                    <a:lnTo>
                      <a:pt x="32" y="46"/>
                    </a:lnTo>
                    <a:close/>
                    <a:moveTo>
                      <a:pt x="72" y="80"/>
                    </a:moveTo>
                    <a:lnTo>
                      <a:pt x="72" y="80"/>
                    </a:lnTo>
                    <a:lnTo>
                      <a:pt x="71" y="75"/>
                    </a:lnTo>
                    <a:lnTo>
                      <a:pt x="69" y="72"/>
                    </a:lnTo>
                    <a:lnTo>
                      <a:pt x="64" y="69"/>
                    </a:lnTo>
                    <a:lnTo>
                      <a:pt x="58" y="69"/>
                    </a:lnTo>
                    <a:lnTo>
                      <a:pt x="32" y="69"/>
                    </a:lnTo>
                    <a:lnTo>
                      <a:pt x="32" y="92"/>
                    </a:lnTo>
                    <a:lnTo>
                      <a:pt x="58" y="92"/>
                    </a:lnTo>
                    <a:lnTo>
                      <a:pt x="58" y="92"/>
                    </a:lnTo>
                    <a:lnTo>
                      <a:pt x="64" y="91"/>
                    </a:lnTo>
                    <a:lnTo>
                      <a:pt x="69" y="89"/>
                    </a:lnTo>
                    <a:lnTo>
                      <a:pt x="71" y="85"/>
                    </a:lnTo>
                    <a:lnTo>
                      <a:pt x="72" y="80"/>
                    </a:lnTo>
                    <a:lnTo>
                      <a:pt x="72" y="8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19">
                <a:extLst>
                  <a:ext uri="{FF2B5EF4-FFF2-40B4-BE49-F238E27FC236}">
                    <a16:creationId xmlns:a16="http://schemas.microsoft.com/office/drawing/2014/main" id="{5CE5A013-4DCC-42E7-BD70-E29BF168F48E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664829" y="1535113"/>
                <a:ext cx="115888" cy="90487"/>
              </a:xfrm>
              <a:custGeom>
                <a:avLst/>
                <a:gdLst>
                  <a:gd name="T0" fmla="*/ 92 w 147"/>
                  <a:gd name="T1" fmla="*/ 46 h 115"/>
                  <a:gd name="T2" fmla="*/ 92 w 147"/>
                  <a:gd name="T3" fmla="*/ 46 h 115"/>
                  <a:gd name="T4" fmla="*/ 97 w 147"/>
                  <a:gd name="T5" fmla="*/ 53 h 115"/>
                  <a:gd name="T6" fmla="*/ 101 w 147"/>
                  <a:gd name="T7" fmla="*/ 60 h 115"/>
                  <a:gd name="T8" fmla="*/ 103 w 147"/>
                  <a:gd name="T9" fmla="*/ 67 h 115"/>
                  <a:gd name="T10" fmla="*/ 103 w 147"/>
                  <a:gd name="T11" fmla="*/ 75 h 115"/>
                  <a:gd name="T12" fmla="*/ 103 w 147"/>
                  <a:gd name="T13" fmla="*/ 75 h 115"/>
                  <a:gd name="T14" fmla="*/ 103 w 147"/>
                  <a:gd name="T15" fmla="*/ 83 h 115"/>
                  <a:gd name="T16" fmla="*/ 100 w 147"/>
                  <a:gd name="T17" fmla="*/ 91 h 115"/>
                  <a:gd name="T18" fmla="*/ 96 w 147"/>
                  <a:gd name="T19" fmla="*/ 99 h 115"/>
                  <a:gd name="T20" fmla="*/ 90 w 147"/>
                  <a:gd name="T21" fmla="*/ 105 h 115"/>
                  <a:gd name="T22" fmla="*/ 90 w 147"/>
                  <a:gd name="T23" fmla="*/ 105 h 115"/>
                  <a:gd name="T24" fmla="*/ 82 w 147"/>
                  <a:gd name="T25" fmla="*/ 110 h 115"/>
                  <a:gd name="T26" fmla="*/ 74 w 147"/>
                  <a:gd name="T27" fmla="*/ 113 h 115"/>
                  <a:gd name="T28" fmla="*/ 65 w 147"/>
                  <a:gd name="T29" fmla="*/ 115 h 115"/>
                  <a:gd name="T30" fmla="*/ 55 w 147"/>
                  <a:gd name="T31" fmla="*/ 115 h 115"/>
                  <a:gd name="T32" fmla="*/ 0 w 147"/>
                  <a:gd name="T33" fmla="*/ 115 h 115"/>
                  <a:gd name="T34" fmla="*/ 0 w 147"/>
                  <a:gd name="T35" fmla="*/ 1 h 115"/>
                  <a:gd name="T36" fmla="*/ 32 w 147"/>
                  <a:gd name="T37" fmla="*/ 1 h 115"/>
                  <a:gd name="T38" fmla="*/ 32 w 147"/>
                  <a:gd name="T39" fmla="*/ 37 h 115"/>
                  <a:gd name="T40" fmla="*/ 59 w 147"/>
                  <a:gd name="T41" fmla="*/ 37 h 115"/>
                  <a:gd name="T42" fmla="*/ 59 w 147"/>
                  <a:gd name="T43" fmla="*/ 37 h 115"/>
                  <a:gd name="T44" fmla="*/ 68 w 147"/>
                  <a:gd name="T45" fmla="*/ 37 h 115"/>
                  <a:gd name="T46" fmla="*/ 76 w 147"/>
                  <a:gd name="T47" fmla="*/ 39 h 115"/>
                  <a:gd name="T48" fmla="*/ 84 w 147"/>
                  <a:gd name="T49" fmla="*/ 42 h 115"/>
                  <a:gd name="T50" fmla="*/ 92 w 147"/>
                  <a:gd name="T51" fmla="*/ 46 h 115"/>
                  <a:gd name="T52" fmla="*/ 92 w 147"/>
                  <a:gd name="T53" fmla="*/ 46 h 115"/>
                  <a:gd name="T54" fmla="*/ 66 w 147"/>
                  <a:gd name="T55" fmla="*/ 88 h 115"/>
                  <a:gd name="T56" fmla="*/ 66 w 147"/>
                  <a:gd name="T57" fmla="*/ 88 h 115"/>
                  <a:gd name="T58" fmla="*/ 68 w 147"/>
                  <a:gd name="T59" fmla="*/ 85 h 115"/>
                  <a:gd name="T60" fmla="*/ 70 w 147"/>
                  <a:gd name="T61" fmla="*/ 82 h 115"/>
                  <a:gd name="T62" fmla="*/ 71 w 147"/>
                  <a:gd name="T63" fmla="*/ 79 h 115"/>
                  <a:gd name="T64" fmla="*/ 71 w 147"/>
                  <a:gd name="T65" fmla="*/ 76 h 115"/>
                  <a:gd name="T66" fmla="*/ 71 w 147"/>
                  <a:gd name="T67" fmla="*/ 76 h 115"/>
                  <a:gd name="T68" fmla="*/ 71 w 147"/>
                  <a:gd name="T69" fmla="*/ 72 h 115"/>
                  <a:gd name="T70" fmla="*/ 70 w 147"/>
                  <a:gd name="T71" fmla="*/ 69 h 115"/>
                  <a:gd name="T72" fmla="*/ 68 w 147"/>
                  <a:gd name="T73" fmla="*/ 67 h 115"/>
                  <a:gd name="T74" fmla="*/ 66 w 147"/>
                  <a:gd name="T75" fmla="*/ 64 h 115"/>
                  <a:gd name="T76" fmla="*/ 64 w 147"/>
                  <a:gd name="T77" fmla="*/ 63 h 115"/>
                  <a:gd name="T78" fmla="*/ 61 w 147"/>
                  <a:gd name="T79" fmla="*/ 62 h 115"/>
                  <a:gd name="T80" fmla="*/ 53 w 147"/>
                  <a:gd name="T81" fmla="*/ 61 h 115"/>
                  <a:gd name="T82" fmla="*/ 32 w 147"/>
                  <a:gd name="T83" fmla="*/ 61 h 115"/>
                  <a:gd name="T84" fmla="*/ 32 w 147"/>
                  <a:gd name="T85" fmla="*/ 92 h 115"/>
                  <a:gd name="T86" fmla="*/ 53 w 147"/>
                  <a:gd name="T87" fmla="*/ 92 h 115"/>
                  <a:gd name="T88" fmla="*/ 53 w 147"/>
                  <a:gd name="T89" fmla="*/ 92 h 115"/>
                  <a:gd name="T90" fmla="*/ 57 w 147"/>
                  <a:gd name="T91" fmla="*/ 92 h 115"/>
                  <a:gd name="T92" fmla="*/ 60 w 147"/>
                  <a:gd name="T93" fmla="*/ 91 h 115"/>
                  <a:gd name="T94" fmla="*/ 63 w 147"/>
                  <a:gd name="T95" fmla="*/ 90 h 115"/>
                  <a:gd name="T96" fmla="*/ 66 w 147"/>
                  <a:gd name="T97" fmla="*/ 88 h 115"/>
                  <a:gd name="T98" fmla="*/ 66 w 147"/>
                  <a:gd name="T99" fmla="*/ 88 h 115"/>
                  <a:gd name="T100" fmla="*/ 116 w 147"/>
                  <a:gd name="T101" fmla="*/ 0 h 115"/>
                  <a:gd name="T102" fmla="*/ 147 w 147"/>
                  <a:gd name="T103" fmla="*/ 0 h 115"/>
                  <a:gd name="T104" fmla="*/ 147 w 147"/>
                  <a:gd name="T105" fmla="*/ 115 h 115"/>
                  <a:gd name="T106" fmla="*/ 116 w 147"/>
                  <a:gd name="T107" fmla="*/ 115 h 115"/>
                  <a:gd name="T108" fmla="*/ 116 w 147"/>
                  <a:gd name="T109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47" h="115">
                    <a:moveTo>
                      <a:pt x="92" y="46"/>
                    </a:moveTo>
                    <a:lnTo>
                      <a:pt x="92" y="46"/>
                    </a:lnTo>
                    <a:lnTo>
                      <a:pt x="97" y="53"/>
                    </a:lnTo>
                    <a:lnTo>
                      <a:pt x="101" y="60"/>
                    </a:lnTo>
                    <a:lnTo>
                      <a:pt x="103" y="67"/>
                    </a:lnTo>
                    <a:lnTo>
                      <a:pt x="103" y="75"/>
                    </a:lnTo>
                    <a:lnTo>
                      <a:pt x="103" y="75"/>
                    </a:lnTo>
                    <a:lnTo>
                      <a:pt x="103" y="83"/>
                    </a:lnTo>
                    <a:lnTo>
                      <a:pt x="100" y="91"/>
                    </a:lnTo>
                    <a:lnTo>
                      <a:pt x="96" y="99"/>
                    </a:lnTo>
                    <a:lnTo>
                      <a:pt x="90" y="105"/>
                    </a:lnTo>
                    <a:lnTo>
                      <a:pt x="90" y="105"/>
                    </a:lnTo>
                    <a:lnTo>
                      <a:pt x="82" y="110"/>
                    </a:lnTo>
                    <a:lnTo>
                      <a:pt x="74" y="113"/>
                    </a:lnTo>
                    <a:lnTo>
                      <a:pt x="65" y="115"/>
                    </a:lnTo>
                    <a:lnTo>
                      <a:pt x="55" y="115"/>
                    </a:lnTo>
                    <a:lnTo>
                      <a:pt x="0" y="115"/>
                    </a:lnTo>
                    <a:lnTo>
                      <a:pt x="0" y="1"/>
                    </a:lnTo>
                    <a:lnTo>
                      <a:pt x="32" y="1"/>
                    </a:lnTo>
                    <a:lnTo>
                      <a:pt x="32" y="37"/>
                    </a:lnTo>
                    <a:lnTo>
                      <a:pt x="59" y="37"/>
                    </a:lnTo>
                    <a:lnTo>
                      <a:pt x="59" y="37"/>
                    </a:lnTo>
                    <a:lnTo>
                      <a:pt x="68" y="37"/>
                    </a:lnTo>
                    <a:lnTo>
                      <a:pt x="76" y="39"/>
                    </a:lnTo>
                    <a:lnTo>
                      <a:pt x="84" y="42"/>
                    </a:lnTo>
                    <a:lnTo>
                      <a:pt x="92" y="46"/>
                    </a:lnTo>
                    <a:lnTo>
                      <a:pt x="92" y="46"/>
                    </a:lnTo>
                    <a:close/>
                    <a:moveTo>
                      <a:pt x="66" y="88"/>
                    </a:moveTo>
                    <a:lnTo>
                      <a:pt x="66" y="88"/>
                    </a:lnTo>
                    <a:lnTo>
                      <a:pt x="68" y="85"/>
                    </a:lnTo>
                    <a:lnTo>
                      <a:pt x="70" y="82"/>
                    </a:lnTo>
                    <a:lnTo>
                      <a:pt x="71" y="79"/>
                    </a:lnTo>
                    <a:lnTo>
                      <a:pt x="71" y="76"/>
                    </a:lnTo>
                    <a:lnTo>
                      <a:pt x="71" y="76"/>
                    </a:lnTo>
                    <a:lnTo>
                      <a:pt x="71" y="72"/>
                    </a:lnTo>
                    <a:lnTo>
                      <a:pt x="70" y="69"/>
                    </a:lnTo>
                    <a:lnTo>
                      <a:pt x="68" y="67"/>
                    </a:lnTo>
                    <a:lnTo>
                      <a:pt x="66" y="64"/>
                    </a:lnTo>
                    <a:lnTo>
                      <a:pt x="64" y="63"/>
                    </a:lnTo>
                    <a:lnTo>
                      <a:pt x="61" y="62"/>
                    </a:lnTo>
                    <a:lnTo>
                      <a:pt x="53" y="61"/>
                    </a:lnTo>
                    <a:lnTo>
                      <a:pt x="32" y="61"/>
                    </a:lnTo>
                    <a:lnTo>
                      <a:pt x="32" y="92"/>
                    </a:lnTo>
                    <a:lnTo>
                      <a:pt x="53" y="92"/>
                    </a:lnTo>
                    <a:lnTo>
                      <a:pt x="53" y="92"/>
                    </a:lnTo>
                    <a:lnTo>
                      <a:pt x="57" y="92"/>
                    </a:lnTo>
                    <a:lnTo>
                      <a:pt x="60" y="91"/>
                    </a:lnTo>
                    <a:lnTo>
                      <a:pt x="63" y="90"/>
                    </a:lnTo>
                    <a:lnTo>
                      <a:pt x="66" y="88"/>
                    </a:lnTo>
                    <a:lnTo>
                      <a:pt x="66" y="88"/>
                    </a:lnTo>
                    <a:close/>
                    <a:moveTo>
                      <a:pt x="116" y="0"/>
                    </a:moveTo>
                    <a:lnTo>
                      <a:pt x="147" y="0"/>
                    </a:lnTo>
                    <a:lnTo>
                      <a:pt x="147" y="115"/>
                    </a:lnTo>
                    <a:lnTo>
                      <a:pt x="116" y="115"/>
                    </a:lnTo>
                    <a:lnTo>
                      <a:pt x="116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20">
                <a:extLst>
                  <a:ext uri="{FF2B5EF4-FFF2-40B4-BE49-F238E27FC236}">
                    <a16:creationId xmlns:a16="http://schemas.microsoft.com/office/drawing/2014/main" id="{9FDCCCBF-E320-448D-89B8-1645C585543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802941" y="1535113"/>
                <a:ext cx="74613" cy="90487"/>
              </a:xfrm>
              <a:custGeom>
                <a:avLst/>
                <a:gdLst>
                  <a:gd name="T0" fmla="*/ 92 w 92"/>
                  <a:gd name="T1" fmla="*/ 90 h 115"/>
                  <a:gd name="T2" fmla="*/ 92 w 92"/>
                  <a:gd name="T3" fmla="*/ 115 h 115"/>
                  <a:gd name="T4" fmla="*/ 0 w 92"/>
                  <a:gd name="T5" fmla="*/ 115 h 115"/>
                  <a:gd name="T6" fmla="*/ 0 w 92"/>
                  <a:gd name="T7" fmla="*/ 0 h 115"/>
                  <a:gd name="T8" fmla="*/ 90 w 92"/>
                  <a:gd name="T9" fmla="*/ 0 h 115"/>
                  <a:gd name="T10" fmla="*/ 90 w 92"/>
                  <a:gd name="T11" fmla="*/ 25 h 115"/>
                  <a:gd name="T12" fmla="*/ 32 w 92"/>
                  <a:gd name="T13" fmla="*/ 25 h 115"/>
                  <a:gd name="T14" fmla="*/ 32 w 92"/>
                  <a:gd name="T15" fmla="*/ 44 h 115"/>
                  <a:gd name="T16" fmla="*/ 83 w 92"/>
                  <a:gd name="T17" fmla="*/ 44 h 115"/>
                  <a:gd name="T18" fmla="*/ 83 w 92"/>
                  <a:gd name="T19" fmla="*/ 69 h 115"/>
                  <a:gd name="T20" fmla="*/ 32 w 92"/>
                  <a:gd name="T21" fmla="*/ 69 h 115"/>
                  <a:gd name="T22" fmla="*/ 32 w 92"/>
                  <a:gd name="T23" fmla="*/ 90 h 115"/>
                  <a:gd name="T24" fmla="*/ 92 w 92"/>
                  <a:gd name="T25" fmla="*/ 9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2" h="115">
                    <a:moveTo>
                      <a:pt x="92" y="90"/>
                    </a:moveTo>
                    <a:lnTo>
                      <a:pt x="9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25"/>
                    </a:lnTo>
                    <a:lnTo>
                      <a:pt x="32" y="25"/>
                    </a:lnTo>
                    <a:lnTo>
                      <a:pt x="32" y="44"/>
                    </a:lnTo>
                    <a:lnTo>
                      <a:pt x="83" y="44"/>
                    </a:lnTo>
                    <a:lnTo>
                      <a:pt x="83" y="69"/>
                    </a:lnTo>
                    <a:lnTo>
                      <a:pt x="32" y="69"/>
                    </a:lnTo>
                    <a:lnTo>
                      <a:pt x="32" y="90"/>
                    </a:lnTo>
                    <a:lnTo>
                      <a:pt x="92" y="9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21">
                <a:extLst>
                  <a:ext uri="{FF2B5EF4-FFF2-40B4-BE49-F238E27FC236}">
                    <a16:creationId xmlns:a16="http://schemas.microsoft.com/office/drawing/2014/main" id="{5AB40710-2F0E-4B48-9E9C-310E202A5068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934704" y="1535113"/>
                <a:ext cx="82550" cy="90487"/>
              </a:xfrm>
              <a:custGeom>
                <a:avLst/>
                <a:gdLst>
                  <a:gd name="T0" fmla="*/ 79 w 104"/>
                  <a:gd name="T1" fmla="*/ 5 h 115"/>
                  <a:gd name="T2" fmla="*/ 79 w 104"/>
                  <a:gd name="T3" fmla="*/ 5 h 115"/>
                  <a:gd name="T4" fmla="*/ 85 w 104"/>
                  <a:gd name="T5" fmla="*/ 8 h 115"/>
                  <a:gd name="T6" fmla="*/ 90 w 104"/>
                  <a:gd name="T7" fmla="*/ 12 h 115"/>
                  <a:gd name="T8" fmla="*/ 94 w 104"/>
                  <a:gd name="T9" fmla="*/ 16 h 115"/>
                  <a:gd name="T10" fmla="*/ 98 w 104"/>
                  <a:gd name="T11" fmla="*/ 20 h 115"/>
                  <a:gd name="T12" fmla="*/ 98 w 104"/>
                  <a:gd name="T13" fmla="*/ 20 h 115"/>
                  <a:gd name="T14" fmla="*/ 101 w 104"/>
                  <a:gd name="T15" fmla="*/ 27 h 115"/>
                  <a:gd name="T16" fmla="*/ 104 w 104"/>
                  <a:gd name="T17" fmla="*/ 35 h 115"/>
                  <a:gd name="T18" fmla="*/ 104 w 104"/>
                  <a:gd name="T19" fmla="*/ 43 h 115"/>
                  <a:gd name="T20" fmla="*/ 104 w 104"/>
                  <a:gd name="T21" fmla="*/ 51 h 115"/>
                  <a:gd name="T22" fmla="*/ 102 w 104"/>
                  <a:gd name="T23" fmla="*/ 59 h 115"/>
                  <a:gd name="T24" fmla="*/ 98 w 104"/>
                  <a:gd name="T25" fmla="*/ 66 h 115"/>
                  <a:gd name="T26" fmla="*/ 93 w 104"/>
                  <a:gd name="T27" fmla="*/ 72 h 115"/>
                  <a:gd name="T28" fmla="*/ 87 w 104"/>
                  <a:gd name="T29" fmla="*/ 77 h 115"/>
                  <a:gd name="T30" fmla="*/ 87 w 104"/>
                  <a:gd name="T31" fmla="*/ 77 h 115"/>
                  <a:gd name="T32" fmla="*/ 79 w 104"/>
                  <a:gd name="T33" fmla="*/ 81 h 115"/>
                  <a:gd name="T34" fmla="*/ 79 w 104"/>
                  <a:gd name="T35" fmla="*/ 81 h 115"/>
                  <a:gd name="T36" fmla="*/ 72 w 104"/>
                  <a:gd name="T37" fmla="*/ 83 h 115"/>
                  <a:gd name="T38" fmla="*/ 66 w 104"/>
                  <a:gd name="T39" fmla="*/ 85 h 115"/>
                  <a:gd name="T40" fmla="*/ 59 w 104"/>
                  <a:gd name="T41" fmla="*/ 85 h 115"/>
                  <a:gd name="T42" fmla="*/ 52 w 104"/>
                  <a:gd name="T43" fmla="*/ 86 h 115"/>
                  <a:gd name="T44" fmla="*/ 32 w 104"/>
                  <a:gd name="T45" fmla="*/ 86 h 115"/>
                  <a:gd name="T46" fmla="*/ 32 w 104"/>
                  <a:gd name="T47" fmla="*/ 115 h 115"/>
                  <a:gd name="T48" fmla="*/ 0 w 104"/>
                  <a:gd name="T49" fmla="*/ 115 h 115"/>
                  <a:gd name="T50" fmla="*/ 0 w 104"/>
                  <a:gd name="T51" fmla="*/ 0 h 115"/>
                  <a:gd name="T52" fmla="*/ 52 w 104"/>
                  <a:gd name="T53" fmla="*/ 0 h 115"/>
                  <a:gd name="T54" fmla="*/ 52 w 104"/>
                  <a:gd name="T55" fmla="*/ 0 h 115"/>
                  <a:gd name="T56" fmla="*/ 59 w 104"/>
                  <a:gd name="T57" fmla="*/ 1 h 115"/>
                  <a:gd name="T58" fmla="*/ 66 w 104"/>
                  <a:gd name="T59" fmla="*/ 2 h 115"/>
                  <a:gd name="T60" fmla="*/ 73 w 104"/>
                  <a:gd name="T61" fmla="*/ 3 h 115"/>
                  <a:gd name="T62" fmla="*/ 79 w 104"/>
                  <a:gd name="T63" fmla="*/ 5 h 115"/>
                  <a:gd name="T64" fmla="*/ 79 w 104"/>
                  <a:gd name="T65" fmla="*/ 5 h 115"/>
                  <a:gd name="T66" fmla="*/ 65 w 104"/>
                  <a:gd name="T67" fmla="*/ 56 h 115"/>
                  <a:gd name="T68" fmla="*/ 65 w 104"/>
                  <a:gd name="T69" fmla="*/ 56 h 115"/>
                  <a:gd name="T70" fmla="*/ 67 w 104"/>
                  <a:gd name="T71" fmla="*/ 53 h 115"/>
                  <a:gd name="T72" fmla="*/ 69 w 104"/>
                  <a:gd name="T73" fmla="*/ 50 h 115"/>
                  <a:gd name="T74" fmla="*/ 70 w 104"/>
                  <a:gd name="T75" fmla="*/ 46 h 115"/>
                  <a:gd name="T76" fmla="*/ 70 w 104"/>
                  <a:gd name="T77" fmla="*/ 43 h 115"/>
                  <a:gd name="T78" fmla="*/ 70 w 104"/>
                  <a:gd name="T79" fmla="*/ 43 h 115"/>
                  <a:gd name="T80" fmla="*/ 70 w 104"/>
                  <a:gd name="T81" fmla="*/ 39 h 115"/>
                  <a:gd name="T82" fmla="*/ 69 w 104"/>
                  <a:gd name="T83" fmla="*/ 36 h 115"/>
                  <a:gd name="T84" fmla="*/ 67 w 104"/>
                  <a:gd name="T85" fmla="*/ 33 h 115"/>
                  <a:gd name="T86" fmla="*/ 65 w 104"/>
                  <a:gd name="T87" fmla="*/ 30 h 115"/>
                  <a:gd name="T88" fmla="*/ 65 w 104"/>
                  <a:gd name="T89" fmla="*/ 30 h 115"/>
                  <a:gd name="T90" fmla="*/ 62 w 104"/>
                  <a:gd name="T91" fmla="*/ 28 h 115"/>
                  <a:gd name="T92" fmla="*/ 58 w 104"/>
                  <a:gd name="T93" fmla="*/ 27 h 115"/>
                  <a:gd name="T94" fmla="*/ 54 w 104"/>
                  <a:gd name="T95" fmla="*/ 26 h 115"/>
                  <a:gd name="T96" fmla="*/ 50 w 104"/>
                  <a:gd name="T97" fmla="*/ 26 h 115"/>
                  <a:gd name="T98" fmla="*/ 32 w 104"/>
                  <a:gd name="T99" fmla="*/ 26 h 115"/>
                  <a:gd name="T100" fmla="*/ 32 w 104"/>
                  <a:gd name="T101" fmla="*/ 60 h 115"/>
                  <a:gd name="T102" fmla="*/ 50 w 104"/>
                  <a:gd name="T103" fmla="*/ 60 h 115"/>
                  <a:gd name="T104" fmla="*/ 50 w 104"/>
                  <a:gd name="T105" fmla="*/ 60 h 115"/>
                  <a:gd name="T106" fmla="*/ 54 w 104"/>
                  <a:gd name="T107" fmla="*/ 60 h 115"/>
                  <a:gd name="T108" fmla="*/ 58 w 104"/>
                  <a:gd name="T109" fmla="*/ 59 h 115"/>
                  <a:gd name="T110" fmla="*/ 62 w 104"/>
                  <a:gd name="T111" fmla="*/ 58 h 115"/>
                  <a:gd name="T112" fmla="*/ 65 w 104"/>
                  <a:gd name="T113" fmla="*/ 56 h 115"/>
                  <a:gd name="T114" fmla="*/ 65 w 104"/>
                  <a:gd name="T115" fmla="*/ 56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04" h="115">
                    <a:moveTo>
                      <a:pt x="79" y="5"/>
                    </a:moveTo>
                    <a:lnTo>
                      <a:pt x="79" y="5"/>
                    </a:lnTo>
                    <a:lnTo>
                      <a:pt x="85" y="8"/>
                    </a:lnTo>
                    <a:lnTo>
                      <a:pt x="90" y="12"/>
                    </a:lnTo>
                    <a:lnTo>
                      <a:pt x="94" y="16"/>
                    </a:lnTo>
                    <a:lnTo>
                      <a:pt x="98" y="20"/>
                    </a:lnTo>
                    <a:lnTo>
                      <a:pt x="98" y="20"/>
                    </a:lnTo>
                    <a:lnTo>
                      <a:pt x="101" y="27"/>
                    </a:lnTo>
                    <a:lnTo>
                      <a:pt x="104" y="35"/>
                    </a:lnTo>
                    <a:lnTo>
                      <a:pt x="104" y="43"/>
                    </a:lnTo>
                    <a:lnTo>
                      <a:pt x="104" y="51"/>
                    </a:lnTo>
                    <a:lnTo>
                      <a:pt x="102" y="59"/>
                    </a:lnTo>
                    <a:lnTo>
                      <a:pt x="98" y="66"/>
                    </a:lnTo>
                    <a:lnTo>
                      <a:pt x="93" y="72"/>
                    </a:lnTo>
                    <a:lnTo>
                      <a:pt x="87" y="77"/>
                    </a:lnTo>
                    <a:lnTo>
                      <a:pt x="87" y="77"/>
                    </a:lnTo>
                    <a:lnTo>
                      <a:pt x="79" y="81"/>
                    </a:lnTo>
                    <a:lnTo>
                      <a:pt x="79" y="81"/>
                    </a:lnTo>
                    <a:lnTo>
                      <a:pt x="72" y="83"/>
                    </a:lnTo>
                    <a:lnTo>
                      <a:pt x="66" y="85"/>
                    </a:lnTo>
                    <a:lnTo>
                      <a:pt x="59" y="85"/>
                    </a:lnTo>
                    <a:lnTo>
                      <a:pt x="52" y="86"/>
                    </a:lnTo>
                    <a:lnTo>
                      <a:pt x="32" y="86"/>
                    </a:lnTo>
                    <a:lnTo>
                      <a:pt x="3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52" y="0"/>
                    </a:lnTo>
                    <a:lnTo>
                      <a:pt x="52" y="0"/>
                    </a:lnTo>
                    <a:lnTo>
                      <a:pt x="59" y="1"/>
                    </a:lnTo>
                    <a:lnTo>
                      <a:pt x="66" y="2"/>
                    </a:lnTo>
                    <a:lnTo>
                      <a:pt x="73" y="3"/>
                    </a:lnTo>
                    <a:lnTo>
                      <a:pt x="79" y="5"/>
                    </a:lnTo>
                    <a:lnTo>
                      <a:pt x="79" y="5"/>
                    </a:lnTo>
                    <a:close/>
                    <a:moveTo>
                      <a:pt x="65" y="56"/>
                    </a:moveTo>
                    <a:lnTo>
                      <a:pt x="65" y="56"/>
                    </a:lnTo>
                    <a:lnTo>
                      <a:pt x="67" y="53"/>
                    </a:lnTo>
                    <a:lnTo>
                      <a:pt x="69" y="50"/>
                    </a:lnTo>
                    <a:lnTo>
                      <a:pt x="70" y="46"/>
                    </a:lnTo>
                    <a:lnTo>
                      <a:pt x="70" y="43"/>
                    </a:lnTo>
                    <a:lnTo>
                      <a:pt x="70" y="43"/>
                    </a:lnTo>
                    <a:lnTo>
                      <a:pt x="70" y="39"/>
                    </a:lnTo>
                    <a:lnTo>
                      <a:pt x="69" y="36"/>
                    </a:lnTo>
                    <a:lnTo>
                      <a:pt x="67" y="33"/>
                    </a:lnTo>
                    <a:lnTo>
                      <a:pt x="65" y="30"/>
                    </a:lnTo>
                    <a:lnTo>
                      <a:pt x="65" y="30"/>
                    </a:lnTo>
                    <a:lnTo>
                      <a:pt x="62" y="28"/>
                    </a:lnTo>
                    <a:lnTo>
                      <a:pt x="58" y="27"/>
                    </a:lnTo>
                    <a:lnTo>
                      <a:pt x="54" y="26"/>
                    </a:lnTo>
                    <a:lnTo>
                      <a:pt x="50" y="26"/>
                    </a:lnTo>
                    <a:lnTo>
                      <a:pt x="32" y="26"/>
                    </a:lnTo>
                    <a:lnTo>
                      <a:pt x="32" y="60"/>
                    </a:lnTo>
                    <a:lnTo>
                      <a:pt x="50" y="60"/>
                    </a:lnTo>
                    <a:lnTo>
                      <a:pt x="50" y="60"/>
                    </a:lnTo>
                    <a:lnTo>
                      <a:pt x="54" y="60"/>
                    </a:lnTo>
                    <a:lnTo>
                      <a:pt x="58" y="59"/>
                    </a:lnTo>
                    <a:lnTo>
                      <a:pt x="62" y="58"/>
                    </a:lnTo>
                    <a:lnTo>
                      <a:pt x="65" y="56"/>
                    </a:lnTo>
                    <a:lnTo>
                      <a:pt x="65" y="5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22">
                <a:extLst>
                  <a:ext uri="{FF2B5EF4-FFF2-40B4-BE49-F238E27FC236}">
                    <a16:creationId xmlns:a16="http://schemas.microsoft.com/office/drawing/2014/main" id="{58F9AF6F-9F39-4D5F-8DF4-C83D10B4C66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029954" y="1535113"/>
                <a:ext cx="74613" cy="90487"/>
              </a:xfrm>
              <a:custGeom>
                <a:avLst/>
                <a:gdLst>
                  <a:gd name="T0" fmla="*/ 93 w 93"/>
                  <a:gd name="T1" fmla="*/ 90 h 115"/>
                  <a:gd name="T2" fmla="*/ 93 w 93"/>
                  <a:gd name="T3" fmla="*/ 115 h 115"/>
                  <a:gd name="T4" fmla="*/ 0 w 93"/>
                  <a:gd name="T5" fmla="*/ 115 h 115"/>
                  <a:gd name="T6" fmla="*/ 0 w 93"/>
                  <a:gd name="T7" fmla="*/ 0 h 115"/>
                  <a:gd name="T8" fmla="*/ 91 w 93"/>
                  <a:gd name="T9" fmla="*/ 0 h 115"/>
                  <a:gd name="T10" fmla="*/ 91 w 93"/>
                  <a:gd name="T11" fmla="*/ 25 h 115"/>
                  <a:gd name="T12" fmla="*/ 32 w 93"/>
                  <a:gd name="T13" fmla="*/ 25 h 115"/>
                  <a:gd name="T14" fmla="*/ 32 w 93"/>
                  <a:gd name="T15" fmla="*/ 44 h 115"/>
                  <a:gd name="T16" fmla="*/ 83 w 93"/>
                  <a:gd name="T17" fmla="*/ 44 h 115"/>
                  <a:gd name="T18" fmla="*/ 83 w 93"/>
                  <a:gd name="T19" fmla="*/ 69 h 115"/>
                  <a:gd name="T20" fmla="*/ 32 w 93"/>
                  <a:gd name="T21" fmla="*/ 69 h 115"/>
                  <a:gd name="T22" fmla="*/ 32 w 93"/>
                  <a:gd name="T23" fmla="*/ 90 h 115"/>
                  <a:gd name="T24" fmla="*/ 93 w 93"/>
                  <a:gd name="T25" fmla="*/ 9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3" h="115">
                    <a:moveTo>
                      <a:pt x="93" y="90"/>
                    </a:moveTo>
                    <a:lnTo>
                      <a:pt x="93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91" y="0"/>
                    </a:lnTo>
                    <a:lnTo>
                      <a:pt x="91" y="25"/>
                    </a:lnTo>
                    <a:lnTo>
                      <a:pt x="32" y="25"/>
                    </a:lnTo>
                    <a:lnTo>
                      <a:pt x="32" y="44"/>
                    </a:lnTo>
                    <a:lnTo>
                      <a:pt x="83" y="44"/>
                    </a:lnTo>
                    <a:lnTo>
                      <a:pt x="83" y="69"/>
                    </a:lnTo>
                    <a:lnTo>
                      <a:pt x="32" y="69"/>
                    </a:lnTo>
                    <a:lnTo>
                      <a:pt x="32" y="90"/>
                    </a:lnTo>
                    <a:lnTo>
                      <a:pt x="93" y="9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3">
                <a:extLst>
                  <a:ext uri="{FF2B5EF4-FFF2-40B4-BE49-F238E27FC236}">
                    <a16:creationId xmlns:a16="http://schemas.microsoft.com/office/drawing/2014/main" id="{CD7C507B-D340-4B4E-8BD3-AE5C889DC7C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122029" y="1535113"/>
                <a:ext cx="122238" cy="90487"/>
              </a:xfrm>
              <a:custGeom>
                <a:avLst/>
                <a:gdLst>
                  <a:gd name="T0" fmla="*/ 155 w 155"/>
                  <a:gd name="T1" fmla="*/ 0 h 115"/>
                  <a:gd name="T2" fmla="*/ 155 w 155"/>
                  <a:gd name="T3" fmla="*/ 115 h 115"/>
                  <a:gd name="T4" fmla="*/ 0 w 155"/>
                  <a:gd name="T5" fmla="*/ 115 h 115"/>
                  <a:gd name="T6" fmla="*/ 0 w 155"/>
                  <a:gd name="T7" fmla="*/ 0 h 115"/>
                  <a:gd name="T8" fmla="*/ 31 w 155"/>
                  <a:gd name="T9" fmla="*/ 0 h 115"/>
                  <a:gd name="T10" fmla="*/ 31 w 155"/>
                  <a:gd name="T11" fmla="*/ 90 h 115"/>
                  <a:gd name="T12" fmla="*/ 61 w 155"/>
                  <a:gd name="T13" fmla="*/ 90 h 115"/>
                  <a:gd name="T14" fmla="*/ 61 w 155"/>
                  <a:gd name="T15" fmla="*/ 0 h 115"/>
                  <a:gd name="T16" fmla="*/ 93 w 155"/>
                  <a:gd name="T17" fmla="*/ 0 h 115"/>
                  <a:gd name="T18" fmla="*/ 93 w 155"/>
                  <a:gd name="T19" fmla="*/ 90 h 115"/>
                  <a:gd name="T20" fmla="*/ 123 w 155"/>
                  <a:gd name="T21" fmla="*/ 90 h 115"/>
                  <a:gd name="T22" fmla="*/ 123 w 155"/>
                  <a:gd name="T23" fmla="*/ 0 h 115"/>
                  <a:gd name="T24" fmla="*/ 155 w 155"/>
                  <a:gd name="T25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5" h="115">
                    <a:moveTo>
                      <a:pt x="155" y="0"/>
                    </a:moveTo>
                    <a:lnTo>
                      <a:pt x="155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1" y="0"/>
                    </a:lnTo>
                    <a:lnTo>
                      <a:pt x="31" y="90"/>
                    </a:lnTo>
                    <a:lnTo>
                      <a:pt x="61" y="90"/>
                    </a:lnTo>
                    <a:lnTo>
                      <a:pt x="61" y="0"/>
                    </a:lnTo>
                    <a:lnTo>
                      <a:pt x="93" y="0"/>
                    </a:lnTo>
                    <a:lnTo>
                      <a:pt x="93" y="90"/>
                    </a:lnTo>
                    <a:lnTo>
                      <a:pt x="123" y="90"/>
                    </a:lnTo>
                    <a:lnTo>
                      <a:pt x="123" y="0"/>
                    </a:lnTo>
                    <a:lnTo>
                      <a:pt x="15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4">
                <a:extLst>
                  <a:ext uri="{FF2B5EF4-FFF2-40B4-BE49-F238E27FC236}">
                    <a16:creationId xmlns:a16="http://schemas.microsoft.com/office/drawing/2014/main" id="{3283630A-F8FE-413E-865F-CC8F1F5E4C3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268079" y="1535113"/>
                <a:ext cx="71438" cy="90487"/>
              </a:xfrm>
              <a:custGeom>
                <a:avLst/>
                <a:gdLst>
                  <a:gd name="T0" fmla="*/ 92 w 92"/>
                  <a:gd name="T1" fmla="*/ 90 h 115"/>
                  <a:gd name="T2" fmla="*/ 92 w 92"/>
                  <a:gd name="T3" fmla="*/ 115 h 115"/>
                  <a:gd name="T4" fmla="*/ 0 w 92"/>
                  <a:gd name="T5" fmla="*/ 115 h 115"/>
                  <a:gd name="T6" fmla="*/ 0 w 92"/>
                  <a:gd name="T7" fmla="*/ 0 h 115"/>
                  <a:gd name="T8" fmla="*/ 90 w 92"/>
                  <a:gd name="T9" fmla="*/ 0 h 115"/>
                  <a:gd name="T10" fmla="*/ 90 w 92"/>
                  <a:gd name="T11" fmla="*/ 25 h 115"/>
                  <a:gd name="T12" fmla="*/ 32 w 92"/>
                  <a:gd name="T13" fmla="*/ 25 h 115"/>
                  <a:gd name="T14" fmla="*/ 32 w 92"/>
                  <a:gd name="T15" fmla="*/ 44 h 115"/>
                  <a:gd name="T16" fmla="*/ 83 w 92"/>
                  <a:gd name="T17" fmla="*/ 44 h 115"/>
                  <a:gd name="T18" fmla="*/ 83 w 92"/>
                  <a:gd name="T19" fmla="*/ 69 h 115"/>
                  <a:gd name="T20" fmla="*/ 32 w 92"/>
                  <a:gd name="T21" fmla="*/ 69 h 115"/>
                  <a:gd name="T22" fmla="*/ 32 w 92"/>
                  <a:gd name="T23" fmla="*/ 90 h 115"/>
                  <a:gd name="T24" fmla="*/ 92 w 92"/>
                  <a:gd name="T25" fmla="*/ 9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2" h="115">
                    <a:moveTo>
                      <a:pt x="92" y="90"/>
                    </a:moveTo>
                    <a:lnTo>
                      <a:pt x="9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25"/>
                    </a:lnTo>
                    <a:lnTo>
                      <a:pt x="32" y="25"/>
                    </a:lnTo>
                    <a:lnTo>
                      <a:pt x="32" y="44"/>
                    </a:lnTo>
                    <a:lnTo>
                      <a:pt x="83" y="44"/>
                    </a:lnTo>
                    <a:lnTo>
                      <a:pt x="83" y="69"/>
                    </a:lnTo>
                    <a:lnTo>
                      <a:pt x="32" y="69"/>
                    </a:lnTo>
                    <a:lnTo>
                      <a:pt x="32" y="90"/>
                    </a:lnTo>
                    <a:lnTo>
                      <a:pt x="92" y="9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5">
                <a:extLst>
                  <a:ext uri="{FF2B5EF4-FFF2-40B4-BE49-F238E27FC236}">
                    <a16:creationId xmlns:a16="http://schemas.microsoft.com/office/drawing/2014/main" id="{DB12D1B2-9348-4075-AF7C-2638FF51831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358566" y="1535113"/>
                <a:ext cx="85725" cy="90487"/>
              </a:xfrm>
              <a:custGeom>
                <a:avLst/>
                <a:gdLst>
                  <a:gd name="T0" fmla="*/ 109 w 109"/>
                  <a:gd name="T1" fmla="*/ 0 h 115"/>
                  <a:gd name="T2" fmla="*/ 109 w 109"/>
                  <a:gd name="T3" fmla="*/ 115 h 115"/>
                  <a:gd name="T4" fmla="*/ 77 w 109"/>
                  <a:gd name="T5" fmla="*/ 115 h 115"/>
                  <a:gd name="T6" fmla="*/ 77 w 109"/>
                  <a:gd name="T7" fmla="*/ 71 h 115"/>
                  <a:gd name="T8" fmla="*/ 32 w 109"/>
                  <a:gd name="T9" fmla="*/ 71 h 115"/>
                  <a:gd name="T10" fmla="*/ 32 w 109"/>
                  <a:gd name="T11" fmla="*/ 115 h 115"/>
                  <a:gd name="T12" fmla="*/ 0 w 109"/>
                  <a:gd name="T13" fmla="*/ 115 h 115"/>
                  <a:gd name="T14" fmla="*/ 0 w 109"/>
                  <a:gd name="T15" fmla="*/ 0 h 115"/>
                  <a:gd name="T16" fmla="*/ 32 w 109"/>
                  <a:gd name="T17" fmla="*/ 0 h 115"/>
                  <a:gd name="T18" fmla="*/ 32 w 109"/>
                  <a:gd name="T19" fmla="*/ 43 h 115"/>
                  <a:gd name="T20" fmla="*/ 77 w 109"/>
                  <a:gd name="T21" fmla="*/ 43 h 115"/>
                  <a:gd name="T22" fmla="*/ 77 w 109"/>
                  <a:gd name="T23" fmla="*/ 0 h 115"/>
                  <a:gd name="T24" fmla="*/ 109 w 109"/>
                  <a:gd name="T25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9" h="115">
                    <a:moveTo>
                      <a:pt x="109" y="0"/>
                    </a:moveTo>
                    <a:lnTo>
                      <a:pt x="109" y="115"/>
                    </a:lnTo>
                    <a:lnTo>
                      <a:pt x="77" y="115"/>
                    </a:lnTo>
                    <a:lnTo>
                      <a:pt x="77" y="71"/>
                    </a:lnTo>
                    <a:lnTo>
                      <a:pt x="32" y="71"/>
                    </a:lnTo>
                    <a:lnTo>
                      <a:pt x="3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2" y="0"/>
                    </a:lnTo>
                    <a:lnTo>
                      <a:pt x="32" y="43"/>
                    </a:lnTo>
                    <a:lnTo>
                      <a:pt x="77" y="43"/>
                    </a:lnTo>
                    <a:lnTo>
                      <a:pt x="77" y="0"/>
                    </a:lnTo>
                    <a:lnTo>
                      <a:pt x="109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6">
                <a:extLst>
                  <a:ext uri="{FF2B5EF4-FFF2-40B4-BE49-F238E27FC236}">
                    <a16:creationId xmlns:a16="http://schemas.microsoft.com/office/drawing/2014/main" id="{84898BD3-C392-4335-A6C7-A6AC01D2E9A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466516" y="1535113"/>
                <a:ext cx="87313" cy="90487"/>
              </a:xfrm>
              <a:custGeom>
                <a:avLst/>
                <a:gdLst>
                  <a:gd name="T0" fmla="*/ 0 w 110"/>
                  <a:gd name="T1" fmla="*/ 0 h 115"/>
                  <a:gd name="T2" fmla="*/ 32 w 110"/>
                  <a:gd name="T3" fmla="*/ 0 h 115"/>
                  <a:gd name="T4" fmla="*/ 32 w 110"/>
                  <a:gd name="T5" fmla="*/ 68 h 115"/>
                  <a:gd name="T6" fmla="*/ 80 w 110"/>
                  <a:gd name="T7" fmla="*/ 0 h 115"/>
                  <a:gd name="T8" fmla="*/ 110 w 110"/>
                  <a:gd name="T9" fmla="*/ 0 h 115"/>
                  <a:gd name="T10" fmla="*/ 110 w 110"/>
                  <a:gd name="T11" fmla="*/ 115 h 115"/>
                  <a:gd name="T12" fmla="*/ 78 w 110"/>
                  <a:gd name="T13" fmla="*/ 115 h 115"/>
                  <a:gd name="T14" fmla="*/ 78 w 110"/>
                  <a:gd name="T15" fmla="*/ 48 h 115"/>
                  <a:gd name="T16" fmla="*/ 30 w 110"/>
                  <a:gd name="T17" fmla="*/ 115 h 115"/>
                  <a:gd name="T18" fmla="*/ 0 w 110"/>
                  <a:gd name="T19" fmla="*/ 115 h 115"/>
                  <a:gd name="T20" fmla="*/ 0 w 110"/>
                  <a:gd name="T21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0" h="115">
                    <a:moveTo>
                      <a:pt x="0" y="0"/>
                    </a:moveTo>
                    <a:lnTo>
                      <a:pt x="32" y="0"/>
                    </a:lnTo>
                    <a:lnTo>
                      <a:pt x="32" y="68"/>
                    </a:lnTo>
                    <a:lnTo>
                      <a:pt x="80" y="0"/>
                    </a:lnTo>
                    <a:lnTo>
                      <a:pt x="110" y="0"/>
                    </a:lnTo>
                    <a:lnTo>
                      <a:pt x="110" y="115"/>
                    </a:lnTo>
                    <a:lnTo>
                      <a:pt x="78" y="115"/>
                    </a:lnTo>
                    <a:lnTo>
                      <a:pt x="78" y="48"/>
                    </a:lnTo>
                    <a:lnTo>
                      <a:pt x="30" y="115"/>
                    </a:lnTo>
                    <a:lnTo>
                      <a:pt x="0" y="11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7">
                <a:extLst>
                  <a:ext uri="{FF2B5EF4-FFF2-40B4-BE49-F238E27FC236}">
                    <a16:creationId xmlns:a16="http://schemas.microsoft.com/office/drawing/2014/main" id="{C8C58015-D2DD-4FB7-9F05-FEE1977E760C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1571291" y="1535113"/>
                <a:ext cx="80963" cy="90487"/>
              </a:xfrm>
              <a:custGeom>
                <a:avLst/>
                <a:gdLst>
                  <a:gd name="T0" fmla="*/ 103 w 103"/>
                  <a:gd name="T1" fmla="*/ 0 h 115"/>
                  <a:gd name="T2" fmla="*/ 103 w 103"/>
                  <a:gd name="T3" fmla="*/ 115 h 115"/>
                  <a:gd name="T4" fmla="*/ 71 w 103"/>
                  <a:gd name="T5" fmla="*/ 115 h 115"/>
                  <a:gd name="T6" fmla="*/ 71 w 103"/>
                  <a:gd name="T7" fmla="*/ 87 h 115"/>
                  <a:gd name="T8" fmla="*/ 54 w 103"/>
                  <a:gd name="T9" fmla="*/ 87 h 115"/>
                  <a:gd name="T10" fmla="*/ 34 w 103"/>
                  <a:gd name="T11" fmla="*/ 115 h 115"/>
                  <a:gd name="T12" fmla="*/ 0 w 103"/>
                  <a:gd name="T13" fmla="*/ 115 h 115"/>
                  <a:gd name="T14" fmla="*/ 23 w 103"/>
                  <a:gd name="T15" fmla="*/ 82 h 115"/>
                  <a:gd name="T16" fmla="*/ 23 w 103"/>
                  <a:gd name="T17" fmla="*/ 82 h 115"/>
                  <a:gd name="T18" fmla="*/ 18 w 103"/>
                  <a:gd name="T19" fmla="*/ 79 h 115"/>
                  <a:gd name="T20" fmla="*/ 13 w 103"/>
                  <a:gd name="T21" fmla="*/ 76 h 115"/>
                  <a:gd name="T22" fmla="*/ 9 w 103"/>
                  <a:gd name="T23" fmla="*/ 72 h 115"/>
                  <a:gd name="T24" fmla="*/ 6 w 103"/>
                  <a:gd name="T25" fmla="*/ 67 h 115"/>
                  <a:gd name="T26" fmla="*/ 6 w 103"/>
                  <a:gd name="T27" fmla="*/ 67 h 115"/>
                  <a:gd name="T28" fmla="*/ 3 w 103"/>
                  <a:gd name="T29" fmla="*/ 62 h 115"/>
                  <a:gd name="T30" fmla="*/ 1 w 103"/>
                  <a:gd name="T31" fmla="*/ 57 h 115"/>
                  <a:gd name="T32" fmla="*/ 0 w 103"/>
                  <a:gd name="T33" fmla="*/ 51 h 115"/>
                  <a:gd name="T34" fmla="*/ 0 w 103"/>
                  <a:gd name="T35" fmla="*/ 44 h 115"/>
                  <a:gd name="T36" fmla="*/ 0 w 103"/>
                  <a:gd name="T37" fmla="*/ 44 h 115"/>
                  <a:gd name="T38" fmla="*/ 0 w 103"/>
                  <a:gd name="T39" fmla="*/ 38 h 115"/>
                  <a:gd name="T40" fmla="*/ 1 w 103"/>
                  <a:gd name="T41" fmla="*/ 32 h 115"/>
                  <a:gd name="T42" fmla="*/ 3 w 103"/>
                  <a:gd name="T43" fmla="*/ 26 h 115"/>
                  <a:gd name="T44" fmla="*/ 6 w 103"/>
                  <a:gd name="T45" fmla="*/ 21 h 115"/>
                  <a:gd name="T46" fmla="*/ 6 w 103"/>
                  <a:gd name="T47" fmla="*/ 21 h 115"/>
                  <a:gd name="T48" fmla="*/ 10 w 103"/>
                  <a:gd name="T49" fmla="*/ 16 h 115"/>
                  <a:gd name="T50" fmla="*/ 14 w 103"/>
                  <a:gd name="T51" fmla="*/ 12 h 115"/>
                  <a:gd name="T52" fmla="*/ 19 w 103"/>
                  <a:gd name="T53" fmla="*/ 8 h 115"/>
                  <a:gd name="T54" fmla="*/ 24 w 103"/>
                  <a:gd name="T55" fmla="*/ 6 h 115"/>
                  <a:gd name="T56" fmla="*/ 24 w 103"/>
                  <a:gd name="T57" fmla="*/ 6 h 115"/>
                  <a:gd name="T58" fmla="*/ 30 w 103"/>
                  <a:gd name="T59" fmla="*/ 3 h 115"/>
                  <a:gd name="T60" fmla="*/ 37 w 103"/>
                  <a:gd name="T61" fmla="*/ 2 h 115"/>
                  <a:gd name="T62" fmla="*/ 45 w 103"/>
                  <a:gd name="T63" fmla="*/ 1 h 115"/>
                  <a:gd name="T64" fmla="*/ 52 w 103"/>
                  <a:gd name="T65" fmla="*/ 1 h 115"/>
                  <a:gd name="T66" fmla="*/ 103 w 103"/>
                  <a:gd name="T67" fmla="*/ 0 h 115"/>
                  <a:gd name="T68" fmla="*/ 32 w 103"/>
                  <a:gd name="T69" fmla="*/ 43 h 115"/>
                  <a:gd name="T70" fmla="*/ 32 w 103"/>
                  <a:gd name="T71" fmla="*/ 43 h 115"/>
                  <a:gd name="T72" fmla="*/ 33 w 103"/>
                  <a:gd name="T73" fmla="*/ 48 h 115"/>
                  <a:gd name="T74" fmla="*/ 34 w 103"/>
                  <a:gd name="T75" fmla="*/ 51 h 115"/>
                  <a:gd name="T76" fmla="*/ 35 w 103"/>
                  <a:gd name="T77" fmla="*/ 54 h 115"/>
                  <a:gd name="T78" fmla="*/ 37 w 103"/>
                  <a:gd name="T79" fmla="*/ 57 h 115"/>
                  <a:gd name="T80" fmla="*/ 37 w 103"/>
                  <a:gd name="T81" fmla="*/ 57 h 115"/>
                  <a:gd name="T82" fmla="*/ 42 w 103"/>
                  <a:gd name="T83" fmla="*/ 59 h 115"/>
                  <a:gd name="T84" fmla="*/ 45 w 103"/>
                  <a:gd name="T85" fmla="*/ 61 h 115"/>
                  <a:gd name="T86" fmla="*/ 49 w 103"/>
                  <a:gd name="T87" fmla="*/ 62 h 115"/>
                  <a:gd name="T88" fmla="*/ 52 w 103"/>
                  <a:gd name="T89" fmla="*/ 62 h 115"/>
                  <a:gd name="T90" fmla="*/ 72 w 103"/>
                  <a:gd name="T91" fmla="*/ 62 h 115"/>
                  <a:gd name="T92" fmla="*/ 72 w 103"/>
                  <a:gd name="T93" fmla="*/ 26 h 115"/>
                  <a:gd name="T94" fmla="*/ 53 w 103"/>
                  <a:gd name="T95" fmla="*/ 26 h 115"/>
                  <a:gd name="T96" fmla="*/ 53 w 103"/>
                  <a:gd name="T97" fmla="*/ 26 h 115"/>
                  <a:gd name="T98" fmla="*/ 48 w 103"/>
                  <a:gd name="T99" fmla="*/ 26 h 115"/>
                  <a:gd name="T100" fmla="*/ 44 w 103"/>
                  <a:gd name="T101" fmla="*/ 27 h 115"/>
                  <a:gd name="T102" fmla="*/ 41 w 103"/>
                  <a:gd name="T103" fmla="*/ 28 h 115"/>
                  <a:gd name="T104" fmla="*/ 37 w 103"/>
                  <a:gd name="T105" fmla="*/ 30 h 115"/>
                  <a:gd name="T106" fmla="*/ 35 w 103"/>
                  <a:gd name="T107" fmla="*/ 32 h 115"/>
                  <a:gd name="T108" fmla="*/ 34 w 103"/>
                  <a:gd name="T109" fmla="*/ 35 h 115"/>
                  <a:gd name="T110" fmla="*/ 33 w 103"/>
                  <a:gd name="T111" fmla="*/ 39 h 115"/>
                  <a:gd name="T112" fmla="*/ 32 w 103"/>
                  <a:gd name="T113" fmla="*/ 43 h 115"/>
                  <a:gd name="T114" fmla="*/ 32 w 103"/>
                  <a:gd name="T115" fmla="*/ 43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03" h="115">
                    <a:moveTo>
                      <a:pt x="103" y="0"/>
                    </a:moveTo>
                    <a:lnTo>
                      <a:pt x="103" y="115"/>
                    </a:lnTo>
                    <a:lnTo>
                      <a:pt x="71" y="115"/>
                    </a:lnTo>
                    <a:lnTo>
                      <a:pt x="71" y="87"/>
                    </a:lnTo>
                    <a:lnTo>
                      <a:pt x="54" y="87"/>
                    </a:lnTo>
                    <a:lnTo>
                      <a:pt x="34" y="115"/>
                    </a:lnTo>
                    <a:lnTo>
                      <a:pt x="0" y="115"/>
                    </a:lnTo>
                    <a:lnTo>
                      <a:pt x="23" y="82"/>
                    </a:lnTo>
                    <a:lnTo>
                      <a:pt x="23" y="82"/>
                    </a:lnTo>
                    <a:lnTo>
                      <a:pt x="18" y="79"/>
                    </a:lnTo>
                    <a:lnTo>
                      <a:pt x="13" y="76"/>
                    </a:lnTo>
                    <a:lnTo>
                      <a:pt x="9" y="72"/>
                    </a:lnTo>
                    <a:lnTo>
                      <a:pt x="6" y="67"/>
                    </a:lnTo>
                    <a:lnTo>
                      <a:pt x="6" y="67"/>
                    </a:lnTo>
                    <a:lnTo>
                      <a:pt x="3" y="62"/>
                    </a:lnTo>
                    <a:lnTo>
                      <a:pt x="1" y="57"/>
                    </a:lnTo>
                    <a:lnTo>
                      <a:pt x="0" y="51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38"/>
                    </a:lnTo>
                    <a:lnTo>
                      <a:pt x="1" y="32"/>
                    </a:lnTo>
                    <a:lnTo>
                      <a:pt x="3" y="26"/>
                    </a:lnTo>
                    <a:lnTo>
                      <a:pt x="6" y="21"/>
                    </a:lnTo>
                    <a:lnTo>
                      <a:pt x="6" y="21"/>
                    </a:lnTo>
                    <a:lnTo>
                      <a:pt x="10" y="16"/>
                    </a:lnTo>
                    <a:lnTo>
                      <a:pt x="14" y="12"/>
                    </a:lnTo>
                    <a:lnTo>
                      <a:pt x="19" y="8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30" y="3"/>
                    </a:lnTo>
                    <a:lnTo>
                      <a:pt x="37" y="2"/>
                    </a:lnTo>
                    <a:lnTo>
                      <a:pt x="45" y="1"/>
                    </a:lnTo>
                    <a:lnTo>
                      <a:pt x="52" y="1"/>
                    </a:lnTo>
                    <a:lnTo>
                      <a:pt x="103" y="0"/>
                    </a:lnTo>
                    <a:close/>
                    <a:moveTo>
                      <a:pt x="32" y="43"/>
                    </a:moveTo>
                    <a:lnTo>
                      <a:pt x="32" y="43"/>
                    </a:lnTo>
                    <a:lnTo>
                      <a:pt x="33" y="48"/>
                    </a:lnTo>
                    <a:lnTo>
                      <a:pt x="34" y="51"/>
                    </a:lnTo>
                    <a:lnTo>
                      <a:pt x="35" y="54"/>
                    </a:lnTo>
                    <a:lnTo>
                      <a:pt x="37" y="57"/>
                    </a:lnTo>
                    <a:lnTo>
                      <a:pt x="37" y="57"/>
                    </a:lnTo>
                    <a:lnTo>
                      <a:pt x="42" y="59"/>
                    </a:lnTo>
                    <a:lnTo>
                      <a:pt x="45" y="61"/>
                    </a:lnTo>
                    <a:lnTo>
                      <a:pt x="49" y="62"/>
                    </a:lnTo>
                    <a:lnTo>
                      <a:pt x="52" y="62"/>
                    </a:lnTo>
                    <a:lnTo>
                      <a:pt x="72" y="62"/>
                    </a:lnTo>
                    <a:lnTo>
                      <a:pt x="72" y="26"/>
                    </a:lnTo>
                    <a:lnTo>
                      <a:pt x="53" y="26"/>
                    </a:lnTo>
                    <a:lnTo>
                      <a:pt x="53" y="26"/>
                    </a:lnTo>
                    <a:lnTo>
                      <a:pt x="48" y="26"/>
                    </a:lnTo>
                    <a:lnTo>
                      <a:pt x="44" y="27"/>
                    </a:lnTo>
                    <a:lnTo>
                      <a:pt x="41" y="28"/>
                    </a:lnTo>
                    <a:lnTo>
                      <a:pt x="37" y="30"/>
                    </a:lnTo>
                    <a:lnTo>
                      <a:pt x="35" y="32"/>
                    </a:lnTo>
                    <a:lnTo>
                      <a:pt x="34" y="35"/>
                    </a:lnTo>
                    <a:lnTo>
                      <a:pt x="33" y="39"/>
                    </a:lnTo>
                    <a:lnTo>
                      <a:pt x="32" y="43"/>
                    </a:lnTo>
                    <a:lnTo>
                      <a:pt x="32" y="4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A264E467-94BB-47D1-9CC4-8379E6C93ABC}"/>
                </a:ext>
              </a:extLst>
            </p:cNvPr>
            <p:cNvGrpSpPr/>
            <p:nvPr userDrawn="1"/>
          </p:nvGrpSpPr>
          <p:grpSpPr>
            <a:xfrm>
              <a:off x="10332720" y="658368"/>
              <a:ext cx="670092" cy="617763"/>
              <a:chOff x="10301291" y="611188"/>
              <a:chExt cx="731838" cy="674687"/>
            </a:xfrm>
          </p:grpSpPr>
          <p:sp>
            <p:nvSpPr>
              <p:cNvPr id="40" name="Freeform 28">
                <a:extLst>
                  <a:ext uri="{FF2B5EF4-FFF2-40B4-BE49-F238E27FC236}">
                    <a16:creationId xmlns:a16="http://schemas.microsoft.com/office/drawing/2014/main" id="{65FB4C49-7964-4B1B-9DAF-51070281CB2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301291" y="611188"/>
                <a:ext cx="731838" cy="674687"/>
              </a:xfrm>
              <a:custGeom>
                <a:avLst/>
                <a:gdLst>
                  <a:gd name="T0" fmla="*/ 922 w 922"/>
                  <a:gd name="T1" fmla="*/ 0 h 850"/>
                  <a:gd name="T2" fmla="*/ 922 w 922"/>
                  <a:gd name="T3" fmla="*/ 850 h 850"/>
                  <a:gd name="T4" fmla="*/ 0 w 922"/>
                  <a:gd name="T5" fmla="*/ 850 h 850"/>
                  <a:gd name="T6" fmla="*/ 922 w 922"/>
                  <a:gd name="T7" fmla="*/ 0 h 8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22" h="850">
                    <a:moveTo>
                      <a:pt x="922" y="0"/>
                    </a:moveTo>
                    <a:lnTo>
                      <a:pt x="922" y="850"/>
                    </a:lnTo>
                    <a:lnTo>
                      <a:pt x="0" y="850"/>
                    </a:lnTo>
                    <a:lnTo>
                      <a:pt x="922" y="0"/>
                    </a:lnTo>
                    <a:close/>
                  </a:path>
                </a:pathLst>
              </a:custGeom>
              <a:solidFill>
                <a:srgbClr val="46AC4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Freeform 29">
                <a:extLst>
                  <a:ext uri="{FF2B5EF4-FFF2-40B4-BE49-F238E27FC236}">
                    <a16:creationId xmlns:a16="http://schemas.microsoft.com/office/drawing/2014/main" id="{30F1A8B3-4235-454A-9E38-41375D53A8E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877554" y="611188"/>
                <a:ext cx="155575" cy="674687"/>
              </a:xfrm>
              <a:custGeom>
                <a:avLst/>
                <a:gdLst>
                  <a:gd name="T0" fmla="*/ 196 w 196"/>
                  <a:gd name="T1" fmla="*/ 0 h 850"/>
                  <a:gd name="T2" fmla="*/ 196 w 196"/>
                  <a:gd name="T3" fmla="*/ 850 h 850"/>
                  <a:gd name="T4" fmla="*/ 0 w 196"/>
                  <a:gd name="T5" fmla="*/ 850 h 850"/>
                  <a:gd name="T6" fmla="*/ 0 w 196"/>
                  <a:gd name="T7" fmla="*/ 181 h 850"/>
                  <a:gd name="T8" fmla="*/ 196 w 196"/>
                  <a:gd name="T9" fmla="*/ 0 h 8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6" h="850">
                    <a:moveTo>
                      <a:pt x="196" y="0"/>
                    </a:moveTo>
                    <a:lnTo>
                      <a:pt x="196" y="850"/>
                    </a:lnTo>
                    <a:lnTo>
                      <a:pt x="0" y="850"/>
                    </a:lnTo>
                    <a:lnTo>
                      <a:pt x="0" y="181"/>
                    </a:lnTo>
                    <a:lnTo>
                      <a:pt x="196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30">
                <a:extLst>
                  <a:ext uri="{FF2B5EF4-FFF2-40B4-BE49-F238E27FC236}">
                    <a16:creationId xmlns:a16="http://schemas.microsoft.com/office/drawing/2014/main" id="{C2DA1528-48C3-4377-986F-DDF7B6381368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301291" y="625475"/>
                <a:ext cx="493713" cy="660400"/>
              </a:xfrm>
              <a:custGeom>
                <a:avLst/>
                <a:gdLst>
                  <a:gd name="T0" fmla="*/ 339 w 622"/>
                  <a:gd name="T1" fmla="*/ 302 h 833"/>
                  <a:gd name="T2" fmla="*/ 366 w 622"/>
                  <a:gd name="T3" fmla="*/ 303 h 833"/>
                  <a:gd name="T4" fmla="*/ 419 w 622"/>
                  <a:gd name="T5" fmla="*/ 309 h 833"/>
                  <a:gd name="T6" fmla="*/ 447 w 622"/>
                  <a:gd name="T7" fmla="*/ 315 h 833"/>
                  <a:gd name="T8" fmla="*/ 493 w 622"/>
                  <a:gd name="T9" fmla="*/ 332 h 833"/>
                  <a:gd name="T10" fmla="*/ 536 w 622"/>
                  <a:gd name="T11" fmla="*/ 358 h 833"/>
                  <a:gd name="T12" fmla="*/ 546 w 622"/>
                  <a:gd name="T13" fmla="*/ 366 h 833"/>
                  <a:gd name="T14" fmla="*/ 564 w 622"/>
                  <a:gd name="T15" fmla="*/ 383 h 833"/>
                  <a:gd name="T16" fmla="*/ 580 w 622"/>
                  <a:gd name="T17" fmla="*/ 404 h 833"/>
                  <a:gd name="T18" fmla="*/ 594 w 622"/>
                  <a:gd name="T19" fmla="*/ 428 h 833"/>
                  <a:gd name="T20" fmla="*/ 600 w 622"/>
                  <a:gd name="T21" fmla="*/ 440 h 833"/>
                  <a:gd name="T22" fmla="*/ 609 w 622"/>
                  <a:gd name="T23" fmla="*/ 468 h 833"/>
                  <a:gd name="T24" fmla="*/ 616 w 622"/>
                  <a:gd name="T25" fmla="*/ 500 h 833"/>
                  <a:gd name="T26" fmla="*/ 620 w 622"/>
                  <a:gd name="T27" fmla="*/ 532 h 833"/>
                  <a:gd name="T28" fmla="*/ 622 w 622"/>
                  <a:gd name="T29" fmla="*/ 568 h 833"/>
                  <a:gd name="T30" fmla="*/ 621 w 622"/>
                  <a:gd name="T31" fmla="*/ 586 h 833"/>
                  <a:gd name="T32" fmla="*/ 619 w 622"/>
                  <a:gd name="T33" fmla="*/ 620 h 833"/>
                  <a:gd name="T34" fmla="*/ 613 w 622"/>
                  <a:gd name="T35" fmla="*/ 653 h 833"/>
                  <a:gd name="T36" fmla="*/ 605 w 622"/>
                  <a:gd name="T37" fmla="*/ 682 h 833"/>
                  <a:gd name="T38" fmla="*/ 600 w 622"/>
                  <a:gd name="T39" fmla="*/ 695 h 833"/>
                  <a:gd name="T40" fmla="*/ 587 w 622"/>
                  <a:gd name="T41" fmla="*/ 720 h 833"/>
                  <a:gd name="T42" fmla="*/ 573 w 622"/>
                  <a:gd name="T43" fmla="*/ 742 h 833"/>
                  <a:gd name="T44" fmla="*/ 555 w 622"/>
                  <a:gd name="T45" fmla="*/ 761 h 833"/>
                  <a:gd name="T46" fmla="*/ 536 w 622"/>
                  <a:gd name="T47" fmla="*/ 779 h 833"/>
                  <a:gd name="T48" fmla="*/ 515 w 622"/>
                  <a:gd name="T49" fmla="*/ 792 h 833"/>
                  <a:gd name="T50" fmla="*/ 470 w 622"/>
                  <a:gd name="T51" fmla="*/ 813 h 833"/>
                  <a:gd name="T52" fmla="*/ 447 w 622"/>
                  <a:gd name="T53" fmla="*/ 820 h 833"/>
                  <a:gd name="T54" fmla="*/ 392 w 622"/>
                  <a:gd name="T55" fmla="*/ 830 h 833"/>
                  <a:gd name="T56" fmla="*/ 338 w 622"/>
                  <a:gd name="T57" fmla="*/ 833 h 833"/>
                  <a:gd name="T58" fmla="*/ 0 w 622"/>
                  <a:gd name="T59" fmla="*/ 0 h 833"/>
                  <a:gd name="T60" fmla="*/ 558 w 622"/>
                  <a:gd name="T61" fmla="*/ 187 h 833"/>
                  <a:gd name="T62" fmla="*/ 187 w 622"/>
                  <a:gd name="T63" fmla="*/ 302 h 833"/>
                  <a:gd name="T64" fmla="*/ 338 w 622"/>
                  <a:gd name="T65" fmla="*/ 661 h 833"/>
                  <a:gd name="T66" fmla="*/ 349 w 622"/>
                  <a:gd name="T67" fmla="*/ 660 h 833"/>
                  <a:gd name="T68" fmla="*/ 368 w 622"/>
                  <a:gd name="T69" fmla="*/ 658 h 833"/>
                  <a:gd name="T70" fmla="*/ 384 w 622"/>
                  <a:gd name="T71" fmla="*/ 652 h 833"/>
                  <a:gd name="T72" fmla="*/ 397 w 622"/>
                  <a:gd name="T73" fmla="*/ 644 h 833"/>
                  <a:gd name="T74" fmla="*/ 408 w 622"/>
                  <a:gd name="T75" fmla="*/ 634 h 833"/>
                  <a:gd name="T76" fmla="*/ 416 w 622"/>
                  <a:gd name="T77" fmla="*/ 620 h 833"/>
                  <a:gd name="T78" fmla="*/ 422 w 622"/>
                  <a:gd name="T79" fmla="*/ 604 h 833"/>
                  <a:gd name="T80" fmla="*/ 424 w 622"/>
                  <a:gd name="T81" fmla="*/ 586 h 833"/>
                  <a:gd name="T82" fmla="*/ 425 w 622"/>
                  <a:gd name="T83" fmla="*/ 575 h 833"/>
                  <a:gd name="T84" fmla="*/ 423 w 622"/>
                  <a:gd name="T85" fmla="*/ 556 h 833"/>
                  <a:gd name="T86" fmla="*/ 419 w 622"/>
                  <a:gd name="T87" fmla="*/ 539 h 833"/>
                  <a:gd name="T88" fmla="*/ 413 w 622"/>
                  <a:gd name="T89" fmla="*/ 524 h 833"/>
                  <a:gd name="T90" fmla="*/ 403 w 622"/>
                  <a:gd name="T91" fmla="*/ 512 h 833"/>
                  <a:gd name="T92" fmla="*/ 391 w 622"/>
                  <a:gd name="T93" fmla="*/ 503 h 833"/>
                  <a:gd name="T94" fmla="*/ 376 w 622"/>
                  <a:gd name="T95" fmla="*/ 497 h 833"/>
                  <a:gd name="T96" fmla="*/ 358 w 622"/>
                  <a:gd name="T97" fmla="*/ 493 h 833"/>
                  <a:gd name="T98" fmla="*/ 338 w 622"/>
                  <a:gd name="T99" fmla="*/ 491 h 833"/>
                  <a:gd name="T100" fmla="*/ 187 w 622"/>
                  <a:gd name="T101" fmla="*/ 661 h 8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622" h="833">
                    <a:moveTo>
                      <a:pt x="187" y="302"/>
                    </a:moveTo>
                    <a:lnTo>
                      <a:pt x="339" y="302"/>
                    </a:lnTo>
                    <a:lnTo>
                      <a:pt x="339" y="302"/>
                    </a:lnTo>
                    <a:lnTo>
                      <a:pt x="366" y="303"/>
                    </a:lnTo>
                    <a:lnTo>
                      <a:pt x="393" y="305"/>
                    </a:lnTo>
                    <a:lnTo>
                      <a:pt x="419" y="309"/>
                    </a:lnTo>
                    <a:lnTo>
                      <a:pt x="447" y="315"/>
                    </a:lnTo>
                    <a:lnTo>
                      <a:pt x="447" y="315"/>
                    </a:lnTo>
                    <a:lnTo>
                      <a:pt x="471" y="323"/>
                    </a:lnTo>
                    <a:lnTo>
                      <a:pt x="493" y="332"/>
                    </a:lnTo>
                    <a:lnTo>
                      <a:pt x="515" y="345"/>
                    </a:lnTo>
                    <a:lnTo>
                      <a:pt x="536" y="358"/>
                    </a:lnTo>
                    <a:lnTo>
                      <a:pt x="536" y="358"/>
                    </a:lnTo>
                    <a:lnTo>
                      <a:pt x="546" y="366"/>
                    </a:lnTo>
                    <a:lnTo>
                      <a:pt x="555" y="374"/>
                    </a:lnTo>
                    <a:lnTo>
                      <a:pt x="564" y="383"/>
                    </a:lnTo>
                    <a:lnTo>
                      <a:pt x="573" y="393"/>
                    </a:lnTo>
                    <a:lnTo>
                      <a:pt x="580" y="404"/>
                    </a:lnTo>
                    <a:lnTo>
                      <a:pt x="587" y="415"/>
                    </a:lnTo>
                    <a:lnTo>
                      <a:pt x="594" y="428"/>
                    </a:lnTo>
                    <a:lnTo>
                      <a:pt x="600" y="440"/>
                    </a:lnTo>
                    <a:lnTo>
                      <a:pt x="600" y="440"/>
                    </a:lnTo>
                    <a:lnTo>
                      <a:pt x="605" y="454"/>
                    </a:lnTo>
                    <a:lnTo>
                      <a:pt x="609" y="468"/>
                    </a:lnTo>
                    <a:lnTo>
                      <a:pt x="613" y="484"/>
                    </a:lnTo>
                    <a:lnTo>
                      <a:pt x="616" y="500"/>
                    </a:lnTo>
                    <a:lnTo>
                      <a:pt x="619" y="516"/>
                    </a:lnTo>
                    <a:lnTo>
                      <a:pt x="620" y="532"/>
                    </a:lnTo>
                    <a:lnTo>
                      <a:pt x="621" y="550"/>
                    </a:lnTo>
                    <a:lnTo>
                      <a:pt x="622" y="568"/>
                    </a:lnTo>
                    <a:lnTo>
                      <a:pt x="622" y="568"/>
                    </a:lnTo>
                    <a:lnTo>
                      <a:pt x="621" y="586"/>
                    </a:lnTo>
                    <a:lnTo>
                      <a:pt x="620" y="603"/>
                    </a:lnTo>
                    <a:lnTo>
                      <a:pt x="619" y="620"/>
                    </a:lnTo>
                    <a:lnTo>
                      <a:pt x="616" y="637"/>
                    </a:lnTo>
                    <a:lnTo>
                      <a:pt x="613" y="653"/>
                    </a:lnTo>
                    <a:lnTo>
                      <a:pt x="609" y="668"/>
                    </a:lnTo>
                    <a:lnTo>
                      <a:pt x="605" y="682"/>
                    </a:lnTo>
                    <a:lnTo>
                      <a:pt x="600" y="695"/>
                    </a:lnTo>
                    <a:lnTo>
                      <a:pt x="600" y="695"/>
                    </a:lnTo>
                    <a:lnTo>
                      <a:pt x="594" y="708"/>
                    </a:lnTo>
                    <a:lnTo>
                      <a:pt x="587" y="720"/>
                    </a:lnTo>
                    <a:lnTo>
                      <a:pt x="580" y="732"/>
                    </a:lnTo>
                    <a:lnTo>
                      <a:pt x="573" y="742"/>
                    </a:lnTo>
                    <a:lnTo>
                      <a:pt x="564" y="752"/>
                    </a:lnTo>
                    <a:lnTo>
                      <a:pt x="555" y="761"/>
                    </a:lnTo>
                    <a:lnTo>
                      <a:pt x="546" y="771"/>
                    </a:lnTo>
                    <a:lnTo>
                      <a:pt x="536" y="779"/>
                    </a:lnTo>
                    <a:lnTo>
                      <a:pt x="536" y="779"/>
                    </a:lnTo>
                    <a:lnTo>
                      <a:pt x="515" y="792"/>
                    </a:lnTo>
                    <a:lnTo>
                      <a:pt x="493" y="804"/>
                    </a:lnTo>
                    <a:lnTo>
                      <a:pt x="470" y="813"/>
                    </a:lnTo>
                    <a:lnTo>
                      <a:pt x="447" y="820"/>
                    </a:lnTo>
                    <a:lnTo>
                      <a:pt x="447" y="820"/>
                    </a:lnTo>
                    <a:lnTo>
                      <a:pt x="419" y="826"/>
                    </a:lnTo>
                    <a:lnTo>
                      <a:pt x="392" y="830"/>
                    </a:lnTo>
                    <a:lnTo>
                      <a:pt x="365" y="833"/>
                    </a:lnTo>
                    <a:lnTo>
                      <a:pt x="338" y="833"/>
                    </a:lnTo>
                    <a:lnTo>
                      <a:pt x="0" y="833"/>
                    </a:lnTo>
                    <a:lnTo>
                      <a:pt x="0" y="0"/>
                    </a:lnTo>
                    <a:lnTo>
                      <a:pt x="558" y="0"/>
                    </a:lnTo>
                    <a:lnTo>
                      <a:pt x="558" y="187"/>
                    </a:lnTo>
                    <a:lnTo>
                      <a:pt x="187" y="187"/>
                    </a:lnTo>
                    <a:lnTo>
                      <a:pt x="187" y="302"/>
                    </a:lnTo>
                    <a:close/>
                    <a:moveTo>
                      <a:pt x="187" y="661"/>
                    </a:moveTo>
                    <a:lnTo>
                      <a:pt x="338" y="661"/>
                    </a:lnTo>
                    <a:lnTo>
                      <a:pt x="338" y="661"/>
                    </a:lnTo>
                    <a:lnTo>
                      <a:pt x="349" y="660"/>
                    </a:lnTo>
                    <a:lnTo>
                      <a:pt x="358" y="659"/>
                    </a:lnTo>
                    <a:lnTo>
                      <a:pt x="368" y="658"/>
                    </a:lnTo>
                    <a:lnTo>
                      <a:pt x="376" y="655"/>
                    </a:lnTo>
                    <a:lnTo>
                      <a:pt x="384" y="652"/>
                    </a:lnTo>
                    <a:lnTo>
                      <a:pt x="391" y="649"/>
                    </a:lnTo>
                    <a:lnTo>
                      <a:pt x="397" y="644"/>
                    </a:lnTo>
                    <a:lnTo>
                      <a:pt x="403" y="640"/>
                    </a:lnTo>
                    <a:lnTo>
                      <a:pt x="408" y="634"/>
                    </a:lnTo>
                    <a:lnTo>
                      <a:pt x="413" y="628"/>
                    </a:lnTo>
                    <a:lnTo>
                      <a:pt x="416" y="620"/>
                    </a:lnTo>
                    <a:lnTo>
                      <a:pt x="419" y="612"/>
                    </a:lnTo>
                    <a:lnTo>
                      <a:pt x="422" y="604"/>
                    </a:lnTo>
                    <a:lnTo>
                      <a:pt x="423" y="595"/>
                    </a:lnTo>
                    <a:lnTo>
                      <a:pt x="424" y="586"/>
                    </a:lnTo>
                    <a:lnTo>
                      <a:pt x="425" y="575"/>
                    </a:lnTo>
                    <a:lnTo>
                      <a:pt x="425" y="575"/>
                    </a:lnTo>
                    <a:lnTo>
                      <a:pt x="424" y="565"/>
                    </a:lnTo>
                    <a:lnTo>
                      <a:pt x="423" y="556"/>
                    </a:lnTo>
                    <a:lnTo>
                      <a:pt x="422" y="547"/>
                    </a:lnTo>
                    <a:lnTo>
                      <a:pt x="419" y="539"/>
                    </a:lnTo>
                    <a:lnTo>
                      <a:pt x="416" y="531"/>
                    </a:lnTo>
                    <a:lnTo>
                      <a:pt x="413" y="524"/>
                    </a:lnTo>
                    <a:lnTo>
                      <a:pt x="408" y="518"/>
                    </a:lnTo>
                    <a:lnTo>
                      <a:pt x="403" y="512"/>
                    </a:lnTo>
                    <a:lnTo>
                      <a:pt x="397" y="507"/>
                    </a:lnTo>
                    <a:lnTo>
                      <a:pt x="391" y="503"/>
                    </a:lnTo>
                    <a:lnTo>
                      <a:pt x="384" y="500"/>
                    </a:lnTo>
                    <a:lnTo>
                      <a:pt x="376" y="497"/>
                    </a:lnTo>
                    <a:lnTo>
                      <a:pt x="368" y="494"/>
                    </a:lnTo>
                    <a:lnTo>
                      <a:pt x="358" y="493"/>
                    </a:lnTo>
                    <a:lnTo>
                      <a:pt x="349" y="492"/>
                    </a:lnTo>
                    <a:lnTo>
                      <a:pt x="338" y="491"/>
                    </a:lnTo>
                    <a:lnTo>
                      <a:pt x="187" y="491"/>
                    </a:lnTo>
                    <a:lnTo>
                      <a:pt x="187" y="66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05170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De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23940" y="0"/>
            <a:ext cx="5968061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12" y="3197832"/>
            <a:ext cx="5259847" cy="1055708"/>
          </a:xfrm>
        </p:spPr>
        <p:txBody>
          <a:bodyPr/>
          <a:lstStyle>
            <a:lvl1pPr marL="0" indent="0">
              <a:buNone/>
              <a:defRPr sz="1600"/>
            </a:lvl1pPr>
          </a:lstStyle>
          <a:p>
            <a:pPr lvl="0"/>
            <a:r>
              <a:rPr lang="en-US" dirty="0"/>
              <a:t>Text</a:t>
            </a:r>
            <a:r>
              <a:rPr lang="ru-RU" dirty="0"/>
              <a:t> 1</a:t>
            </a:r>
            <a:r>
              <a:rPr lang="en-US" dirty="0"/>
              <a:t>6</a:t>
            </a:r>
            <a:r>
              <a:rPr lang="ru-RU" dirty="0"/>
              <a:t> </a:t>
            </a:r>
            <a:r>
              <a:rPr lang="en-US" dirty="0" err="1"/>
              <a:t>pt</a:t>
            </a:r>
            <a:endParaRPr lang="en-IN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E73900FD-92FA-2F41-E8A5-23E3225BCB2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12" y="2313180"/>
            <a:ext cx="5259847" cy="884652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>
              <a:buNone/>
              <a:defRPr kumimoji="0" lang="en-IN" sz="2400" b="1" i="0" u="none" strike="noStrike" cap="none" spc="0" normalizeH="0" baseline="0" dirty="0">
                <a:ln>
                  <a:noFill/>
                </a:ln>
                <a:solidFill>
                  <a:srgbClr val="4AA85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200479" marR="0" lvl="0" indent="-200479" defTabSz="566606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CHAPTER. MONTSERRAT </a:t>
            </a:r>
            <a:r>
              <a:rPr lang="en-US"/>
              <a:t>24</a:t>
            </a:r>
            <a:r>
              <a:rPr lang="ru-RU"/>
              <a:t> </a:t>
            </a:r>
            <a:r>
              <a:rPr lang="en-US"/>
              <a:t>pt </a:t>
            </a:r>
            <a:endParaRPr lang="en-IN" dirty="0"/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1A43311F-750B-424F-9EE8-33F4023C4D1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677397" y="6463527"/>
            <a:ext cx="1588344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685767" rtl="0" eaLnBrk="1" latinLnBrk="0" hangingPunct="1">
              <a:defRPr lang="en-IN" sz="800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fld id="{99A54082-3007-4C75-B7A1-021A286075E5}" type="datetime4">
              <a:rPr lang="ru-RU" smtClean="0"/>
              <a:t>16 августа 2022 г.</a:t>
            </a:fld>
            <a:endParaRPr lang="en-US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EB11514E-29EF-44F7-927F-726F75DC0B0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83077" y="6463527"/>
            <a:ext cx="41148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685767" rtl="0" eaLnBrk="1" latinLnBrk="0" hangingPunct="1">
              <a:defRPr lang="en-IN" sz="8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ru-RU"/>
              <a:t>Название темы</a:t>
            </a:r>
            <a:endParaRPr lang="en-US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8650379B-624A-4A8F-937F-31E4DE40E0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09601" y="6463527"/>
            <a:ext cx="884088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685767" rtl="0" eaLnBrk="1" latinLnBrk="0" hangingPunct="1">
              <a:defRPr lang="en-IN" sz="800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ru-RU"/>
              <a:t>Страница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67523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-De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icture containing mountain, water, outdoor, lake&#10;&#10;Description automatically generated">
            <a:extLst>
              <a:ext uri="{FF2B5EF4-FFF2-40B4-BE49-F238E27FC236}">
                <a16:creationId xmlns:a16="http://schemas.microsoft.com/office/drawing/2014/main" id="{7BC54AFE-09B0-1855-39C9-9BB879B6BD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36"/>
          <a:stretch/>
        </p:blipFill>
        <p:spPr>
          <a:xfrm>
            <a:off x="-1" y="-1"/>
            <a:ext cx="12192001" cy="6858001"/>
          </a:xfrm>
          <a:prstGeom prst="rect">
            <a:avLst/>
          </a:prstGeom>
        </p:spPr>
      </p:pic>
      <p:sp>
        <p:nvSpPr>
          <p:cNvPr id="19" name="Прямоугольник 3">
            <a:extLst>
              <a:ext uri="{FF2B5EF4-FFF2-40B4-BE49-F238E27FC236}">
                <a16:creationId xmlns:a16="http://schemas.microsoft.com/office/drawing/2014/main" id="{01C61A5E-AEDF-1DF8-BAC5-2AC6CEB6C72D}"/>
              </a:ext>
            </a:extLst>
          </p:cNvPr>
          <p:cNvSpPr/>
          <p:nvPr userDrawn="1"/>
        </p:nvSpPr>
        <p:spPr>
          <a:xfrm>
            <a:off x="2" y="0"/>
            <a:ext cx="12191998" cy="6867440"/>
          </a:xfrm>
          <a:prstGeom prst="rect">
            <a:avLst/>
          </a:prstGeom>
          <a:solidFill>
            <a:schemeClr val="bg2">
              <a:alpha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ru-RU" sz="900" dirty="0">
              <a:solidFill>
                <a:schemeClr val="tx1"/>
              </a:solidFill>
              <a:latin typeface="+mj-lt"/>
            </a:endParaRPr>
          </a:p>
        </p:txBody>
      </p:sp>
      <p:pic>
        <p:nvPicPr>
          <p:cNvPr id="9" name="Рисунок 10">
            <a:extLst>
              <a:ext uri="{FF2B5EF4-FFF2-40B4-BE49-F238E27FC236}">
                <a16:creationId xmlns:a16="http://schemas.microsoft.com/office/drawing/2014/main" id="{3C51704E-5EB8-0FBB-C213-149D2B48357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8208818" y="3175737"/>
            <a:ext cx="3993572" cy="3684558"/>
          </a:xfrm>
          <a:prstGeom prst="rect">
            <a:avLst/>
          </a:prstGeom>
        </p:spPr>
      </p:pic>
      <p:grpSp>
        <p:nvGrpSpPr>
          <p:cNvPr id="43" name="Group 42">
            <a:extLst>
              <a:ext uri="{FF2B5EF4-FFF2-40B4-BE49-F238E27FC236}">
                <a16:creationId xmlns:a16="http://schemas.microsoft.com/office/drawing/2014/main" id="{6BB4C385-1988-46E1-A67E-14CA6096586B}"/>
              </a:ext>
            </a:extLst>
          </p:cNvPr>
          <p:cNvGrpSpPr/>
          <p:nvPr userDrawn="1"/>
        </p:nvGrpSpPr>
        <p:grpSpPr>
          <a:xfrm>
            <a:off x="10346853" y="658368"/>
            <a:ext cx="1319534" cy="970407"/>
            <a:chOff x="10332720" y="658368"/>
            <a:chExt cx="1319534" cy="970407"/>
          </a:xfrm>
        </p:grpSpPr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B6193915-10A5-48DD-9FFF-BBDFD7452819}"/>
                </a:ext>
              </a:extLst>
            </p:cNvPr>
            <p:cNvGrpSpPr/>
            <p:nvPr userDrawn="1"/>
          </p:nvGrpSpPr>
          <p:grpSpPr>
            <a:xfrm>
              <a:off x="10344154" y="1376363"/>
              <a:ext cx="1308100" cy="252412"/>
              <a:chOff x="10344154" y="1376363"/>
              <a:chExt cx="1308100" cy="252412"/>
            </a:xfrm>
          </p:grpSpPr>
          <p:sp>
            <p:nvSpPr>
              <p:cNvPr id="49" name="Freeform 5">
                <a:extLst>
                  <a:ext uri="{FF2B5EF4-FFF2-40B4-BE49-F238E27FC236}">
                    <a16:creationId xmlns:a16="http://schemas.microsoft.com/office/drawing/2014/main" id="{4D799472-9304-4A77-8A6C-8D2FF489870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344154" y="1379538"/>
                <a:ext cx="85725" cy="90487"/>
              </a:xfrm>
              <a:custGeom>
                <a:avLst/>
                <a:gdLst>
                  <a:gd name="T0" fmla="*/ 109 w 109"/>
                  <a:gd name="T1" fmla="*/ 0 h 115"/>
                  <a:gd name="T2" fmla="*/ 109 w 109"/>
                  <a:gd name="T3" fmla="*/ 115 h 115"/>
                  <a:gd name="T4" fmla="*/ 77 w 109"/>
                  <a:gd name="T5" fmla="*/ 115 h 115"/>
                  <a:gd name="T6" fmla="*/ 77 w 109"/>
                  <a:gd name="T7" fmla="*/ 69 h 115"/>
                  <a:gd name="T8" fmla="*/ 32 w 109"/>
                  <a:gd name="T9" fmla="*/ 69 h 115"/>
                  <a:gd name="T10" fmla="*/ 32 w 109"/>
                  <a:gd name="T11" fmla="*/ 115 h 115"/>
                  <a:gd name="T12" fmla="*/ 0 w 109"/>
                  <a:gd name="T13" fmla="*/ 115 h 115"/>
                  <a:gd name="T14" fmla="*/ 0 w 109"/>
                  <a:gd name="T15" fmla="*/ 0 h 115"/>
                  <a:gd name="T16" fmla="*/ 32 w 109"/>
                  <a:gd name="T17" fmla="*/ 0 h 115"/>
                  <a:gd name="T18" fmla="*/ 32 w 109"/>
                  <a:gd name="T19" fmla="*/ 43 h 115"/>
                  <a:gd name="T20" fmla="*/ 77 w 109"/>
                  <a:gd name="T21" fmla="*/ 43 h 115"/>
                  <a:gd name="T22" fmla="*/ 77 w 109"/>
                  <a:gd name="T23" fmla="*/ 0 h 115"/>
                  <a:gd name="T24" fmla="*/ 109 w 109"/>
                  <a:gd name="T25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9" h="115">
                    <a:moveTo>
                      <a:pt x="109" y="0"/>
                    </a:moveTo>
                    <a:lnTo>
                      <a:pt x="109" y="115"/>
                    </a:lnTo>
                    <a:lnTo>
                      <a:pt x="77" y="115"/>
                    </a:lnTo>
                    <a:lnTo>
                      <a:pt x="77" y="69"/>
                    </a:lnTo>
                    <a:lnTo>
                      <a:pt x="32" y="69"/>
                    </a:lnTo>
                    <a:lnTo>
                      <a:pt x="3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2" y="0"/>
                    </a:lnTo>
                    <a:lnTo>
                      <a:pt x="32" y="43"/>
                    </a:lnTo>
                    <a:lnTo>
                      <a:pt x="77" y="43"/>
                    </a:lnTo>
                    <a:lnTo>
                      <a:pt x="77" y="0"/>
                    </a:lnTo>
                    <a:lnTo>
                      <a:pt x="109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6">
                <a:extLst>
                  <a:ext uri="{FF2B5EF4-FFF2-40B4-BE49-F238E27FC236}">
                    <a16:creationId xmlns:a16="http://schemas.microsoft.com/office/drawing/2014/main" id="{737D5D1D-2CFC-4DD6-A897-17FDA6B37DC8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447341" y="1377950"/>
                <a:ext cx="101600" cy="93662"/>
              </a:xfrm>
              <a:custGeom>
                <a:avLst/>
                <a:gdLst>
                  <a:gd name="T0" fmla="*/ 31 w 128"/>
                  <a:gd name="T1" fmla="*/ 112 h 119"/>
                  <a:gd name="T2" fmla="*/ 21 w 128"/>
                  <a:gd name="T3" fmla="*/ 105 h 119"/>
                  <a:gd name="T4" fmla="*/ 6 w 128"/>
                  <a:gd name="T5" fmla="*/ 87 h 119"/>
                  <a:gd name="T6" fmla="*/ 0 w 128"/>
                  <a:gd name="T7" fmla="*/ 65 h 119"/>
                  <a:gd name="T8" fmla="*/ 2 w 128"/>
                  <a:gd name="T9" fmla="*/ 43 h 119"/>
                  <a:gd name="T10" fmla="*/ 6 w 128"/>
                  <a:gd name="T11" fmla="*/ 32 h 119"/>
                  <a:gd name="T12" fmla="*/ 11 w 128"/>
                  <a:gd name="T13" fmla="*/ 24 h 119"/>
                  <a:gd name="T14" fmla="*/ 23 w 128"/>
                  <a:gd name="T15" fmla="*/ 12 h 119"/>
                  <a:gd name="T16" fmla="*/ 31 w 128"/>
                  <a:gd name="T17" fmla="*/ 7 h 119"/>
                  <a:gd name="T18" fmla="*/ 46 w 128"/>
                  <a:gd name="T19" fmla="*/ 2 h 119"/>
                  <a:gd name="T20" fmla="*/ 64 w 128"/>
                  <a:gd name="T21" fmla="*/ 0 h 119"/>
                  <a:gd name="T22" fmla="*/ 81 w 128"/>
                  <a:gd name="T23" fmla="*/ 2 h 119"/>
                  <a:gd name="T24" fmla="*/ 97 w 128"/>
                  <a:gd name="T25" fmla="*/ 7 h 119"/>
                  <a:gd name="T26" fmla="*/ 102 w 128"/>
                  <a:gd name="T27" fmla="*/ 10 h 119"/>
                  <a:gd name="T28" fmla="*/ 115 w 128"/>
                  <a:gd name="T29" fmla="*/ 22 h 119"/>
                  <a:gd name="T30" fmla="*/ 125 w 128"/>
                  <a:gd name="T31" fmla="*/ 42 h 119"/>
                  <a:gd name="T32" fmla="*/ 128 w 128"/>
                  <a:gd name="T33" fmla="*/ 64 h 119"/>
                  <a:gd name="T34" fmla="*/ 124 w 128"/>
                  <a:gd name="T35" fmla="*/ 81 h 119"/>
                  <a:gd name="T36" fmla="*/ 121 w 128"/>
                  <a:gd name="T37" fmla="*/ 86 h 119"/>
                  <a:gd name="T38" fmla="*/ 111 w 128"/>
                  <a:gd name="T39" fmla="*/ 100 h 119"/>
                  <a:gd name="T40" fmla="*/ 97 w 128"/>
                  <a:gd name="T41" fmla="*/ 112 h 119"/>
                  <a:gd name="T42" fmla="*/ 89 w 128"/>
                  <a:gd name="T43" fmla="*/ 115 h 119"/>
                  <a:gd name="T44" fmla="*/ 72 w 128"/>
                  <a:gd name="T45" fmla="*/ 119 h 119"/>
                  <a:gd name="T46" fmla="*/ 55 w 128"/>
                  <a:gd name="T47" fmla="*/ 119 h 119"/>
                  <a:gd name="T48" fmla="*/ 38 w 128"/>
                  <a:gd name="T49" fmla="*/ 115 h 119"/>
                  <a:gd name="T50" fmla="*/ 31 w 128"/>
                  <a:gd name="T51" fmla="*/ 112 h 119"/>
                  <a:gd name="T52" fmla="*/ 80 w 128"/>
                  <a:gd name="T53" fmla="*/ 87 h 119"/>
                  <a:gd name="T54" fmla="*/ 91 w 128"/>
                  <a:gd name="T55" fmla="*/ 76 h 119"/>
                  <a:gd name="T56" fmla="*/ 94 w 128"/>
                  <a:gd name="T57" fmla="*/ 68 h 119"/>
                  <a:gd name="T58" fmla="*/ 94 w 128"/>
                  <a:gd name="T59" fmla="*/ 50 h 119"/>
                  <a:gd name="T60" fmla="*/ 91 w 128"/>
                  <a:gd name="T61" fmla="*/ 42 h 119"/>
                  <a:gd name="T62" fmla="*/ 80 w 128"/>
                  <a:gd name="T63" fmla="*/ 30 h 119"/>
                  <a:gd name="T64" fmla="*/ 72 w 128"/>
                  <a:gd name="T65" fmla="*/ 27 h 119"/>
                  <a:gd name="T66" fmla="*/ 55 w 128"/>
                  <a:gd name="T67" fmla="*/ 27 h 119"/>
                  <a:gd name="T68" fmla="*/ 47 w 128"/>
                  <a:gd name="T69" fmla="*/ 30 h 119"/>
                  <a:gd name="T70" fmla="*/ 36 w 128"/>
                  <a:gd name="T71" fmla="*/ 42 h 119"/>
                  <a:gd name="T72" fmla="*/ 33 w 128"/>
                  <a:gd name="T73" fmla="*/ 50 h 119"/>
                  <a:gd name="T74" fmla="*/ 33 w 128"/>
                  <a:gd name="T75" fmla="*/ 68 h 119"/>
                  <a:gd name="T76" fmla="*/ 36 w 128"/>
                  <a:gd name="T77" fmla="*/ 76 h 119"/>
                  <a:gd name="T78" fmla="*/ 47 w 128"/>
                  <a:gd name="T79" fmla="*/ 87 h 119"/>
                  <a:gd name="T80" fmla="*/ 55 w 128"/>
                  <a:gd name="T81" fmla="*/ 90 h 119"/>
                  <a:gd name="T82" fmla="*/ 72 w 128"/>
                  <a:gd name="T83" fmla="*/ 90 h 119"/>
                  <a:gd name="T84" fmla="*/ 80 w 128"/>
                  <a:gd name="T85" fmla="*/ 87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28" h="119">
                    <a:moveTo>
                      <a:pt x="31" y="112"/>
                    </a:moveTo>
                    <a:lnTo>
                      <a:pt x="31" y="112"/>
                    </a:lnTo>
                    <a:lnTo>
                      <a:pt x="25" y="109"/>
                    </a:lnTo>
                    <a:lnTo>
                      <a:pt x="21" y="105"/>
                    </a:lnTo>
                    <a:lnTo>
                      <a:pt x="13" y="96"/>
                    </a:lnTo>
                    <a:lnTo>
                      <a:pt x="6" y="87"/>
                    </a:lnTo>
                    <a:lnTo>
                      <a:pt x="2" y="76"/>
                    </a:lnTo>
                    <a:lnTo>
                      <a:pt x="0" y="65"/>
                    </a:lnTo>
                    <a:lnTo>
                      <a:pt x="0" y="54"/>
                    </a:lnTo>
                    <a:lnTo>
                      <a:pt x="2" y="43"/>
                    </a:lnTo>
                    <a:lnTo>
                      <a:pt x="4" y="37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11" y="24"/>
                    </a:lnTo>
                    <a:lnTo>
                      <a:pt x="16" y="18"/>
                    </a:lnTo>
                    <a:lnTo>
                      <a:pt x="23" y="12"/>
                    </a:lnTo>
                    <a:lnTo>
                      <a:pt x="31" y="7"/>
                    </a:lnTo>
                    <a:lnTo>
                      <a:pt x="31" y="7"/>
                    </a:lnTo>
                    <a:lnTo>
                      <a:pt x="38" y="4"/>
                    </a:lnTo>
                    <a:lnTo>
                      <a:pt x="46" y="2"/>
                    </a:lnTo>
                    <a:lnTo>
                      <a:pt x="55" y="0"/>
                    </a:lnTo>
                    <a:lnTo>
                      <a:pt x="64" y="0"/>
                    </a:lnTo>
                    <a:lnTo>
                      <a:pt x="72" y="0"/>
                    </a:lnTo>
                    <a:lnTo>
                      <a:pt x="81" y="2"/>
                    </a:lnTo>
                    <a:lnTo>
                      <a:pt x="89" y="4"/>
                    </a:lnTo>
                    <a:lnTo>
                      <a:pt x="97" y="7"/>
                    </a:lnTo>
                    <a:lnTo>
                      <a:pt x="97" y="7"/>
                    </a:lnTo>
                    <a:lnTo>
                      <a:pt x="102" y="10"/>
                    </a:lnTo>
                    <a:lnTo>
                      <a:pt x="106" y="14"/>
                    </a:lnTo>
                    <a:lnTo>
                      <a:pt x="115" y="22"/>
                    </a:lnTo>
                    <a:lnTo>
                      <a:pt x="121" y="31"/>
                    </a:lnTo>
                    <a:lnTo>
                      <a:pt x="125" y="42"/>
                    </a:lnTo>
                    <a:lnTo>
                      <a:pt x="127" y="53"/>
                    </a:lnTo>
                    <a:lnTo>
                      <a:pt x="128" y="64"/>
                    </a:lnTo>
                    <a:lnTo>
                      <a:pt x="125" y="75"/>
                    </a:lnTo>
                    <a:lnTo>
                      <a:pt x="124" y="81"/>
                    </a:lnTo>
                    <a:lnTo>
                      <a:pt x="121" y="86"/>
                    </a:lnTo>
                    <a:lnTo>
                      <a:pt x="121" y="86"/>
                    </a:lnTo>
                    <a:lnTo>
                      <a:pt x="116" y="94"/>
                    </a:lnTo>
                    <a:lnTo>
                      <a:pt x="111" y="100"/>
                    </a:lnTo>
                    <a:lnTo>
                      <a:pt x="104" y="107"/>
                    </a:lnTo>
                    <a:lnTo>
                      <a:pt x="97" y="112"/>
                    </a:lnTo>
                    <a:lnTo>
                      <a:pt x="97" y="112"/>
                    </a:lnTo>
                    <a:lnTo>
                      <a:pt x="89" y="115"/>
                    </a:lnTo>
                    <a:lnTo>
                      <a:pt x="81" y="117"/>
                    </a:lnTo>
                    <a:lnTo>
                      <a:pt x="72" y="119"/>
                    </a:lnTo>
                    <a:lnTo>
                      <a:pt x="64" y="119"/>
                    </a:lnTo>
                    <a:lnTo>
                      <a:pt x="55" y="119"/>
                    </a:lnTo>
                    <a:lnTo>
                      <a:pt x="46" y="117"/>
                    </a:lnTo>
                    <a:lnTo>
                      <a:pt x="38" y="115"/>
                    </a:lnTo>
                    <a:lnTo>
                      <a:pt x="31" y="112"/>
                    </a:lnTo>
                    <a:lnTo>
                      <a:pt x="31" y="112"/>
                    </a:lnTo>
                    <a:close/>
                    <a:moveTo>
                      <a:pt x="80" y="87"/>
                    </a:moveTo>
                    <a:lnTo>
                      <a:pt x="80" y="87"/>
                    </a:lnTo>
                    <a:lnTo>
                      <a:pt x="86" y="82"/>
                    </a:lnTo>
                    <a:lnTo>
                      <a:pt x="91" y="76"/>
                    </a:lnTo>
                    <a:lnTo>
                      <a:pt x="91" y="76"/>
                    </a:lnTo>
                    <a:lnTo>
                      <a:pt x="94" y="68"/>
                    </a:lnTo>
                    <a:lnTo>
                      <a:pt x="95" y="59"/>
                    </a:lnTo>
                    <a:lnTo>
                      <a:pt x="94" y="50"/>
                    </a:lnTo>
                    <a:lnTo>
                      <a:pt x="91" y="42"/>
                    </a:lnTo>
                    <a:lnTo>
                      <a:pt x="91" y="42"/>
                    </a:lnTo>
                    <a:lnTo>
                      <a:pt x="86" y="35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72" y="27"/>
                    </a:lnTo>
                    <a:lnTo>
                      <a:pt x="64" y="26"/>
                    </a:lnTo>
                    <a:lnTo>
                      <a:pt x="55" y="27"/>
                    </a:lnTo>
                    <a:lnTo>
                      <a:pt x="47" y="30"/>
                    </a:lnTo>
                    <a:lnTo>
                      <a:pt x="47" y="30"/>
                    </a:lnTo>
                    <a:lnTo>
                      <a:pt x="41" y="35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3" y="50"/>
                    </a:lnTo>
                    <a:lnTo>
                      <a:pt x="32" y="59"/>
                    </a:lnTo>
                    <a:lnTo>
                      <a:pt x="33" y="68"/>
                    </a:lnTo>
                    <a:lnTo>
                      <a:pt x="36" y="76"/>
                    </a:lnTo>
                    <a:lnTo>
                      <a:pt x="36" y="76"/>
                    </a:lnTo>
                    <a:lnTo>
                      <a:pt x="41" y="82"/>
                    </a:lnTo>
                    <a:lnTo>
                      <a:pt x="47" y="87"/>
                    </a:lnTo>
                    <a:lnTo>
                      <a:pt x="47" y="87"/>
                    </a:lnTo>
                    <a:lnTo>
                      <a:pt x="55" y="90"/>
                    </a:lnTo>
                    <a:lnTo>
                      <a:pt x="64" y="91"/>
                    </a:lnTo>
                    <a:lnTo>
                      <a:pt x="72" y="90"/>
                    </a:lnTo>
                    <a:lnTo>
                      <a:pt x="80" y="87"/>
                    </a:lnTo>
                    <a:lnTo>
                      <a:pt x="80" y="8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7">
                <a:extLst>
                  <a:ext uri="{FF2B5EF4-FFF2-40B4-BE49-F238E27FC236}">
                    <a16:creationId xmlns:a16="http://schemas.microsoft.com/office/drawing/2014/main" id="{33FDB740-BA63-4EFC-BB28-A575D3B87189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564816" y="1379538"/>
                <a:ext cx="84138" cy="90487"/>
              </a:xfrm>
              <a:custGeom>
                <a:avLst/>
                <a:gdLst>
                  <a:gd name="T0" fmla="*/ 99 w 105"/>
                  <a:gd name="T1" fmla="*/ 64 h 115"/>
                  <a:gd name="T2" fmla="*/ 103 w 105"/>
                  <a:gd name="T3" fmla="*/ 72 h 115"/>
                  <a:gd name="T4" fmla="*/ 105 w 105"/>
                  <a:gd name="T5" fmla="*/ 81 h 115"/>
                  <a:gd name="T6" fmla="*/ 104 w 105"/>
                  <a:gd name="T7" fmla="*/ 88 h 115"/>
                  <a:gd name="T8" fmla="*/ 98 w 105"/>
                  <a:gd name="T9" fmla="*/ 101 h 115"/>
                  <a:gd name="T10" fmla="*/ 93 w 105"/>
                  <a:gd name="T11" fmla="*/ 106 h 115"/>
                  <a:gd name="T12" fmla="*/ 77 w 105"/>
                  <a:gd name="T13" fmla="*/ 113 h 115"/>
                  <a:gd name="T14" fmla="*/ 59 w 105"/>
                  <a:gd name="T15" fmla="*/ 115 h 115"/>
                  <a:gd name="T16" fmla="*/ 0 w 105"/>
                  <a:gd name="T17" fmla="*/ 0 h 115"/>
                  <a:gd name="T18" fmla="*/ 56 w 105"/>
                  <a:gd name="T19" fmla="*/ 0 h 115"/>
                  <a:gd name="T20" fmla="*/ 73 w 105"/>
                  <a:gd name="T21" fmla="*/ 2 h 115"/>
                  <a:gd name="T22" fmla="*/ 88 w 105"/>
                  <a:gd name="T23" fmla="*/ 8 h 115"/>
                  <a:gd name="T24" fmla="*/ 93 w 105"/>
                  <a:gd name="T25" fmla="*/ 12 h 115"/>
                  <a:gd name="T26" fmla="*/ 99 w 105"/>
                  <a:gd name="T27" fmla="*/ 23 h 115"/>
                  <a:gd name="T28" fmla="*/ 99 w 105"/>
                  <a:gd name="T29" fmla="*/ 30 h 115"/>
                  <a:gd name="T30" fmla="*/ 95 w 105"/>
                  <a:gd name="T31" fmla="*/ 45 h 115"/>
                  <a:gd name="T32" fmla="*/ 90 w 105"/>
                  <a:gd name="T33" fmla="*/ 50 h 115"/>
                  <a:gd name="T34" fmla="*/ 84 w 105"/>
                  <a:gd name="T35" fmla="*/ 54 h 115"/>
                  <a:gd name="T36" fmla="*/ 92 w 105"/>
                  <a:gd name="T37" fmla="*/ 58 h 115"/>
                  <a:gd name="T38" fmla="*/ 99 w 105"/>
                  <a:gd name="T39" fmla="*/ 64 h 115"/>
                  <a:gd name="T40" fmla="*/ 32 w 105"/>
                  <a:gd name="T41" fmla="*/ 46 h 115"/>
                  <a:gd name="T42" fmla="*/ 53 w 105"/>
                  <a:gd name="T43" fmla="*/ 46 h 115"/>
                  <a:gd name="T44" fmla="*/ 63 w 105"/>
                  <a:gd name="T45" fmla="*/ 43 h 115"/>
                  <a:gd name="T46" fmla="*/ 67 w 105"/>
                  <a:gd name="T47" fmla="*/ 34 h 115"/>
                  <a:gd name="T48" fmla="*/ 66 w 105"/>
                  <a:gd name="T49" fmla="*/ 29 h 115"/>
                  <a:gd name="T50" fmla="*/ 59 w 105"/>
                  <a:gd name="T51" fmla="*/ 24 h 115"/>
                  <a:gd name="T52" fmla="*/ 32 w 105"/>
                  <a:gd name="T53" fmla="*/ 23 h 115"/>
                  <a:gd name="T54" fmla="*/ 72 w 105"/>
                  <a:gd name="T55" fmla="*/ 79 h 115"/>
                  <a:gd name="T56" fmla="*/ 71 w 105"/>
                  <a:gd name="T57" fmla="*/ 74 h 115"/>
                  <a:gd name="T58" fmla="*/ 64 w 105"/>
                  <a:gd name="T59" fmla="*/ 68 h 115"/>
                  <a:gd name="T60" fmla="*/ 32 w 105"/>
                  <a:gd name="T61" fmla="*/ 67 h 115"/>
                  <a:gd name="T62" fmla="*/ 58 w 105"/>
                  <a:gd name="T63" fmla="*/ 91 h 115"/>
                  <a:gd name="T64" fmla="*/ 64 w 105"/>
                  <a:gd name="T65" fmla="*/ 90 h 115"/>
                  <a:gd name="T66" fmla="*/ 71 w 105"/>
                  <a:gd name="T67" fmla="*/ 84 h 115"/>
                  <a:gd name="T68" fmla="*/ 72 w 105"/>
                  <a:gd name="T69" fmla="*/ 79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5" h="115">
                    <a:moveTo>
                      <a:pt x="99" y="64"/>
                    </a:moveTo>
                    <a:lnTo>
                      <a:pt x="99" y="64"/>
                    </a:lnTo>
                    <a:lnTo>
                      <a:pt x="102" y="68"/>
                    </a:lnTo>
                    <a:lnTo>
                      <a:pt x="103" y="72"/>
                    </a:lnTo>
                    <a:lnTo>
                      <a:pt x="104" y="77"/>
                    </a:lnTo>
                    <a:lnTo>
                      <a:pt x="105" y="81"/>
                    </a:lnTo>
                    <a:lnTo>
                      <a:pt x="105" y="81"/>
                    </a:lnTo>
                    <a:lnTo>
                      <a:pt x="104" y="88"/>
                    </a:lnTo>
                    <a:lnTo>
                      <a:pt x="102" y="95"/>
                    </a:lnTo>
                    <a:lnTo>
                      <a:pt x="98" y="101"/>
                    </a:lnTo>
                    <a:lnTo>
                      <a:pt x="93" y="106"/>
                    </a:lnTo>
                    <a:lnTo>
                      <a:pt x="93" y="106"/>
                    </a:lnTo>
                    <a:lnTo>
                      <a:pt x="85" y="110"/>
                    </a:lnTo>
                    <a:lnTo>
                      <a:pt x="77" y="113"/>
                    </a:lnTo>
                    <a:lnTo>
                      <a:pt x="68" y="115"/>
                    </a:lnTo>
                    <a:lnTo>
                      <a:pt x="59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5" y="0"/>
                    </a:lnTo>
                    <a:lnTo>
                      <a:pt x="73" y="2"/>
                    </a:lnTo>
                    <a:lnTo>
                      <a:pt x="81" y="4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93" y="12"/>
                    </a:lnTo>
                    <a:lnTo>
                      <a:pt x="97" y="17"/>
                    </a:lnTo>
                    <a:lnTo>
                      <a:pt x="99" y="23"/>
                    </a:lnTo>
                    <a:lnTo>
                      <a:pt x="99" y="30"/>
                    </a:lnTo>
                    <a:lnTo>
                      <a:pt x="99" y="30"/>
                    </a:lnTo>
                    <a:lnTo>
                      <a:pt x="98" y="37"/>
                    </a:lnTo>
                    <a:lnTo>
                      <a:pt x="95" y="45"/>
                    </a:lnTo>
                    <a:lnTo>
                      <a:pt x="95" y="45"/>
                    </a:lnTo>
                    <a:lnTo>
                      <a:pt x="90" y="50"/>
                    </a:lnTo>
                    <a:lnTo>
                      <a:pt x="84" y="54"/>
                    </a:lnTo>
                    <a:lnTo>
                      <a:pt x="84" y="54"/>
                    </a:lnTo>
                    <a:lnTo>
                      <a:pt x="88" y="56"/>
                    </a:lnTo>
                    <a:lnTo>
                      <a:pt x="92" y="58"/>
                    </a:lnTo>
                    <a:lnTo>
                      <a:pt x="96" y="61"/>
                    </a:lnTo>
                    <a:lnTo>
                      <a:pt x="99" y="64"/>
                    </a:lnTo>
                    <a:lnTo>
                      <a:pt x="99" y="64"/>
                    </a:lnTo>
                    <a:close/>
                    <a:moveTo>
                      <a:pt x="32" y="46"/>
                    </a:moveTo>
                    <a:lnTo>
                      <a:pt x="53" y="46"/>
                    </a:lnTo>
                    <a:lnTo>
                      <a:pt x="53" y="46"/>
                    </a:lnTo>
                    <a:lnTo>
                      <a:pt x="59" y="45"/>
                    </a:lnTo>
                    <a:lnTo>
                      <a:pt x="63" y="43"/>
                    </a:lnTo>
                    <a:lnTo>
                      <a:pt x="66" y="39"/>
                    </a:lnTo>
                    <a:lnTo>
                      <a:pt x="67" y="34"/>
                    </a:lnTo>
                    <a:lnTo>
                      <a:pt x="67" y="34"/>
                    </a:lnTo>
                    <a:lnTo>
                      <a:pt x="66" y="29"/>
                    </a:lnTo>
                    <a:lnTo>
                      <a:pt x="63" y="26"/>
                    </a:lnTo>
                    <a:lnTo>
                      <a:pt x="59" y="24"/>
                    </a:lnTo>
                    <a:lnTo>
                      <a:pt x="53" y="23"/>
                    </a:lnTo>
                    <a:lnTo>
                      <a:pt x="32" y="23"/>
                    </a:lnTo>
                    <a:lnTo>
                      <a:pt x="32" y="46"/>
                    </a:lnTo>
                    <a:close/>
                    <a:moveTo>
                      <a:pt x="72" y="79"/>
                    </a:moveTo>
                    <a:lnTo>
                      <a:pt x="72" y="79"/>
                    </a:lnTo>
                    <a:lnTo>
                      <a:pt x="71" y="74"/>
                    </a:lnTo>
                    <a:lnTo>
                      <a:pt x="69" y="70"/>
                    </a:lnTo>
                    <a:lnTo>
                      <a:pt x="64" y="68"/>
                    </a:lnTo>
                    <a:lnTo>
                      <a:pt x="58" y="67"/>
                    </a:lnTo>
                    <a:lnTo>
                      <a:pt x="32" y="67"/>
                    </a:lnTo>
                    <a:lnTo>
                      <a:pt x="32" y="91"/>
                    </a:lnTo>
                    <a:lnTo>
                      <a:pt x="58" y="91"/>
                    </a:lnTo>
                    <a:lnTo>
                      <a:pt x="58" y="91"/>
                    </a:lnTo>
                    <a:lnTo>
                      <a:pt x="64" y="90"/>
                    </a:lnTo>
                    <a:lnTo>
                      <a:pt x="69" y="88"/>
                    </a:lnTo>
                    <a:lnTo>
                      <a:pt x="71" y="84"/>
                    </a:lnTo>
                    <a:lnTo>
                      <a:pt x="72" y="79"/>
                    </a:lnTo>
                    <a:lnTo>
                      <a:pt x="72" y="7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8">
                <a:extLst>
                  <a:ext uri="{FF2B5EF4-FFF2-40B4-BE49-F238E27FC236}">
                    <a16:creationId xmlns:a16="http://schemas.microsoft.com/office/drawing/2014/main" id="{F59506D4-4E60-45DB-BCB9-00971FA45F50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664829" y="1379538"/>
                <a:ext cx="115888" cy="90487"/>
              </a:xfrm>
              <a:custGeom>
                <a:avLst/>
                <a:gdLst>
                  <a:gd name="T0" fmla="*/ 92 w 147"/>
                  <a:gd name="T1" fmla="*/ 46 h 115"/>
                  <a:gd name="T2" fmla="*/ 92 w 147"/>
                  <a:gd name="T3" fmla="*/ 46 h 115"/>
                  <a:gd name="T4" fmla="*/ 97 w 147"/>
                  <a:gd name="T5" fmla="*/ 51 h 115"/>
                  <a:gd name="T6" fmla="*/ 101 w 147"/>
                  <a:gd name="T7" fmla="*/ 58 h 115"/>
                  <a:gd name="T8" fmla="*/ 103 w 147"/>
                  <a:gd name="T9" fmla="*/ 66 h 115"/>
                  <a:gd name="T10" fmla="*/ 103 w 147"/>
                  <a:gd name="T11" fmla="*/ 73 h 115"/>
                  <a:gd name="T12" fmla="*/ 103 w 147"/>
                  <a:gd name="T13" fmla="*/ 73 h 115"/>
                  <a:gd name="T14" fmla="*/ 103 w 147"/>
                  <a:gd name="T15" fmla="*/ 82 h 115"/>
                  <a:gd name="T16" fmla="*/ 100 w 147"/>
                  <a:gd name="T17" fmla="*/ 90 h 115"/>
                  <a:gd name="T18" fmla="*/ 96 w 147"/>
                  <a:gd name="T19" fmla="*/ 97 h 115"/>
                  <a:gd name="T20" fmla="*/ 90 w 147"/>
                  <a:gd name="T21" fmla="*/ 104 h 115"/>
                  <a:gd name="T22" fmla="*/ 90 w 147"/>
                  <a:gd name="T23" fmla="*/ 104 h 115"/>
                  <a:gd name="T24" fmla="*/ 82 w 147"/>
                  <a:gd name="T25" fmla="*/ 109 h 115"/>
                  <a:gd name="T26" fmla="*/ 74 w 147"/>
                  <a:gd name="T27" fmla="*/ 113 h 115"/>
                  <a:gd name="T28" fmla="*/ 65 w 147"/>
                  <a:gd name="T29" fmla="*/ 115 h 115"/>
                  <a:gd name="T30" fmla="*/ 55 w 147"/>
                  <a:gd name="T31" fmla="*/ 115 h 115"/>
                  <a:gd name="T32" fmla="*/ 0 w 147"/>
                  <a:gd name="T33" fmla="*/ 115 h 115"/>
                  <a:gd name="T34" fmla="*/ 0 w 147"/>
                  <a:gd name="T35" fmla="*/ 0 h 115"/>
                  <a:gd name="T36" fmla="*/ 32 w 147"/>
                  <a:gd name="T37" fmla="*/ 0 h 115"/>
                  <a:gd name="T38" fmla="*/ 32 w 147"/>
                  <a:gd name="T39" fmla="*/ 36 h 115"/>
                  <a:gd name="T40" fmla="*/ 59 w 147"/>
                  <a:gd name="T41" fmla="*/ 36 h 115"/>
                  <a:gd name="T42" fmla="*/ 59 w 147"/>
                  <a:gd name="T43" fmla="*/ 36 h 115"/>
                  <a:gd name="T44" fmla="*/ 68 w 147"/>
                  <a:gd name="T45" fmla="*/ 37 h 115"/>
                  <a:gd name="T46" fmla="*/ 76 w 147"/>
                  <a:gd name="T47" fmla="*/ 38 h 115"/>
                  <a:gd name="T48" fmla="*/ 84 w 147"/>
                  <a:gd name="T49" fmla="*/ 41 h 115"/>
                  <a:gd name="T50" fmla="*/ 92 w 147"/>
                  <a:gd name="T51" fmla="*/ 46 h 115"/>
                  <a:gd name="T52" fmla="*/ 92 w 147"/>
                  <a:gd name="T53" fmla="*/ 46 h 115"/>
                  <a:gd name="T54" fmla="*/ 66 w 147"/>
                  <a:gd name="T55" fmla="*/ 86 h 115"/>
                  <a:gd name="T56" fmla="*/ 66 w 147"/>
                  <a:gd name="T57" fmla="*/ 86 h 115"/>
                  <a:gd name="T58" fmla="*/ 68 w 147"/>
                  <a:gd name="T59" fmla="*/ 84 h 115"/>
                  <a:gd name="T60" fmla="*/ 70 w 147"/>
                  <a:gd name="T61" fmla="*/ 81 h 115"/>
                  <a:gd name="T62" fmla="*/ 71 w 147"/>
                  <a:gd name="T63" fmla="*/ 77 h 115"/>
                  <a:gd name="T64" fmla="*/ 71 w 147"/>
                  <a:gd name="T65" fmla="*/ 74 h 115"/>
                  <a:gd name="T66" fmla="*/ 71 w 147"/>
                  <a:gd name="T67" fmla="*/ 74 h 115"/>
                  <a:gd name="T68" fmla="*/ 71 w 147"/>
                  <a:gd name="T69" fmla="*/ 71 h 115"/>
                  <a:gd name="T70" fmla="*/ 70 w 147"/>
                  <a:gd name="T71" fmla="*/ 68 h 115"/>
                  <a:gd name="T72" fmla="*/ 68 w 147"/>
                  <a:gd name="T73" fmla="*/ 65 h 115"/>
                  <a:gd name="T74" fmla="*/ 67 w 147"/>
                  <a:gd name="T75" fmla="*/ 63 h 115"/>
                  <a:gd name="T76" fmla="*/ 64 w 147"/>
                  <a:gd name="T77" fmla="*/ 61 h 115"/>
                  <a:gd name="T78" fmla="*/ 61 w 147"/>
                  <a:gd name="T79" fmla="*/ 60 h 115"/>
                  <a:gd name="T80" fmla="*/ 53 w 147"/>
                  <a:gd name="T81" fmla="*/ 59 h 115"/>
                  <a:gd name="T82" fmla="*/ 32 w 147"/>
                  <a:gd name="T83" fmla="*/ 59 h 115"/>
                  <a:gd name="T84" fmla="*/ 32 w 147"/>
                  <a:gd name="T85" fmla="*/ 91 h 115"/>
                  <a:gd name="T86" fmla="*/ 53 w 147"/>
                  <a:gd name="T87" fmla="*/ 91 h 115"/>
                  <a:gd name="T88" fmla="*/ 53 w 147"/>
                  <a:gd name="T89" fmla="*/ 91 h 115"/>
                  <a:gd name="T90" fmla="*/ 57 w 147"/>
                  <a:gd name="T91" fmla="*/ 91 h 115"/>
                  <a:gd name="T92" fmla="*/ 60 w 147"/>
                  <a:gd name="T93" fmla="*/ 90 h 115"/>
                  <a:gd name="T94" fmla="*/ 63 w 147"/>
                  <a:gd name="T95" fmla="*/ 88 h 115"/>
                  <a:gd name="T96" fmla="*/ 66 w 147"/>
                  <a:gd name="T97" fmla="*/ 86 h 115"/>
                  <a:gd name="T98" fmla="*/ 66 w 147"/>
                  <a:gd name="T99" fmla="*/ 86 h 115"/>
                  <a:gd name="T100" fmla="*/ 116 w 147"/>
                  <a:gd name="T101" fmla="*/ 0 h 115"/>
                  <a:gd name="T102" fmla="*/ 147 w 147"/>
                  <a:gd name="T103" fmla="*/ 0 h 115"/>
                  <a:gd name="T104" fmla="*/ 147 w 147"/>
                  <a:gd name="T105" fmla="*/ 115 h 115"/>
                  <a:gd name="T106" fmla="*/ 116 w 147"/>
                  <a:gd name="T107" fmla="*/ 115 h 115"/>
                  <a:gd name="T108" fmla="*/ 116 w 147"/>
                  <a:gd name="T109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47" h="115">
                    <a:moveTo>
                      <a:pt x="92" y="46"/>
                    </a:moveTo>
                    <a:lnTo>
                      <a:pt x="92" y="46"/>
                    </a:lnTo>
                    <a:lnTo>
                      <a:pt x="97" y="51"/>
                    </a:lnTo>
                    <a:lnTo>
                      <a:pt x="101" y="58"/>
                    </a:lnTo>
                    <a:lnTo>
                      <a:pt x="103" y="66"/>
                    </a:lnTo>
                    <a:lnTo>
                      <a:pt x="103" y="73"/>
                    </a:lnTo>
                    <a:lnTo>
                      <a:pt x="103" y="73"/>
                    </a:lnTo>
                    <a:lnTo>
                      <a:pt x="103" y="82"/>
                    </a:lnTo>
                    <a:lnTo>
                      <a:pt x="100" y="90"/>
                    </a:lnTo>
                    <a:lnTo>
                      <a:pt x="96" y="97"/>
                    </a:lnTo>
                    <a:lnTo>
                      <a:pt x="90" y="104"/>
                    </a:lnTo>
                    <a:lnTo>
                      <a:pt x="90" y="104"/>
                    </a:lnTo>
                    <a:lnTo>
                      <a:pt x="82" y="109"/>
                    </a:lnTo>
                    <a:lnTo>
                      <a:pt x="74" y="113"/>
                    </a:lnTo>
                    <a:lnTo>
                      <a:pt x="65" y="115"/>
                    </a:lnTo>
                    <a:lnTo>
                      <a:pt x="55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2" y="0"/>
                    </a:lnTo>
                    <a:lnTo>
                      <a:pt x="32" y="36"/>
                    </a:lnTo>
                    <a:lnTo>
                      <a:pt x="59" y="36"/>
                    </a:lnTo>
                    <a:lnTo>
                      <a:pt x="59" y="36"/>
                    </a:lnTo>
                    <a:lnTo>
                      <a:pt x="68" y="37"/>
                    </a:lnTo>
                    <a:lnTo>
                      <a:pt x="76" y="38"/>
                    </a:lnTo>
                    <a:lnTo>
                      <a:pt x="84" y="41"/>
                    </a:lnTo>
                    <a:lnTo>
                      <a:pt x="92" y="46"/>
                    </a:lnTo>
                    <a:lnTo>
                      <a:pt x="92" y="46"/>
                    </a:lnTo>
                    <a:close/>
                    <a:moveTo>
                      <a:pt x="66" y="86"/>
                    </a:moveTo>
                    <a:lnTo>
                      <a:pt x="66" y="86"/>
                    </a:lnTo>
                    <a:lnTo>
                      <a:pt x="68" y="84"/>
                    </a:lnTo>
                    <a:lnTo>
                      <a:pt x="70" y="81"/>
                    </a:lnTo>
                    <a:lnTo>
                      <a:pt x="71" y="77"/>
                    </a:lnTo>
                    <a:lnTo>
                      <a:pt x="71" y="74"/>
                    </a:lnTo>
                    <a:lnTo>
                      <a:pt x="71" y="74"/>
                    </a:lnTo>
                    <a:lnTo>
                      <a:pt x="71" y="71"/>
                    </a:lnTo>
                    <a:lnTo>
                      <a:pt x="70" y="68"/>
                    </a:lnTo>
                    <a:lnTo>
                      <a:pt x="68" y="65"/>
                    </a:lnTo>
                    <a:lnTo>
                      <a:pt x="67" y="63"/>
                    </a:lnTo>
                    <a:lnTo>
                      <a:pt x="64" y="61"/>
                    </a:lnTo>
                    <a:lnTo>
                      <a:pt x="61" y="60"/>
                    </a:lnTo>
                    <a:lnTo>
                      <a:pt x="53" y="59"/>
                    </a:lnTo>
                    <a:lnTo>
                      <a:pt x="32" y="59"/>
                    </a:lnTo>
                    <a:lnTo>
                      <a:pt x="32" y="91"/>
                    </a:lnTo>
                    <a:lnTo>
                      <a:pt x="53" y="91"/>
                    </a:lnTo>
                    <a:lnTo>
                      <a:pt x="53" y="91"/>
                    </a:lnTo>
                    <a:lnTo>
                      <a:pt x="57" y="91"/>
                    </a:lnTo>
                    <a:lnTo>
                      <a:pt x="60" y="90"/>
                    </a:lnTo>
                    <a:lnTo>
                      <a:pt x="63" y="88"/>
                    </a:lnTo>
                    <a:lnTo>
                      <a:pt x="66" y="86"/>
                    </a:lnTo>
                    <a:lnTo>
                      <a:pt x="66" y="86"/>
                    </a:lnTo>
                    <a:close/>
                    <a:moveTo>
                      <a:pt x="116" y="0"/>
                    </a:moveTo>
                    <a:lnTo>
                      <a:pt x="147" y="0"/>
                    </a:lnTo>
                    <a:lnTo>
                      <a:pt x="147" y="115"/>
                    </a:lnTo>
                    <a:lnTo>
                      <a:pt x="116" y="115"/>
                    </a:lnTo>
                    <a:lnTo>
                      <a:pt x="116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9">
                <a:extLst>
                  <a:ext uri="{FF2B5EF4-FFF2-40B4-BE49-F238E27FC236}">
                    <a16:creationId xmlns:a16="http://schemas.microsoft.com/office/drawing/2014/main" id="{F728E25D-2E81-495F-92FB-AB3401C9A11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802941" y="1379538"/>
                <a:ext cx="74613" cy="90487"/>
              </a:xfrm>
              <a:custGeom>
                <a:avLst/>
                <a:gdLst>
                  <a:gd name="T0" fmla="*/ 92 w 92"/>
                  <a:gd name="T1" fmla="*/ 89 h 115"/>
                  <a:gd name="T2" fmla="*/ 92 w 92"/>
                  <a:gd name="T3" fmla="*/ 115 h 115"/>
                  <a:gd name="T4" fmla="*/ 0 w 92"/>
                  <a:gd name="T5" fmla="*/ 115 h 115"/>
                  <a:gd name="T6" fmla="*/ 0 w 92"/>
                  <a:gd name="T7" fmla="*/ 0 h 115"/>
                  <a:gd name="T8" fmla="*/ 90 w 92"/>
                  <a:gd name="T9" fmla="*/ 0 h 115"/>
                  <a:gd name="T10" fmla="*/ 90 w 92"/>
                  <a:gd name="T11" fmla="*/ 25 h 115"/>
                  <a:gd name="T12" fmla="*/ 32 w 92"/>
                  <a:gd name="T13" fmla="*/ 25 h 115"/>
                  <a:gd name="T14" fmla="*/ 32 w 92"/>
                  <a:gd name="T15" fmla="*/ 44 h 115"/>
                  <a:gd name="T16" fmla="*/ 83 w 92"/>
                  <a:gd name="T17" fmla="*/ 44 h 115"/>
                  <a:gd name="T18" fmla="*/ 83 w 92"/>
                  <a:gd name="T19" fmla="*/ 68 h 115"/>
                  <a:gd name="T20" fmla="*/ 32 w 92"/>
                  <a:gd name="T21" fmla="*/ 68 h 115"/>
                  <a:gd name="T22" fmla="*/ 32 w 92"/>
                  <a:gd name="T23" fmla="*/ 89 h 115"/>
                  <a:gd name="T24" fmla="*/ 92 w 92"/>
                  <a:gd name="T25" fmla="*/ 89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2" h="115">
                    <a:moveTo>
                      <a:pt x="92" y="89"/>
                    </a:moveTo>
                    <a:lnTo>
                      <a:pt x="9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25"/>
                    </a:lnTo>
                    <a:lnTo>
                      <a:pt x="32" y="25"/>
                    </a:lnTo>
                    <a:lnTo>
                      <a:pt x="32" y="44"/>
                    </a:lnTo>
                    <a:lnTo>
                      <a:pt x="83" y="44"/>
                    </a:lnTo>
                    <a:lnTo>
                      <a:pt x="83" y="68"/>
                    </a:lnTo>
                    <a:lnTo>
                      <a:pt x="32" y="68"/>
                    </a:lnTo>
                    <a:lnTo>
                      <a:pt x="32" y="89"/>
                    </a:lnTo>
                    <a:lnTo>
                      <a:pt x="92" y="8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10">
                <a:extLst>
                  <a:ext uri="{FF2B5EF4-FFF2-40B4-BE49-F238E27FC236}">
                    <a16:creationId xmlns:a16="http://schemas.microsoft.com/office/drawing/2014/main" id="{3B564682-74FF-4521-8D86-3093803E8766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934704" y="1379538"/>
                <a:ext cx="82550" cy="90487"/>
              </a:xfrm>
              <a:custGeom>
                <a:avLst/>
                <a:gdLst>
                  <a:gd name="T0" fmla="*/ 99 w 105"/>
                  <a:gd name="T1" fmla="*/ 64 h 115"/>
                  <a:gd name="T2" fmla="*/ 104 w 105"/>
                  <a:gd name="T3" fmla="*/ 72 h 115"/>
                  <a:gd name="T4" fmla="*/ 105 w 105"/>
                  <a:gd name="T5" fmla="*/ 81 h 115"/>
                  <a:gd name="T6" fmla="*/ 104 w 105"/>
                  <a:gd name="T7" fmla="*/ 88 h 115"/>
                  <a:gd name="T8" fmla="*/ 98 w 105"/>
                  <a:gd name="T9" fmla="*/ 101 h 115"/>
                  <a:gd name="T10" fmla="*/ 93 w 105"/>
                  <a:gd name="T11" fmla="*/ 106 h 115"/>
                  <a:gd name="T12" fmla="*/ 78 w 105"/>
                  <a:gd name="T13" fmla="*/ 113 h 115"/>
                  <a:gd name="T14" fmla="*/ 58 w 105"/>
                  <a:gd name="T15" fmla="*/ 115 h 115"/>
                  <a:gd name="T16" fmla="*/ 0 w 105"/>
                  <a:gd name="T17" fmla="*/ 0 h 115"/>
                  <a:gd name="T18" fmla="*/ 55 w 105"/>
                  <a:gd name="T19" fmla="*/ 0 h 115"/>
                  <a:gd name="T20" fmla="*/ 72 w 105"/>
                  <a:gd name="T21" fmla="*/ 2 h 115"/>
                  <a:gd name="T22" fmla="*/ 88 w 105"/>
                  <a:gd name="T23" fmla="*/ 8 h 115"/>
                  <a:gd name="T24" fmla="*/ 93 w 105"/>
                  <a:gd name="T25" fmla="*/ 12 h 115"/>
                  <a:gd name="T26" fmla="*/ 99 w 105"/>
                  <a:gd name="T27" fmla="*/ 23 h 115"/>
                  <a:gd name="T28" fmla="*/ 100 w 105"/>
                  <a:gd name="T29" fmla="*/ 30 h 115"/>
                  <a:gd name="T30" fmla="*/ 96 w 105"/>
                  <a:gd name="T31" fmla="*/ 45 h 115"/>
                  <a:gd name="T32" fmla="*/ 91 w 105"/>
                  <a:gd name="T33" fmla="*/ 50 h 115"/>
                  <a:gd name="T34" fmla="*/ 84 w 105"/>
                  <a:gd name="T35" fmla="*/ 54 h 115"/>
                  <a:gd name="T36" fmla="*/ 93 w 105"/>
                  <a:gd name="T37" fmla="*/ 58 h 115"/>
                  <a:gd name="T38" fmla="*/ 99 w 105"/>
                  <a:gd name="T39" fmla="*/ 64 h 115"/>
                  <a:gd name="T40" fmla="*/ 32 w 105"/>
                  <a:gd name="T41" fmla="*/ 46 h 115"/>
                  <a:gd name="T42" fmla="*/ 52 w 105"/>
                  <a:gd name="T43" fmla="*/ 46 h 115"/>
                  <a:gd name="T44" fmla="*/ 63 w 105"/>
                  <a:gd name="T45" fmla="*/ 43 h 115"/>
                  <a:gd name="T46" fmla="*/ 66 w 105"/>
                  <a:gd name="T47" fmla="*/ 34 h 115"/>
                  <a:gd name="T48" fmla="*/ 65 w 105"/>
                  <a:gd name="T49" fmla="*/ 29 h 115"/>
                  <a:gd name="T50" fmla="*/ 58 w 105"/>
                  <a:gd name="T51" fmla="*/ 24 h 115"/>
                  <a:gd name="T52" fmla="*/ 32 w 105"/>
                  <a:gd name="T53" fmla="*/ 23 h 115"/>
                  <a:gd name="T54" fmla="*/ 71 w 105"/>
                  <a:gd name="T55" fmla="*/ 79 h 115"/>
                  <a:gd name="T56" fmla="*/ 70 w 105"/>
                  <a:gd name="T57" fmla="*/ 74 h 115"/>
                  <a:gd name="T58" fmla="*/ 63 w 105"/>
                  <a:gd name="T59" fmla="*/ 68 h 115"/>
                  <a:gd name="T60" fmla="*/ 32 w 105"/>
                  <a:gd name="T61" fmla="*/ 67 h 115"/>
                  <a:gd name="T62" fmla="*/ 57 w 105"/>
                  <a:gd name="T63" fmla="*/ 91 h 115"/>
                  <a:gd name="T64" fmla="*/ 63 w 105"/>
                  <a:gd name="T65" fmla="*/ 90 h 115"/>
                  <a:gd name="T66" fmla="*/ 70 w 105"/>
                  <a:gd name="T67" fmla="*/ 84 h 115"/>
                  <a:gd name="T68" fmla="*/ 71 w 105"/>
                  <a:gd name="T69" fmla="*/ 79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5" h="115">
                    <a:moveTo>
                      <a:pt x="99" y="64"/>
                    </a:moveTo>
                    <a:lnTo>
                      <a:pt x="99" y="64"/>
                    </a:lnTo>
                    <a:lnTo>
                      <a:pt x="102" y="68"/>
                    </a:lnTo>
                    <a:lnTo>
                      <a:pt x="104" y="72"/>
                    </a:lnTo>
                    <a:lnTo>
                      <a:pt x="105" y="77"/>
                    </a:lnTo>
                    <a:lnTo>
                      <a:pt x="105" y="81"/>
                    </a:lnTo>
                    <a:lnTo>
                      <a:pt x="105" y="81"/>
                    </a:lnTo>
                    <a:lnTo>
                      <a:pt x="104" y="88"/>
                    </a:lnTo>
                    <a:lnTo>
                      <a:pt x="102" y="95"/>
                    </a:lnTo>
                    <a:lnTo>
                      <a:pt x="98" y="101"/>
                    </a:lnTo>
                    <a:lnTo>
                      <a:pt x="93" y="106"/>
                    </a:lnTo>
                    <a:lnTo>
                      <a:pt x="93" y="106"/>
                    </a:lnTo>
                    <a:lnTo>
                      <a:pt x="86" y="110"/>
                    </a:lnTo>
                    <a:lnTo>
                      <a:pt x="78" y="113"/>
                    </a:lnTo>
                    <a:lnTo>
                      <a:pt x="69" y="114"/>
                    </a:lnTo>
                    <a:lnTo>
                      <a:pt x="58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55" y="0"/>
                    </a:lnTo>
                    <a:lnTo>
                      <a:pt x="55" y="0"/>
                    </a:lnTo>
                    <a:lnTo>
                      <a:pt x="64" y="0"/>
                    </a:lnTo>
                    <a:lnTo>
                      <a:pt x="72" y="2"/>
                    </a:lnTo>
                    <a:lnTo>
                      <a:pt x="81" y="4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93" y="12"/>
                    </a:lnTo>
                    <a:lnTo>
                      <a:pt x="97" y="17"/>
                    </a:lnTo>
                    <a:lnTo>
                      <a:pt x="99" y="23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99" y="37"/>
                    </a:lnTo>
                    <a:lnTo>
                      <a:pt x="96" y="45"/>
                    </a:lnTo>
                    <a:lnTo>
                      <a:pt x="96" y="45"/>
                    </a:lnTo>
                    <a:lnTo>
                      <a:pt x="91" y="50"/>
                    </a:lnTo>
                    <a:lnTo>
                      <a:pt x="84" y="54"/>
                    </a:lnTo>
                    <a:lnTo>
                      <a:pt x="84" y="54"/>
                    </a:lnTo>
                    <a:lnTo>
                      <a:pt x="88" y="56"/>
                    </a:lnTo>
                    <a:lnTo>
                      <a:pt x="93" y="58"/>
                    </a:lnTo>
                    <a:lnTo>
                      <a:pt x="96" y="61"/>
                    </a:lnTo>
                    <a:lnTo>
                      <a:pt x="99" y="64"/>
                    </a:lnTo>
                    <a:lnTo>
                      <a:pt x="99" y="64"/>
                    </a:lnTo>
                    <a:close/>
                    <a:moveTo>
                      <a:pt x="32" y="46"/>
                    </a:moveTo>
                    <a:lnTo>
                      <a:pt x="52" y="46"/>
                    </a:lnTo>
                    <a:lnTo>
                      <a:pt x="52" y="46"/>
                    </a:lnTo>
                    <a:lnTo>
                      <a:pt x="58" y="45"/>
                    </a:lnTo>
                    <a:lnTo>
                      <a:pt x="63" y="43"/>
                    </a:lnTo>
                    <a:lnTo>
                      <a:pt x="65" y="39"/>
                    </a:lnTo>
                    <a:lnTo>
                      <a:pt x="66" y="34"/>
                    </a:lnTo>
                    <a:lnTo>
                      <a:pt x="66" y="34"/>
                    </a:lnTo>
                    <a:lnTo>
                      <a:pt x="65" y="29"/>
                    </a:lnTo>
                    <a:lnTo>
                      <a:pt x="63" y="26"/>
                    </a:lnTo>
                    <a:lnTo>
                      <a:pt x="58" y="24"/>
                    </a:lnTo>
                    <a:lnTo>
                      <a:pt x="52" y="23"/>
                    </a:lnTo>
                    <a:lnTo>
                      <a:pt x="32" y="23"/>
                    </a:lnTo>
                    <a:lnTo>
                      <a:pt x="32" y="46"/>
                    </a:lnTo>
                    <a:close/>
                    <a:moveTo>
                      <a:pt x="71" y="79"/>
                    </a:moveTo>
                    <a:lnTo>
                      <a:pt x="71" y="79"/>
                    </a:lnTo>
                    <a:lnTo>
                      <a:pt x="70" y="74"/>
                    </a:lnTo>
                    <a:lnTo>
                      <a:pt x="68" y="70"/>
                    </a:lnTo>
                    <a:lnTo>
                      <a:pt x="63" y="68"/>
                    </a:lnTo>
                    <a:lnTo>
                      <a:pt x="57" y="67"/>
                    </a:lnTo>
                    <a:lnTo>
                      <a:pt x="32" y="67"/>
                    </a:lnTo>
                    <a:lnTo>
                      <a:pt x="32" y="91"/>
                    </a:lnTo>
                    <a:lnTo>
                      <a:pt x="57" y="91"/>
                    </a:lnTo>
                    <a:lnTo>
                      <a:pt x="57" y="91"/>
                    </a:lnTo>
                    <a:lnTo>
                      <a:pt x="63" y="90"/>
                    </a:lnTo>
                    <a:lnTo>
                      <a:pt x="68" y="88"/>
                    </a:lnTo>
                    <a:lnTo>
                      <a:pt x="70" y="84"/>
                    </a:lnTo>
                    <a:lnTo>
                      <a:pt x="71" y="79"/>
                    </a:lnTo>
                    <a:lnTo>
                      <a:pt x="71" y="7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11">
                <a:extLst>
                  <a:ext uri="{FF2B5EF4-FFF2-40B4-BE49-F238E27FC236}">
                    <a16:creationId xmlns:a16="http://schemas.microsoft.com/office/drawing/2014/main" id="{E52805A7-EF6A-4CEC-8191-02D8F362EBC7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1033129" y="1379538"/>
                <a:ext cx="119063" cy="90487"/>
              </a:xfrm>
              <a:custGeom>
                <a:avLst/>
                <a:gdLst>
                  <a:gd name="T0" fmla="*/ 92 w 148"/>
                  <a:gd name="T1" fmla="*/ 46 h 115"/>
                  <a:gd name="T2" fmla="*/ 92 w 148"/>
                  <a:gd name="T3" fmla="*/ 46 h 115"/>
                  <a:gd name="T4" fmla="*/ 97 w 148"/>
                  <a:gd name="T5" fmla="*/ 51 h 115"/>
                  <a:gd name="T6" fmla="*/ 101 w 148"/>
                  <a:gd name="T7" fmla="*/ 58 h 115"/>
                  <a:gd name="T8" fmla="*/ 103 w 148"/>
                  <a:gd name="T9" fmla="*/ 66 h 115"/>
                  <a:gd name="T10" fmla="*/ 103 w 148"/>
                  <a:gd name="T11" fmla="*/ 73 h 115"/>
                  <a:gd name="T12" fmla="*/ 103 w 148"/>
                  <a:gd name="T13" fmla="*/ 73 h 115"/>
                  <a:gd name="T14" fmla="*/ 103 w 148"/>
                  <a:gd name="T15" fmla="*/ 82 h 115"/>
                  <a:gd name="T16" fmla="*/ 100 w 148"/>
                  <a:gd name="T17" fmla="*/ 90 h 115"/>
                  <a:gd name="T18" fmla="*/ 96 w 148"/>
                  <a:gd name="T19" fmla="*/ 97 h 115"/>
                  <a:gd name="T20" fmla="*/ 91 w 148"/>
                  <a:gd name="T21" fmla="*/ 104 h 115"/>
                  <a:gd name="T22" fmla="*/ 91 w 148"/>
                  <a:gd name="T23" fmla="*/ 104 h 115"/>
                  <a:gd name="T24" fmla="*/ 83 w 148"/>
                  <a:gd name="T25" fmla="*/ 109 h 115"/>
                  <a:gd name="T26" fmla="*/ 73 w 148"/>
                  <a:gd name="T27" fmla="*/ 113 h 115"/>
                  <a:gd name="T28" fmla="*/ 64 w 148"/>
                  <a:gd name="T29" fmla="*/ 115 h 115"/>
                  <a:gd name="T30" fmla="*/ 54 w 148"/>
                  <a:gd name="T31" fmla="*/ 115 h 115"/>
                  <a:gd name="T32" fmla="*/ 0 w 148"/>
                  <a:gd name="T33" fmla="*/ 115 h 115"/>
                  <a:gd name="T34" fmla="*/ 0 w 148"/>
                  <a:gd name="T35" fmla="*/ 0 h 115"/>
                  <a:gd name="T36" fmla="*/ 32 w 148"/>
                  <a:gd name="T37" fmla="*/ 0 h 115"/>
                  <a:gd name="T38" fmla="*/ 32 w 148"/>
                  <a:gd name="T39" fmla="*/ 36 h 115"/>
                  <a:gd name="T40" fmla="*/ 59 w 148"/>
                  <a:gd name="T41" fmla="*/ 36 h 115"/>
                  <a:gd name="T42" fmla="*/ 59 w 148"/>
                  <a:gd name="T43" fmla="*/ 36 h 115"/>
                  <a:gd name="T44" fmla="*/ 67 w 148"/>
                  <a:gd name="T45" fmla="*/ 37 h 115"/>
                  <a:gd name="T46" fmla="*/ 76 w 148"/>
                  <a:gd name="T47" fmla="*/ 38 h 115"/>
                  <a:gd name="T48" fmla="*/ 85 w 148"/>
                  <a:gd name="T49" fmla="*/ 41 h 115"/>
                  <a:gd name="T50" fmla="*/ 92 w 148"/>
                  <a:gd name="T51" fmla="*/ 46 h 115"/>
                  <a:gd name="T52" fmla="*/ 92 w 148"/>
                  <a:gd name="T53" fmla="*/ 46 h 115"/>
                  <a:gd name="T54" fmla="*/ 65 w 148"/>
                  <a:gd name="T55" fmla="*/ 86 h 115"/>
                  <a:gd name="T56" fmla="*/ 65 w 148"/>
                  <a:gd name="T57" fmla="*/ 86 h 115"/>
                  <a:gd name="T58" fmla="*/ 67 w 148"/>
                  <a:gd name="T59" fmla="*/ 84 h 115"/>
                  <a:gd name="T60" fmla="*/ 69 w 148"/>
                  <a:gd name="T61" fmla="*/ 81 h 115"/>
                  <a:gd name="T62" fmla="*/ 70 w 148"/>
                  <a:gd name="T63" fmla="*/ 77 h 115"/>
                  <a:gd name="T64" fmla="*/ 70 w 148"/>
                  <a:gd name="T65" fmla="*/ 74 h 115"/>
                  <a:gd name="T66" fmla="*/ 70 w 148"/>
                  <a:gd name="T67" fmla="*/ 74 h 115"/>
                  <a:gd name="T68" fmla="*/ 70 w 148"/>
                  <a:gd name="T69" fmla="*/ 71 h 115"/>
                  <a:gd name="T70" fmla="*/ 69 w 148"/>
                  <a:gd name="T71" fmla="*/ 68 h 115"/>
                  <a:gd name="T72" fmla="*/ 68 w 148"/>
                  <a:gd name="T73" fmla="*/ 65 h 115"/>
                  <a:gd name="T74" fmla="*/ 66 w 148"/>
                  <a:gd name="T75" fmla="*/ 63 h 115"/>
                  <a:gd name="T76" fmla="*/ 63 w 148"/>
                  <a:gd name="T77" fmla="*/ 61 h 115"/>
                  <a:gd name="T78" fmla="*/ 60 w 148"/>
                  <a:gd name="T79" fmla="*/ 60 h 115"/>
                  <a:gd name="T80" fmla="*/ 52 w 148"/>
                  <a:gd name="T81" fmla="*/ 59 h 115"/>
                  <a:gd name="T82" fmla="*/ 33 w 148"/>
                  <a:gd name="T83" fmla="*/ 59 h 115"/>
                  <a:gd name="T84" fmla="*/ 33 w 148"/>
                  <a:gd name="T85" fmla="*/ 91 h 115"/>
                  <a:gd name="T86" fmla="*/ 52 w 148"/>
                  <a:gd name="T87" fmla="*/ 91 h 115"/>
                  <a:gd name="T88" fmla="*/ 52 w 148"/>
                  <a:gd name="T89" fmla="*/ 91 h 115"/>
                  <a:gd name="T90" fmla="*/ 56 w 148"/>
                  <a:gd name="T91" fmla="*/ 91 h 115"/>
                  <a:gd name="T92" fmla="*/ 59 w 148"/>
                  <a:gd name="T93" fmla="*/ 90 h 115"/>
                  <a:gd name="T94" fmla="*/ 62 w 148"/>
                  <a:gd name="T95" fmla="*/ 88 h 115"/>
                  <a:gd name="T96" fmla="*/ 65 w 148"/>
                  <a:gd name="T97" fmla="*/ 86 h 115"/>
                  <a:gd name="T98" fmla="*/ 65 w 148"/>
                  <a:gd name="T99" fmla="*/ 86 h 115"/>
                  <a:gd name="T100" fmla="*/ 116 w 148"/>
                  <a:gd name="T101" fmla="*/ 0 h 115"/>
                  <a:gd name="T102" fmla="*/ 148 w 148"/>
                  <a:gd name="T103" fmla="*/ 0 h 115"/>
                  <a:gd name="T104" fmla="*/ 148 w 148"/>
                  <a:gd name="T105" fmla="*/ 115 h 115"/>
                  <a:gd name="T106" fmla="*/ 116 w 148"/>
                  <a:gd name="T107" fmla="*/ 115 h 115"/>
                  <a:gd name="T108" fmla="*/ 116 w 148"/>
                  <a:gd name="T109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48" h="115">
                    <a:moveTo>
                      <a:pt x="92" y="46"/>
                    </a:moveTo>
                    <a:lnTo>
                      <a:pt x="92" y="46"/>
                    </a:lnTo>
                    <a:lnTo>
                      <a:pt x="97" y="51"/>
                    </a:lnTo>
                    <a:lnTo>
                      <a:pt x="101" y="58"/>
                    </a:lnTo>
                    <a:lnTo>
                      <a:pt x="103" y="66"/>
                    </a:lnTo>
                    <a:lnTo>
                      <a:pt x="103" y="73"/>
                    </a:lnTo>
                    <a:lnTo>
                      <a:pt x="103" y="73"/>
                    </a:lnTo>
                    <a:lnTo>
                      <a:pt x="103" y="82"/>
                    </a:lnTo>
                    <a:lnTo>
                      <a:pt x="100" y="90"/>
                    </a:lnTo>
                    <a:lnTo>
                      <a:pt x="96" y="97"/>
                    </a:lnTo>
                    <a:lnTo>
                      <a:pt x="91" y="104"/>
                    </a:lnTo>
                    <a:lnTo>
                      <a:pt x="91" y="104"/>
                    </a:lnTo>
                    <a:lnTo>
                      <a:pt x="83" y="109"/>
                    </a:lnTo>
                    <a:lnTo>
                      <a:pt x="73" y="113"/>
                    </a:lnTo>
                    <a:lnTo>
                      <a:pt x="64" y="115"/>
                    </a:lnTo>
                    <a:lnTo>
                      <a:pt x="54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2" y="0"/>
                    </a:lnTo>
                    <a:lnTo>
                      <a:pt x="32" y="36"/>
                    </a:lnTo>
                    <a:lnTo>
                      <a:pt x="59" y="36"/>
                    </a:lnTo>
                    <a:lnTo>
                      <a:pt x="59" y="36"/>
                    </a:lnTo>
                    <a:lnTo>
                      <a:pt x="67" y="37"/>
                    </a:lnTo>
                    <a:lnTo>
                      <a:pt x="76" y="38"/>
                    </a:lnTo>
                    <a:lnTo>
                      <a:pt x="85" y="41"/>
                    </a:lnTo>
                    <a:lnTo>
                      <a:pt x="92" y="46"/>
                    </a:lnTo>
                    <a:lnTo>
                      <a:pt x="92" y="46"/>
                    </a:lnTo>
                    <a:close/>
                    <a:moveTo>
                      <a:pt x="65" y="86"/>
                    </a:moveTo>
                    <a:lnTo>
                      <a:pt x="65" y="86"/>
                    </a:lnTo>
                    <a:lnTo>
                      <a:pt x="67" y="84"/>
                    </a:lnTo>
                    <a:lnTo>
                      <a:pt x="69" y="81"/>
                    </a:lnTo>
                    <a:lnTo>
                      <a:pt x="70" y="77"/>
                    </a:lnTo>
                    <a:lnTo>
                      <a:pt x="70" y="74"/>
                    </a:lnTo>
                    <a:lnTo>
                      <a:pt x="70" y="74"/>
                    </a:lnTo>
                    <a:lnTo>
                      <a:pt x="70" y="71"/>
                    </a:lnTo>
                    <a:lnTo>
                      <a:pt x="69" y="68"/>
                    </a:lnTo>
                    <a:lnTo>
                      <a:pt x="68" y="65"/>
                    </a:lnTo>
                    <a:lnTo>
                      <a:pt x="66" y="63"/>
                    </a:lnTo>
                    <a:lnTo>
                      <a:pt x="63" y="61"/>
                    </a:lnTo>
                    <a:lnTo>
                      <a:pt x="60" y="60"/>
                    </a:lnTo>
                    <a:lnTo>
                      <a:pt x="52" y="59"/>
                    </a:lnTo>
                    <a:lnTo>
                      <a:pt x="33" y="59"/>
                    </a:lnTo>
                    <a:lnTo>
                      <a:pt x="33" y="91"/>
                    </a:lnTo>
                    <a:lnTo>
                      <a:pt x="52" y="91"/>
                    </a:lnTo>
                    <a:lnTo>
                      <a:pt x="52" y="91"/>
                    </a:lnTo>
                    <a:lnTo>
                      <a:pt x="56" y="91"/>
                    </a:lnTo>
                    <a:lnTo>
                      <a:pt x="59" y="90"/>
                    </a:lnTo>
                    <a:lnTo>
                      <a:pt x="62" y="88"/>
                    </a:lnTo>
                    <a:lnTo>
                      <a:pt x="65" y="86"/>
                    </a:lnTo>
                    <a:lnTo>
                      <a:pt x="65" y="86"/>
                    </a:lnTo>
                    <a:close/>
                    <a:moveTo>
                      <a:pt x="116" y="0"/>
                    </a:moveTo>
                    <a:lnTo>
                      <a:pt x="148" y="0"/>
                    </a:lnTo>
                    <a:lnTo>
                      <a:pt x="148" y="115"/>
                    </a:lnTo>
                    <a:lnTo>
                      <a:pt x="116" y="115"/>
                    </a:lnTo>
                    <a:lnTo>
                      <a:pt x="116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12">
                <a:extLst>
                  <a:ext uri="{FF2B5EF4-FFF2-40B4-BE49-F238E27FC236}">
                    <a16:creationId xmlns:a16="http://schemas.microsoft.com/office/drawing/2014/main" id="{2BC2E4A4-918B-442B-9430-8654D2192FD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166479" y="1376363"/>
                <a:ext cx="79375" cy="95250"/>
              </a:xfrm>
              <a:custGeom>
                <a:avLst/>
                <a:gdLst>
                  <a:gd name="T0" fmla="*/ 96 w 101"/>
                  <a:gd name="T1" fmla="*/ 68 h 120"/>
                  <a:gd name="T2" fmla="*/ 100 w 101"/>
                  <a:gd name="T3" fmla="*/ 76 h 120"/>
                  <a:gd name="T4" fmla="*/ 101 w 101"/>
                  <a:gd name="T5" fmla="*/ 85 h 120"/>
                  <a:gd name="T6" fmla="*/ 101 w 101"/>
                  <a:gd name="T7" fmla="*/ 90 h 120"/>
                  <a:gd name="T8" fmla="*/ 97 w 101"/>
                  <a:gd name="T9" fmla="*/ 99 h 120"/>
                  <a:gd name="T10" fmla="*/ 94 w 101"/>
                  <a:gd name="T11" fmla="*/ 104 h 120"/>
                  <a:gd name="T12" fmla="*/ 85 w 101"/>
                  <a:gd name="T13" fmla="*/ 111 h 120"/>
                  <a:gd name="T14" fmla="*/ 75 w 101"/>
                  <a:gd name="T15" fmla="*/ 116 h 120"/>
                  <a:gd name="T16" fmla="*/ 61 w 101"/>
                  <a:gd name="T17" fmla="*/ 119 h 120"/>
                  <a:gd name="T18" fmla="*/ 48 w 101"/>
                  <a:gd name="T19" fmla="*/ 120 h 120"/>
                  <a:gd name="T20" fmla="*/ 23 w 101"/>
                  <a:gd name="T21" fmla="*/ 118 h 120"/>
                  <a:gd name="T22" fmla="*/ 12 w 101"/>
                  <a:gd name="T23" fmla="*/ 114 h 120"/>
                  <a:gd name="T24" fmla="*/ 10 w 101"/>
                  <a:gd name="T25" fmla="*/ 86 h 120"/>
                  <a:gd name="T26" fmla="*/ 18 w 101"/>
                  <a:gd name="T27" fmla="*/ 89 h 120"/>
                  <a:gd name="T28" fmla="*/ 26 w 101"/>
                  <a:gd name="T29" fmla="*/ 92 h 120"/>
                  <a:gd name="T30" fmla="*/ 44 w 101"/>
                  <a:gd name="T31" fmla="*/ 94 h 120"/>
                  <a:gd name="T32" fmla="*/ 53 w 101"/>
                  <a:gd name="T33" fmla="*/ 93 h 120"/>
                  <a:gd name="T34" fmla="*/ 62 w 101"/>
                  <a:gd name="T35" fmla="*/ 90 h 120"/>
                  <a:gd name="T36" fmla="*/ 67 w 101"/>
                  <a:gd name="T37" fmla="*/ 86 h 120"/>
                  <a:gd name="T38" fmla="*/ 69 w 101"/>
                  <a:gd name="T39" fmla="*/ 80 h 120"/>
                  <a:gd name="T40" fmla="*/ 68 w 101"/>
                  <a:gd name="T41" fmla="*/ 78 h 120"/>
                  <a:gd name="T42" fmla="*/ 66 w 101"/>
                  <a:gd name="T43" fmla="*/ 74 h 120"/>
                  <a:gd name="T44" fmla="*/ 64 w 101"/>
                  <a:gd name="T45" fmla="*/ 73 h 120"/>
                  <a:gd name="T46" fmla="*/ 53 w 101"/>
                  <a:gd name="T47" fmla="*/ 70 h 120"/>
                  <a:gd name="T48" fmla="*/ 23 w 101"/>
                  <a:gd name="T49" fmla="*/ 47 h 120"/>
                  <a:gd name="T50" fmla="*/ 50 w 101"/>
                  <a:gd name="T51" fmla="*/ 47 h 120"/>
                  <a:gd name="T52" fmla="*/ 60 w 101"/>
                  <a:gd name="T53" fmla="*/ 44 h 120"/>
                  <a:gd name="T54" fmla="*/ 63 w 101"/>
                  <a:gd name="T55" fmla="*/ 41 h 120"/>
                  <a:gd name="T56" fmla="*/ 64 w 101"/>
                  <a:gd name="T57" fmla="*/ 37 h 120"/>
                  <a:gd name="T58" fmla="*/ 62 w 101"/>
                  <a:gd name="T59" fmla="*/ 32 h 120"/>
                  <a:gd name="T60" fmla="*/ 58 w 101"/>
                  <a:gd name="T61" fmla="*/ 29 h 120"/>
                  <a:gd name="T62" fmla="*/ 51 w 101"/>
                  <a:gd name="T63" fmla="*/ 26 h 120"/>
                  <a:gd name="T64" fmla="*/ 44 w 101"/>
                  <a:gd name="T65" fmla="*/ 26 h 120"/>
                  <a:gd name="T66" fmla="*/ 28 w 101"/>
                  <a:gd name="T67" fmla="*/ 28 h 120"/>
                  <a:gd name="T68" fmla="*/ 20 w 101"/>
                  <a:gd name="T69" fmla="*/ 30 h 120"/>
                  <a:gd name="T70" fmla="*/ 3 w 101"/>
                  <a:gd name="T71" fmla="*/ 9 h 120"/>
                  <a:gd name="T72" fmla="*/ 13 w 101"/>
                  <a:gd name="T73" fmla="*/ 5 h 120"/>
                  <a:gd name="T74" fmla="*/ 33 w 101"/>
                  <a:gd name="T75" fmla="*/ 1 h 120"/>
                  <a:gd name="T76" fmla="*/ 44 w 101"/>
                  <a:gd name="T77" fmla="*/ 0 h 120"/>
                  <a:gd name="T78" fmla="*/ 70 w 101"/>
                  <a:gd name="T79" fmla="*/ 4 h 120"/>
                  <a:gd name="T80" fmla="*/ 75 w 101"/>
                  <a:gd name="T81" fmla="*/ 6 h 120"/>
                  <a:gd name="T82" fmla="*/ 85 w 101"/>
                  <a:gd name="T83" fmla="*/ 12 h 120"/>
                  <a:gd name="T84" fmla="*/ 89 w 101"/>
                  <a:gd name="T85" fmla="*/ 16 h 120"/>
                  <a:gd name="T86" fmla="*/ 95 w 101"/>
                  <a:gd name="T87" fmla="*/ 24 h 120"/>
                  <a:gd name="T88" fmla="*/ 96 w 101"/>
                  <a:gd name="T89" fmla="*/ 34 h 120"/>
                  <a:gd name="T90" fmla="*/ 95 w 101"/>
                  <a:gd name="T91" fmla="*/ 41 h 120"/>
                  <a:gd name="T92" fmla="*/ 92 w 101"/>
                  <a:gd name="T93" fmla="*/ 48 h 120"/>
                  <a:gd name="T94" fmla="*/ 81 w 101"/>
                  <a:gd name="T95" fmla="*/ 58 h 120"/>
                  <a:gd name="T96" fmla="*/ 85 w 101"/>
                  <a:gd name="T97" fmla="*/ 59 h 120"/>
                  <a:gd name="T98" fmla="*/ 93 w 101"/>
                  <a:gd name="T99" fmla="*/ 65 h 120"/>
                  <a:gd name="T100" fmla="*/ 96 w 101"/>
                  <a:gd name="T101" fmla="*/ 68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01" h="120">
                    <a:moveTo>
                      <a:pt x="96" y="68"/>
                    </a:moveTo>
                    <a:lnTo>
                      <a:pt x="96" y="68"/>
                    </a:lnTo>
                    <a:lnTo>
                      <a:pt x="98" y="72"/>
                    </a:lnTo>
                    <a:lnTo>
                      <a:pt x="100" y="76"/>
                    </a:lnTo>
                    <a:lnTo>
                      <a:pt x="101" y="80"/>
                    </a:lnTo>
                    <a:lnTo>
                      <a:pt x="101" y="85"/>
                    </a:lnTo>
                    <a:lnTo>
                      <a:pt x="101" y="85"/>
                    </a:lnTo>
                    <a:lnTo>
                      <a:pt x="101" y="90"/>
                    </a:lnTo>
                    <a:lnTo>
                      <a:pt x="99" y="95"/>
                    </a:lnTo>
                    <a:lnTo>
                      <a:pt x="97" y="99"/>
                    </a:lnTo>
                    <a:lnTo>
                      <a:pt x="94" y="104"/>
                    </a:lnTo>
                    <a:lnTo>
                      <a:pt x="94" y="104"/>
                    </a:lnTo>
                    <a:lnTo>
                      <a:pt x="90" y="108"/>
                    </a:lnTo>
                    <a:lnTo>
                      <a:pt x="85" y="111"/>
                    </a:lnTo>
                    <a:lnTo>
                      <a:pt x="80" y="114"/>
                    </a:lnTo>
                    <a:lnTo>
                      <a:pt x="75" y="116"/>
                    </a:lnTo>
                    <a:lnTo>
                      <a:pt x="75" y="116"/>
                    </a:lnTo>
                    <a:lnTo>
                      <a:pt x="61" y="119"/>
                    </a:lnTo>
                    <a:lnTo>
                      <a:pt x="48" y="120"/>
                    </a:lnTo>
                    <a:lnTo>
                      <a:pt x="48" y="120"/>
                    </a:lnTo>
                    <a:lnTo>
                      <a:pt x="35" y="120"/>
                    </a:lnTo>
                    <a:lnTo>
                      <a:pt x="23" y="118"/>
                    </a:lnTo>
                    <a:lnTo>
                      <a:pt x="23" y="118"/>
                    </a:lnTo>
                    <a:lnTo>
                      <a:pt x="12" y="114"/>
                    </a:lnTo>
                    <a:lnTo>
                      <a:pt x="0" y="109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8" y="89"/>
                    </a:lnTo>
                    <a:lnTo>
                      <a:pt x="26" y="92"/>
                    </a:lnTo>
                    <a:lnTo>
                      <a:pt x="26" y="92"/>
                    </a:lnTo>
                    <a:lnTo>
                      <a:pt x="35" y="93"/>
                    </a:lnTo>
                    <a:lnTo>
                      <a:pt x="44" y="94"/>
                    </a:lnTo>
                    <a:lnTo>
                      <a:pt x="44" y="94"/>
                    </a:lnTo>
                    <a:lnTo>
                      <a:pt x="53" y="93"/>
                    </a:lnTo>
                    <a:lnTo>
                      <a:pt x="62" y="90"/>
                    </a:lnTo>
                    <a:lnTo>
                      <a:pt x="62" y="90"/>
                    </a:lnTo>
                    <a:lnTo>
                      <a:pt x="64" y="89"/>
                    </a:lnTo>
                    <a:lnTo>
                      <a:pt x="67" y="86"/>
                    </a:lnTo>
                    <a:lnTo>
                      <a:pt x="68" y="84"/>
                    </a:lnTo>
                    <a:lnTo>
                      <a:pt x="69" y="80"/>
                    </a:lnTo>
                    <a:lnTo>
                      <a:pt x="69" y="80"/>
                    </a:lnTo>
                    <a:lnTo>
                      <a:pt x="68" y="78"/>
                    </a:lnTo>
                    <a:lnTo>
                      <a:pt x="67" y="76"/>
                    </a:lnTo>
                    <a:lnTo>
                      <a:pt x="66" y="74"/>
                    </a:lnTo>
                    <a:lnTo>
                      <a:pt x="64" y="73"/>
                    </a:lnTo>
                    <a:lnTo>
                      <a:pt x="64" y="73"/>
                    </a:lnTo>
                    <a:lnTo>
                      <a:pt x="59" y="71"/>
                    </a:lnTo>
                    <a:lnTo>
                      <a:pt x="53" y="70"/>
                    </a:lnTo>
                    <a:lnTo>
                      <a:pt x="23" y="70"/>
                    </a:lnTo>
                    <a:lnTo>
                      <a:pt x="23" y="47"/>
                    </a:lnTo>
                    <a:lnTo>
                      <a:pt x="50" y="47"/>
                    </a:lnTo>
                    <a:lnTo>
                      <a:pt x="50" y="47"/>
                    </a:lnTo>
                    <a:lnTo>
                      <a:pt x="55" y="46"/>
                    </a:lnTo>
                    <a:lnTo>
                      <a:pt x="60" y="44"/>
                    </a:lnTo>
                    <a:lnTo>
                      <a:pt x="60" y="44"/>
                    </a:lnTo>
                    <a:lnTo>
                      <a:pt x="63" y="41"/>
                    </a:lnTo>
                    <a:lnTo>
                      <a:pt x="64" y="37"/>
                    </a:lnTo>
                    <a:lnTo>
                      <a:pt x="64" y="37"/>
                    </a:lnTo>
                    <a:lnTo>
                      <a:pt x="63" y="35"/>
                    </a:lnTo>
                    <a:lnTo>
                      <a:pt x="62" y="32"/>
                    </a:lnTo>
                    <a:lnTo>
                      <a:pt x="61" y="30"/>
                    </a:lnTo>
                    <a:lnTo>
                      <a:pt x="58" y="29"/>
                    </a:lnTo>
                    <a:lnTo>
                      <a:pt x="58" y="29"/>
                    </a:lnTo>
                    <a:lnTo>
                      <a:pt x="51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35" y="26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0" y="30"/>
                    </a:lnTo>
                    <a:lnTo>
                      <a:pt x="13" y="34"/>
                    </a:lnTo>
                    <a:lnTo>
                      <a:pt x="3" y="9"/>
                    </a:lnTo>
                    <a:lnTo>
                      <a:pt x="3" y="9"/>
                    </a:lnTo>
                    <a:lnTo>
                      <a:pt x="13" y="5"/>
                    </a:lnTo>
                    <a:lnTo>
                      <a:pt x="23" y="2"/>
                    </a:lnTo>
                    <a:lnTo>
                      <a:pt x="33" y="1"/>
                    </a:lnTo>
                    <a:lnTo>
                      <a:pt x="44" y="0"/>
                    </a:lnTo>
                    <a:lnTo>
                      <a:pt x="44" y="0"/>
                    </a:lnTo>
                    <a:lnTo>
                      <a:pt x="57" y="1"/>
                    </a:lnTo>
                    <a:lnTo>
                      <a:pt x="70" y="4"/>
                    </a:lnTo>
                    <a:lnTo>
                      <a:pt x="70" y="4"/>
                    </a:lnTo>
                    <a:lnTo>
                      <a:pt x="75" y="6"/>
                    </a:lnTo>
                    <a:lnTo>
                      <a:pt x="80" y="9"/>
                    </a:lnTo>
                    <a:lnTo>
                      <a:pt x="85" y="12"/>
                    </a:lnTo>
                    <a:lnTo>
                      <a:pt x="89" y="16"/>
                    </a:lnTo>
                    <a:lnTo>
                      <a:pt x="89" y="16"/>
                    </a:lnTo>
                    <a:lnTo>
                      <a:pt x="92" y="20"/>
                    </a:lnTo>
                    <a:lnTo>
                      <a:pt x="95" y="24"/>
                    </a:lnTo>
                    <a:lnTo>
                      <a:pt x="96" y="29"/>
                    </a:lnTo>
                    <a:lnTo>
                      <a:pt x="96" y="34"/>
                    </a:lnTo>
                    <a:lnTo>
                      <a:pt x="96" y="34"/>
                    </a:lnTo>
                    <a:lnTo>
                      <a:pt x="95" y="41"/>
                    </a:lnTo>
                    <a:lnTo>
                      <a:pt x="92" y="48"/>
                    </a:lnTo>
                    <a:lnTo>
                      <a:pt x="92" y="48"/>
                    </a:lnTo>
                    <a:lnTo>
                      <a:pt x="87" y="53"/>
                    </a:lnTo>
                    <a:lnTo>
                      <a:pt x="81" y="58"/>
                    </a:lnTo>
                    <a:lnTo>
                      <a:pt x="81" y="58"/>
                    </a:lnTo>
                    <a:lnTo>
                      <a:pt x="85" y="59"/>
                    </a:lnTo>
                    <a:lnTo>
                      <a:pt x="89" y="62"/>
                    </a:lnTo>
                    <a:lnTo>
                      <a:pt x="93" y="65"/>
                    </a:lnTo>
                    <a:lnTo>
                      <a:pt x="96" y="68"/>
                    </a:lnTo>
                    <a:lnTo>
                      <a:pt x="96" y="6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13">
                <a:extLst>
                  <a:ext uri="{FF2B5EF4-FFF2-40B4-BE49-F238E27FC236}">
                    <a16:creationId xmlns:a16="http://schemas.microsoft.com/office/drawing/2014/main" id="{F96C872F-AED0-4132-8C40-CA829545D561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1256966" y="1377950"/>
                <a:ext cx="101600" cy="93662"/>
              </a:xfrm>
              <a:custGeom>
                <a:avLst/>
                <a:gdLst>
                  <a:gd name="T0" fmla="*/ 31 w 128"/>
                  <a:gd name="T1" fmla="*/ 112 h 119"/>
                  <a:gd name="T2" fmla="*/ 21 w 128"/>
                  <a:gd name="T3" fmla="*/ 105 h 119"/>
                  <a:gd name="T4" fmla="*/ 7 w 128"/>
                  <a:gd name="T5" fmla="*/ 87 h 119"/>
                  <a:gd name="T6" fmla="*/ 0 w 128"/>
                  <a:gd name="T7" fmla="*/ 65 h 119"/>
                  <a:gd name="T8" fmla="*/ 2 w 128"/>
                  <a:gd name="T9" fmla="*/ 43 h 119"/>
                  <a:gd name="T10" fmla="*/ 7 w 128"/>
                  <a:gd name="T11" fmla="*/ 32 h 119"/>
                  <a:gd name="T12" fmla="*/ 11 w 128"/>
                  <a:gd name="T13" fmla="*/ 24 h 119"/>
                  <a:gd name="T14" fmla="*/ 24 w 128"/>
                  <a:gd name="T15" fmla="*/ 12 h 119"/>
                  <a:gd name="T16" fmla="*/ 31 w 128"/>
                  <a:gd name="T17" fmla="*/ 7 h 119"/>
                  <a:gd name="T18" fmla="*/ 47 w 128"/>
                  <a:gd name="T19" fmla="*/ 2 h 119"/>
                  <a:gd name="T20" fmla="*/ 65 w 128"/>
                  <a:gd name="T21" fmla="*/ 0 h 119"/>
                  <a:gd name="T22" fmla="*/ 81 w 128"/>
                  <a:gd name="T23" fmla="*/ 2 h 119"/>
                  <a:gd name="T24" fmla="*/ 97 w 128"/>
                  <a:gd name="T25" fmla="*/ 7 h 119"/>
                  <a:gd name="T26" fmla="*/ 102 w 128"/>
                  <a:gd name="T27" fmla="*/ 10 h 119"/>
                  <a:gd name="T28" fmla="*/ 115 w 128"/>
                  <a:gd name="T29" fmla="*/ 22 h 119"/>
                  <a:gd name="T30" fmla="*/ 126 w 128"/>
                  <a:gd name="T31" fmla="*/ 42 h 119"/>
                  <a:gd name="T32" fmla="*/ 128 w 128"/>
                  <a:gd name="T33" fmla="*/ 64 h 119"/>
                  <a:gd name="T34" fmla="*/ 124 w 128"/>
                  <a:gd name="T35" fmla="*/ 81 h 119"/>
                  <a:gd name="T36" fmla="*/ 122 w 128"/>
                  <a:gd name="T37" fmla="*/ 86 h 119"/>
                  <a:gd name="T38" fmla="*/ 111 w 128"/>
                  <a:gd name="T39" fmla="*/ 100 h 119"/>
                  <a:gd name="T40" fmla="*/ 97 w 128"/>
                  <a:gd name="T41" fmla="*/ 112 h 119"/>
                  <a:gd name="T42" fmla="*/ 89 w 128"/>
                  <a:gd name="T43" fmla="*/ 115 h 119"/>
                  <a:gd name="T44" fmla="*/ 73 w 128"/>
                  <a:gd name="T45" fmla="*/ 119 h 119"/>
                  <a:gd name="T46" fmla="*/ 56 w 128"/>
                  <a:gd name="T47" fmla="*/ 119 h 119"/>
                  <a:gd name="T48" fmla="*/ 39 w 128"/>
                  <a:gd name="T49" fmla="*/ 115 h 119"/>
                  <a:gd name="T50" fmla="*/ 31 w 128"/>
                  <a:gd name="T51" fmla="*/ 112 h 119"/>
                  <a:gd name="T52" fmla="*/ 80 w 128"/>
                  <a:gd name="T53" fmla="*/ 87 h 119"/>
                  <a:gd name="T54" fmla="*/ 91 w 128"/>
                  <a:gd name="T55" fmla="*/ 76 h 119"/>
                  <a:gd name="T56" fmla="*/ 94 w 128"/>
                  <a:gd name="T57" fmla="*/ 68 h 119"/>
                  <a:gd name="T58" fmla="*/ 94 w 128"/>
                  <a:gd name="T59" fmla="*/ 50 h 119"/>
                  <a:gd name="T60" fmla="*/ 91 w 128"/>
                  <a:gd name="T61" fmla="*/ 42 h 119"/>
                  <a:gd name="T62" fmla="*/ 80 w 128"/>
                  <a:gd name="T63" fmla="*/ 30 h 119"/>
                  <a:gd name="T64" fmla="*/ 73 w 128"/>
                  <a:gd name="T65" fmla="*/ 27 h 119"/>
                  <a:gd name="T66" fmla="*/ 57 w 128"/>
                  <a:gd name="T67" fmla="*/ 27 h 119"/>
                  <a:gd name="T68" fmla="*/ 48 w 128"/>
                  <a:gd name="T69" fmla="*/ 30 h 119"/>
                  <a:gd name="T70" fmla="*/ 37 w 128"/>
                  <a:gd name="T71" fmla="*/ 42 h 119"/>
                  <a:gd name="T72" fmla="*/ 34 w 128"/>
                  <a:gd name="T73" fmla="*/ 50 h 119"/>
                  <a:gd name="T74" fmla="*/ 34 w 128"/>
                  <a:gd name="T75" fmla="*/ 68 h 119"/>
                  <a:gd name="T76" fmla="*/ 37 w 128"/>
                  <a:gd name="T77" fmla="*/ 76 h 119"/>
                  <a:gd name="T78" fmla="*/ 48 w 128"/>
                  <a:gd name="T79" fmla="*/ 87 h 119"/>
                  <a:gd name="T80" fmla="*/ 57 w 128"/>
                  <a:gd name="T81" fmla="*/ 90 h 119"/>
                  <a:gd name="T82" fmla="*/ 73 w 128"/>
                  <a:gd name="T83" fmla="*/ 90 h 119"/>
                  <a:gd name="T84" fmla="*/ 80 w 128"/>
                  <a:gd name="T85" fmla="*/ 87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28" h="119">
                    <a:moveTo>
                      <a:pt x="31" y="112"/>
                    </a:moveTo>
                    <a:lnTo>
                      <a:pt x="31" y="112"/>
                    </a:lnTo>
                    <a:lnTo>
                      <a:pt x="26" y="109"/>
                    </a:lnTo>
                    <a:lnTo>
                      <a:pt x="21" y="105"/>
                    </a:lnTo>
                    <a:lnTo>
                      <a:pt x="13" y="96"/>
                    </a:lnTo>
                    <a:lnTo>
                      <a:pt x="7" y="87"/>
                    </a:lnTo>
                    <a:lnTo>
                      <a:pt x="3" y="76"/>
                    </a:lnTo>
                    <a:lnTo>
                      <a:pt x="0" y="65"/>
                    </a:lnTo>
                    <a:lnTo>
                      <a:pt x="0" y="54"/>
                    </a:lnTo>
                    <a:lnTo>
                      <a:pt x="2" y="43"/>
                    </a:lnTo>
                    <a:lnTo>
                      <a:pt x="4" y="37"/>
                    </a:lnTo>
                    <a:lnTo>
                      <a:pt x="7" y="32"/>
                    </a:lnTo>
                    <a:lnTo>
                      <a:pt x="7" y="32"/>
                    </a:lnTo>
                    <a:lnTo>
                      <a:pt x="11" y="24"/>
                    </a:lnTo>
                    <a:lnTo>
                      <a:pt x="17" y="18"/>
                    </a:lnTo>
                    <a:lnTo>
                      <a:pt x="24" y="12"/>
                    </a:lnTo>
                    <a:lnTo>
                      <a:pt x="31" y="7"/>
                    </a:lnTo>
                    <a:lnTo>
                      <a:pt x="31" y="7"/>
                    </a:lnTo>
                    <a:lnTo>
                      <a:pt x="39" y="4"/>
                    </a:lnTo>
                    <a:lnTo>
                      <a:pt x="47" y="2"/>
                    </a:lnTo>
                    <a:lnTo>
                      <a:pt x="56" y="0"/>
                    </a:lnTo>
                    <a:lnTo>
                      <a:pt x="65" y="0"/>
                    </a:lnTo>
                    <a:lnTo>
                      <a:pt x="73" y="0"/>
                    </a:lnTo>
                    <a:lnTo>
                      <a:pt x="81" y="2"/>
                    </a:lnTo>
                    <a:lnTo>
                      <a:pt x="89" y="4"/>
                    </a:lnTo>
                    <a:lnTo>
                      <a:pt x="97" y="7"/>
                    </a:lnTo>
                    <a:lnTo>
                      <a:pt x="97" y="7"/>
                    </a:lnTo>
                    <a:lnTo>
                      <a:pt x="102" y="10"/>
                    </a:lnTo>
                    <a:lnTo>
                      <a:pt x="107" y="14"/>
                    </a:lnTo>
                    <a:lnTo>
                      <a:pt x="115" y="22"/>
                    </a:lnTo>
                    <a:lnTo>
                      <a:pt x="121" y="31"/>
                    </a:lnTo>
                    <a:lnTo>
                      <a:pt x="126" y="42"/>
                    </a:lnTo>
                    <a:lnTo>
                      <a:pt x="128" y="53"/>
                    </a:lnTo>
                    <a:lnTo>
                      <a:pt x="128" y="64"/>
                    </a:lnTo>
                    <a:lnTo>
                      <a:pt x="126" y="75"/>
                    </a:lnTo>
                    <a:lnTo>
                      <a:pt x="124" y="81"/>
                    </a:lnTo>
                    <a:lnTo>
                      <a:pt x="122" y="86"/>
                    </a:lnTo>
                    <a:lnTo>
                      <a:pt x="122" y="86"/>
                    </a:lnTo>
                    <a:lnTo>
                      <a:pt x="117" y="94"/>
                    </a:lnTo>
                    <a:lnTo>
                      <a:pt x="111" y="100"/>
                    </a:lnTo>
                    <a:lnTo>
                      <a:pt x="105" y="107"/>
                    </a:lnTo>
                    <a:lnTo>
                      <a:pt x="97" y="112"/>
                    </a:lnTo>
                    <a:lnTo>
                      <a:pt x="97" y="112"/>
                    </a:lnTo>
                    <a:lnTo>
                      <a:pt x="89" y="115"/>
                    </a:lnTo>
                    <a:lnTo>
                      <a:pt x="81" y="117"/>
                    </a:lnTo>
                    <a:lnTo>
                      <a:pt x="73" y="119"/>
                    </a:lnTo>
                    <a:lnTo>
                      <a:pt x="65" y="119"/>
                    </a:lnTo>
                    <a:lnTo>
                      <a:pt x="56" y="119"/>
                    </a:lnTo>
                    <a:lnTo>
                      <a:pt x="47" y="117"/>
                    </a:lnTo>
                    <a:lnTo>
                      <a:pt x="39" y="115"/>
                    </a:lnTo>
                    <a:lnTo>
                      <a:pt x="31" y="112"/>
                    </a:lnTo>
                    <a:lnTo>
                      <a:pt x="31" y="112"/>
                    </a:lnTo>
                    <a:close/>
                    <a:moveTo>
                      <a:pt x="80" y="87"/>
                    </a:moveTo>
                    <a:lnTo>
                      <a:pt x="80" y="87"/>
                    </a:lnTo>
                    <a:lnTo>
                      <a:pt x="87" y="82"/>
                    </a:lnTo>
                    <a:lnTo>
                      <a:pt x="91" y="76"/>
                    </a:lnTo>
                    <a:lnTo>
                      <a:pt x="91" y="76"/>
                    </a:lnTo>
                    <a:lnTo>
                      <a:pt x="94" y="68"/>
                    </a:lnTo>
                    <a:lnTo>
                      <a:pt x="96" y="59"/>
                    </a:lnTo>
                    <a:lnTo>
                      <a:pt x="94" y="50"/>
                    </a:lnTo>
                    <a:lnTo>
                      <a:pt x="91" y="42"/>
                    </a:lnTo>
                    <a:lnTo>
                      <a:pt x="91" y="42"/>
                    </a:lnTo>
                    <a:lnTo>
                      <a:pt x="87" y="35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73" y="27"/>
                    </a:lnTo>
                    <a:lnTo>
                      <a:pt x="65" y="26"/>
                    </a:lnTo>
                    <a:lnTo>
                      <a:pt x="57" y="27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2" y="35"/>
                    </a:lnTo>
                    <a:lnTo>
                      <a:pt x="37" y="42"/>
                    </a:lnTo>
                    <a:lnTo>
                      <a:pt x="37" y="42"/>
                    </a:lnTo>
                    <a:lnTo>
                      <a:pt x="34" y="50"/>
                    </a:lnTo>
                    <a:lnTo>
                      <a:pt x="33" y="59"/>
                    </a:lnTo>
                    <a:lnTo>
                      <a:pt x="34" y="68"/>
                    </a:lnTo>
                    <a:lnTo>
                      <a:pt x="37" y="76"/>
                    </a:lnTo>
                    <a:lnTo>
                      <a:pt x="37" y="76"/>
                    </a:lnTo>
                    <a:lnTo>
                      <a:pt x="42" y="82"/>
                    </a:lnTo>
                    <a:lnTo>
                      <a:pt x="48" y="87"/>
                    </a:lnTo>
                    <a:lnTo>
                      <a:pt x="48" y="87"/>
                    </a:lnTo>
                    <a:lnTo>
                      <a:pt x="57" y="90"/>
                    </a:lnTo>
                    <a:lnTo>
                      <a:pt x="65" y="91"/>
                    </a:lnTo>
                    <a:lnTo>
                      <a:pt x="73" y="90"/>
                    </a:lnTo>
                    <a:lnTo>
                      <a:pt x="80" y="87"/>
                    </a:lnTo>
                    <a:lnTo>
                      <a:pt x="80" y="8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14">
                <a:extLst>
                  <a:ext uri="{FF2B5EF4-FFF2-40B4-BE49-F238E27FC236}">
                    <a16:creationId xmlns:a16="http://schemas.microsoft.com/office/drawing/2014/main" id="{7B7F5098-8870-4281-8B82-D26A07B03908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1374441" y="1379538"/>
                <a:ext cx="82550" cy="90487"/>
              </a:xfrm>
              <a:custGeom>
                <a:avLst/>
                <a:gdLst>
                  <a:gd name="T0" fmla="*/ 99 w 104"/>
                  <a:gd name="T1" fmla="*/ 64 h 115"/>
                  <a:gd name="T2" fmla="*/ 103 w 104"/>
                  <a:gd name="T3" fmla="*/ 72 h 115"/>
                  <a:gd name="T4" fmla="*/ 104 w 104"/>
                  <a:gd name="T5" fmla="*/ 81 h 115"/>
                  <a:gd name="T6" fmla="*/ 104 w 104"/>
                  <a:gd name="T7" fmla="*/ 88 h 115"/>
                  <a:gd name="T8" fmla="*/ 98 w 104"/>
                  <a:gd name="T9" fmla="*/ 101 h 115"/>
                  <a:gd name="T10" fmla="*/ 92 w 104"/>
                  <a:gd name="T11" fmla="*/ 106 h 115"/>
                  <a:gd name="T12" fmla="*/ 78 w 104"/>
                  <a:gd name="T13" fmla="*/ 113 h 115"/>
                  <a:gd name="T14" fmla="*/ 59 w 104"/>
                  <a:gd name="T15" fmla="*/ 115 h 115"/>
                  <a:gd name="T16" fmla="*/ 0 w 104"/>
                  <a:gd name="T17" fmla="*/ 0 h 115"/>
                  <a:gd name="T18" fmla="*/ 56 w 104"/>
                  <a:gd name="T19" fmla="*/ 0 h 115"/>
                  <a:gd name="T20" fmla="*/ 72 w 104"/>
                  <a:gd name="T21" fmla="*/ 2 h 115"/>
                  <a:gd name="T22" fmla="*/ 88 w 104"/>
                  <a:gd name="T23" fmla="*/ 8 h 115"/>
                  <a:gd name="T24" fmla="*/ 93 w 104"/>
                  <a:gd name="T25" fmla="*/ 12 h 115"/>
                  <a:gd name="T26" fmla="*/ 99 w 104"/>
                  <a:gd name="T27" fmla="*/ 23 h 115"/>
                  <a:gd name="T28" fmla="*/ 99 w 104"/>
                  <a:gd name="T29" fmla="*/ 30 h 115"/>
                  <a:gd name="T30" fmla="*/ 95 w 104"/>
                  <a:gd name="T31" fmla="*/ 45 h 115"/>
                  <a:gd name="T32" fmla="*/ 90 w 104"/>
                  <a:gd name="T33" fmla="*/ 50 h 115"/>
                  <a:gd name="T34" fmla="*/ 84 w 104"/>
                  <a:gd name="T35" fmla="*/ 54 h 115"/>
                  <a:gd name="T36" fmla="*/ 92 w 104"/>
                  <a:gd name="T37" fmla="*/ 58 h 115"/>
                  <a:gd name="T38" fmla="*/ 99 w 104"/>
                  <a:gd name="T39" fmla="*/ 64 h 115"/>
                  <a:gd name="T40" fmla="*/ 31 w 104"/>
                  <a:gd name="T41" fmla="*/ 46 h 115"/>
                  <a:gd name="T42" fmla="*/ 53 w 104"/>
                  <a:gd name="T43" fmla="*/ 46 h 115"/>
                  <a:gd name="T44" fmla="*/ 63 w 104"/>
                  <a:gd name="T45" fmla="*/ 43 h 115"/>
                  <a:gd name="T46" fmla="*/ 67 w 104"/>
                  <a:gd name="T47" fmla="*/ 34 h 115"/>
                  <a:gd name="T48" fmla="*/ 66 w 104"/>
                  <a:gd name="T49" fmla="*/ 29 h 115"/>
                  <a:gd name="T50" fmla="*/ 59 w 104"/>
                  <a:gd name="T51" fmla="*/ 24 h 115"/>
                  <a:gd name="T52" fmla="*/ 31 w 104"/>
                  <a:gd name="T53" fmla="*/ 23 h 115"/>
                  <a:gd name="T54" fmla="*/ 72 w 104"/>
                  <a:gd name="T55" fmla="*/ 79 h 115"/>
                  <a:gd name="T56" fmla="*/ 71 w 104"/>
                  <a:gd name="T57" fmla="*/ 74 h 115"/>
                  <a:gd name="T58" fmla="*/ 64 w 104"/>
                  <a:gd name="T59" fmla="*/ 68 h 115"/>
                  <a:gd name="T60" fmla="*/ 32 w 104"/>
                  <a:gd name="T61" fmla="*/ 67 h 115"/>
                  <a:gd name="T62" fmla="*/ 58 w 104"/>
                  <a:gd name="T63" fmla="*/ 91 h 115"/>
                  <a:gd name="T64" fmla="*/ 64 w 104"/>
                  <a:gd name="T65" fmla="*/ 90 h 115"/>
                  <a:gd name="T66" fmla="*/ 71 w 104"/>
                  <a:gd name="T67" fmla="*/ 84 h 115"/>
                  <a:gd name="T68" fmla="*/ 72 w 104"/>
                  <a:gd name="T69" fmla="*/ 79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4" h="115">
                    <a:moveTo>
                      <a:pt x="99" y="64"/>
                    </a:moveTo>
                    <a:lnTo>
                      <a:pt x="99" y="64"/>
                    </a:lnTo>
                    <a:lnTo>
                      <a:pt x="101" y="68"/>
                    </a:lnTo>
                    <a:lnTo>
                      <a:pt x="103" y="72"/>
                    </a:lnTo>
                    <a:lnTo>
                      <a:pt x="104" y="77"/>
                    </a:lnTo>
                    <a:lnTo>
                      <a:pt x="104" y="81"/>
                    </a:lnTo>
                    <a:lnTo>
                      <a:pt x="104" y="81"/>
                    </a:lnTo>
                    <a:lnTo>
                      <a:pt x="104" y="88"/>
                    </a:lnTo>
                    <a:lnTo>
                      <a:pt x="101" y="95"/>
                    </a:lnTo>
                    <a:lnTo>
                      <a:pt x="98" y="101"/>
                    </a:lnTo>
                    <a:lnTo>
                      <a:pt x="92" y="106"/>
                    </a:lnTo>
                    <a:lnTo>
                      <a:pt x="92" y="106"/>
                    </a:lnTo>
                    <a:lnTo>
                      <a:pt x="86" y="110"/>
                    </a:lnTo>
                    <a:lnTo>
                      <a:pt x="78" y="113"/>
                    </a:lnTo>
                    <a:lnTo>
                      <a:pt x="69" y="114"/>
                    </a:lnTo>
                    <a:lnTo>
                      <a:pt x="59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4" y="0"/>
                    </a:lnTo>
                    <a:lnTo>
                      <a:pt x="72" y="2"/>
                    </a:lnTo>
                    <a:lnTo>
                      <a:pt x="80" y="4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93" y="12"/>
                    </a:lnTo>
                    <a:lnTo>
                      <a:pt x="96" y="17"/>
                    </a:lnTo>
                    <a:lnTo>
                      <a:pt x="99" y="23"/>
                    </a:lnTo>
                    <a:lnTo>
                      <a:pt x="99" y="30"/>
                    </a:lnTo>
                    <a:lnTo>
                      <a:pt x="99" y="30"/>
                    </a:lnTo>
                    <a:lnTo>
                      <a:pt x="98" y="37"/>
                    </a:lnTo>
                    <a:lnTo>
                      <a:pt x="95" y="45"/>
                    </a:lnTo>
                    <a:lnTo>
                      <a:pt x="95" y="45"/>
                    </a:lnTo>
                    <a:lnTo>
                      <a:pt x="90" y="50"/>
                    </a:lnTo>
                    <a:lnTo>
                      <a:pt x="84" y="54"/>
                    </a:lnTo>
                    <a:lnTo>
                      <a:pt x="84" y="54"/>
                    </a:lnTo>
                    <a:lnTo>
                      <a:pt x="88" y="56"/>
                    </a:lnTo>
                    <a:lnTo>
                      <a:pt x="92" y="58"/>
                    </a:lnTo>
                    <a:lnTo>
                      <a:pt x="96" y="61"/>
                    </a:lnTo>
                    <a:lnTo>
                      <a:pt x="99" y="64"/>
                    </a:lnTo>
                    <a:lnTo>
                      <a:pt x="99" y="64"/>
                    </a:lnTo>
                    <a:close/>
                    <a:moveTo>
                      <a:pt x="31" y="46"/>
                    </a:moveTo>
                    <a:lnTo>
                      <a:pt x="53" y="46"/>
                    </a:lnTo>
                    <a:lnTo>
                      <a:pt x="53" y="46"/>
                    </a:lnTo>
                    <a:lnTo>
                      <a:pt x="59" y="45"/>
                    </a:lnTo>
                    <a:lnTo>
                      <a:pt x="63" y="43"/>
                    </a:lnTo>
                    <a:lnTo>
                      <a:pt x="66" y="39"/>
                    </a:lnTo>
                    <a:lnTo>
                      <a:pt x="67" y="34"/>
                    </a:lnTo>
                    <a:lnTo>
                      <a:pt x="67" y="34"/>
                    </a:lnTo>
                    <a:lnTo>
                      <a:pt x="66" y="29"/>
                    </a:lnTo>
                    <a:lnTo>
                      <a:pt x="63" y="26"/>
                    </a:lnTo>
                    <a:lnTo>
                      <a:pt x="59" y="24"/>
                    </a:lnTo>
                    <a:lnTo>
                      <a:pt x="53" y="23"/>
                    </a:lnTo>
                    <a:lnTo>
                      <a:pt x="31" y="23"/>
                    </a:lnTo>
                    <a:lnTo>
                      <a:pt x="31" y="46"/>
                    </a:lnTo>
                    <a:close/>
                    <a:moveTo>
                      <a:pt x="72" y="79"/>
                    </a:moveTo>
                    <a:lnTo>
                      <a:pt x="72" y="79"/>
                    </a:lnTo>
                    <a:lnTo>
                      <a:pt x="71" y="74"/>
                    </a:lnTo>
                    <a:lnTo>
                      <a:pt x="68" y="70"/>
                    </a:lnTo>
                    <a:lnTo>
                      <a:pt x="64" y="68"/>
                    </a:lnTo>
                    <a:lnTo>
                      <a:pt x="58" y="67"/>
                    </a:lnTo>
                    <a:lnTo>
                      <a:pt x="32" y="67"/>
                    </a:lnTo>
                    <a:lnTo>
                      <a:pt x="32" y="91"/>
                    </a:lnTo>
                    <a:lnTo>
                      <a:pt x="58" y="91"/>
                    </a:lnTo>
                    <a:lnTo>
                      <a:pt x="58" y="91"/>
                    </a:lnTo>
                    <a:lnTo>
                      <a:pt x="64" y="90"/>
                    </a:lnTo>
                    <a:lnTo>
                      <a:pt x="68" y="88"/>
                    </a:lnTo>
                    <a:lnTo>
                      <a:pt x="71" y="84"/>
                    </a:lnTo>
                    <a:lnTo>
                      <a:pt x="72" y="79"/>
                    </a:lnTo>
                    <a:lnTo>
                      <a:pt x="72" y="7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15">
                <a:extLst>
                  <a:ext uri="{FF2B5EF4-FFF2-40B4-BE49-F238E27FC236}">
                    <a16:creationId xmlns:a16="http://schemas.microsoft.com/office/drawing/2014/main" id="{7F127C94-9494-4641-80CB-12DA897836FE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1474454" y="1379538"/>
                <a:ext cx="115888" cy="90487"/>
              </a:xfrm>
              <a:custGeom>
                <a:avLst/>
                <a:gdLst>
                  <a:gd name="T0" fmla="*/ 91 w 147"/>
                  <a:gd name="T1" fmla="*/ 46 h 115"/>
                  <a:gd name="T2" fmla="*/ 91 w 147"/>
                  <a:gd name="T3" fmla="*/ 46 h 115"/>
                  <a:gd name="T4" fmla="*/ 97 w 147"/>
                  <a:gd name="T5" fmla="*/ 51 h 115"/>
                  <a:gd name="T6" fmla="*/ 100 w 147"/>
                  <a:gd name="T7" fmla="*/ 58 h 115"/>
                  <a:gd name="T8" fmla="*/ 103 w 147"/>
                  <a:gd name="T9" fmla="*/ 66 h 115"/>
                  <a:gd name="T10" fmla="*/ 103 w 147"/>
                  <a:gd name="T11" fmla="*/ 73 h 115"/>
                  <a:gd name="T12" fmla="*/ 103 w 147"/>
                  <a:gd name="T13" fmla="*/ 73 h 115"/>
                  <a:gd name="T14" fmla="*/ 102 w 147"/>
                  <a:gd name="T15" fmla="*/ 82 h 115"/>
                  <a:gd name="T16" fmla="*/ 100 w 147"/>
                  <a:gd name="T17" fmla="*/ 90 h 115"/>
                  <a:gd name="T18" fmla="*/ 96 w 147"/>
                  <a:gd name="T19" fmla="*/ 97 h 115"/>
                  <a:gd name="T20" fmla="*/ 90 w 147"/>
                  <a:gd name="T21" fmla="*/ 104 h 115"/>
                  <a:gd name="T22" fmla="*/ 90 w 147"/>
                  <a:gd name="T23" fmla="*/ 104 h 115"/>
                  <a:gd name="T24" fmla="*/ 82 w 147"/>
                  <a:gd name="T25" fmla="*/ 109 h 115"/>
                  <a:gd name="T26" fmla="*/ 73 w 147"/>
                  <a:gd name="T27" fmla="*/ 113 h 115"/>
                  <a:gd name="T28" fmla="*/ 64 w 147"/>
                  <a:gd name="T29" fmla="*/ 115 h 115"/>
                  <a:gd name="T30" fmla="*/ 55 w 147"/>
                  <a:gd name="T31" fmla="*/ 115 h 115"/>
                  <a:gd name="T32" fmla="*/ 0 w 147"/>
                  <a:gd name="T33" fmla="*/ 115 h 115"/>
                  <a:gd name="T34" fmla="*/ 0 w 147"/>
                  <a:gd name="T35" fmla="*/ 0 h 115"/>
                  <a:gd name="T36" fmla="*/ 32 w 147"/>
                  <a:gd name="T37" fmla="*/ 0 h 115"/>
                  <a:gd name="T38" fmla="*/ 32 w 147"/>
                  <a:gd name="T39" fmla="*/ 36 h 115"/>
                  <a:gd name="T40" fmla="*/ 59 w 147"/>
                  <a:gd name="T41" fmla="*/ 36 h 115"/>
                  <a:gd name="T42" fmla="*/ 59 w 147"/>
                  <a:gd name="T43" fmla="*/ 36 h 115"/>
                  <a:gd name="T44" fmla="*/ 68 w 147"/>
                  <a:gd name="T45" fmla="*/ 37 h 115"/>
                  <a:gd name="T46" fmla="*/ 76 w 147"/>
                  <a:gd name="T47" fmla="*/ 38 h 115"/>
                  <a:gd name="T48" fmla="*/ 84 w 147"/>
                  <a:gd name="T49" fmla="*/ 41 h 115"/>
                  <a:gd name="T50" fmla="*/ 91 w 147"/>
                  <a:gd name="T51" fmla="*/ 46 h 115"/>
                  <a:gd name="T52" fmla="*/ 91 w 147"/>
                  <a:gd name="T53" fmla="*/ 46 h 115"/>
                  <a:gd name="T54" fmla="*/ 66 w 147"/>
                  <a:gd name="T55" fmla="*/ 86 h 115"/>
                  <a:gd name="T56" fmla="*/ 66 w 147"/>
                  <a:gd name="T57" fmla="*/ 86 h 115"/>
                  <a:gd name="T58" fmla="*/ 68 w 147"/>
                  <a:gd name="T59" fmla="*/ 84 h 115"/>
                  <a:gd name="T60" fmla="*/ 69 w 147"/>
                  <a:gd name="T61" fmla="*/ 81 h 115"/>
                  <a:gd name="T62" fmla="*/ 70 w 147"/>
                  <a:gd name="T63" fmla="*/ 77 h 115"/>
                  <a:gd name="T64" fmla="*/ 71 w 147"/>
                  <a:gd name="T65" fmla="*/ 74 h 115"/>
                  <a:gd name="T66" fmla="*/ 71 w 147"/>
                  <a:gd name="T67" fmla="*/ 74 h 115"/>
                  <a:gd name="T68" fmla="*/ 70 w 147"/>
                  <a:gd name="T69" fmla="*/ 71 h 115"/>
                  <a:gd name="T70" fmla="*/ 70 w 147"/>
                  <a:gd name="T71" fmla="*/ 68 h 115"/>
                  <a:gd name="T72" fmla="*/ 68 w 147"/>
                  <a:gd name="T73" fmla="*/ 65 h 115"/>
                  <a:gd name="T74" fmla="*/ 66 w 147"/>
                  <a:gd name="T75" fmla="*/ 63 h 115"/>
                  <a:gd name="T76" fmla="*/ 64 w 147"/>
                  <a:gd name="T77" fmla="*/ 61 h 115"/>
                  <a:gd name="T78" fmla="*/ 61 w 147"/>
                  <a:gd name="T79" fmla="*/ 60 h 115"/>
                  <a:gd name="T80" fmla="*/ 53 w 147"/>
                  <a:gd name="T81" fmla="*/ 59 h 115"/>
                  <a:gd name="T82" fmla="*/ 32 w 147"/>
                  <a:gd name="T83" fmla="*/ 59 h 115"/>
                  <a:gd name="T84" fmla="*/ 32 w 147"/>
                  <a:gd name="T85" fmla="*/ 91 h 115"/>
                  <a:gd name="T86" fmla="*/ 53 w 147"/>
                  <a:gd name="T87" fmla="*/ 91 h 115"/>
                  <a:gd name="T88" fmla="*/ 53 w 147"/>
                  <a:gd name="T89" fmla="*/ 91 h 115"/>
                  <a:gd name="T90" fmla="*/ 56 w 147"/>
                  <a:gd name="T91" fmla="*/ 91 h 115"/>
                  <a:gd name="T92" fmla="*/ 60 w 147"/>
                  <a:gd name="T93" fmla="*/ 90 h 115"/>
                  <a:gd name="T94" fmla="*/ 63 w 147"/>
                  <a:gd name="T95" fmla="*/ 88 h 115"/>
                  <a:gd name="T96" fmla="*/ 66 w 147"/>
                  <a:gd name="T97" fmla="*/ 86 h 115"/>
                  <a:gd name="T98" fmla="*/ 66 w 147"/>
                  <a:gd name="T99" fmla="*/ 86 h 115"/>
                  <a:gd name="T100" fmla="*/ 115 w 147"/>
                  <a:gd name="T101" fmla="*/ 0 h 115"/>
                  <a:gd name="T102" fmla="*/ 147 w 147"/>
                  <a:gd name="T103" fmla="*/ 0 h 115"/>
                  <a:gd name="T104" fmla="*/ 147 w 147"/>
                  <a:gd name="T105" fmla="*/ 115 h 115"/>
                  <a:gd name="T106" fmla="*/ 115 w 147"/>
                  <a:gd name="T107" fmla="*/ 115 h 115"/>
                  <a:gd name="T108" fmla="*/ 115 w 147"/>
                  <a:gd name="T109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47" h="115">
                    <a:moveTo>
                      <a:pt x="91" y="46"/>
                    </a:moveTo>
                    <a:lnTo>
                      <a:pt x="91" y="46"/>
                    </a:lnTo>
                    <a:lnTo>
                      <a:pt x="97" y="51"/>
                    </a:lnTo>
                    <a:lnTo>
                      <a:pt x="100" y="58"/>
                    </a:lnTo>
                    <a:lnTo>
                      <a:pt x="103" y="66"/>
                    </a:lnTo>
                    <a:lnTo>
                      <a:pt x="103" y="73"/>
                    </a:lnTo>
                    <a:lnTo>
                      <a:pt x="103" y="73"/>
                    </a:lnTo>
                    <a:lnTo>
                      <a:pt x="102" y="82"/>
                    </a:lnTo>
                    <a:lnTo>
                      <a:pt x="100" y="90"/>
                    </a:lnTo>
                    <a:lnTo>
                      <a:pt x="96" y="97"/>
                    </a:lnTo>
                    <a:lnTo>
                      <a:pt x="90" y="104"/>
                    </a:lnTo>
                    <a:lnTo>
                      <a:pt x="90" y="104"/>
                    </a:lnTo>
                    <a:lnTo>
                      <a:pt x="82" y="109"/>
                    </a:lnTo>
                    <a:lnTo>
                      <a:pt x="73" y="113"/>
                    </a:lnTo>
                    <a:lnTo>
                      <a:pt x="64" y="115"/>
                    </a:lnTo>
                    <a:lnTo>
                      <a:pt x="55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2" y="0"/>
                    </a:lnTo>
                    <a:lnTo>
                      <a:pt x="32" y="36"/>
                    </a:lnTo>
                    <a:lnTo>
                      <a:pt x="59" y="36"/>
                    </a:lnTo>
                    <a:lnTo>
                      <a:pt x="59" y="36"/>
                    </a:lnTo>
                    <a:lnTo>
                      <a:pt x="68" y="37"/>
                    </a:lnTo>
                    <a:lnTo>
                      <a:pt x="76" y="38"/>
                    </a:lnTo>
                    <a:lnTo>
                      <a:pt x="84" y="41"/>
                    </a:lnTo>
                    <a:lnTo>
                      <a:pt x="91" y="46"/>
                    </a:lnTo>
                    <a:lnTo>
                      <a:pt x="91" y="46"/>
                    </a:lnTo>
                    <a:close/>
                    <a:moveTo>
                      <a:pt x="66" y="86"/>
                    </a:moveTo>
                    <a:lnTo>
                      <a:pt x="66" y="86"/>
                    </a:lnTo>
                    <a:lnTo>
                      <a:pt x="68" y="84"/>
                    </a:lnTo>
                    <a:lnTo>
                      <a:pt x="69" y="81"/>
                    </a:lnTo>
                    <a:lnTo>
                      <a:pt x="70" y="77"/>
                    </a:lnTo>
                    <a:lnTo>
                      <a:pt x="71" y="74"/>
                    </a:lnTo>
                    <a:lnTo>
                      <a:pt x="71" y="74"/>
                    </a:lnTo>
                    <a:lnTo>
                      <a:pt x="70" y="71"/>
                    </a:lnTo>
                    <a:lnTo>
                      <a:pt x="70" y="68"/>
                    </a:lnTo>
                    <a:lnTo>
                      <a:pt x="68" y="65"/>
                    </a:lnTo>
                    <a:lnTo>
                      <a:pt x="66" y="63"/>
                    </a:lnTo>
                    <a:lnTo>
                      <a:pt x="64" y="61"/>
                    </a:lnTo>
                    <a:lnTo>
                      <a:pt x="61" y="60"/>
                    </a:lnTo>
                    <a:lnTo>
                      <a:pt x="53" y="59"/>
                    </a:lnTo>
                    <a:lnTo>
                      <a:pt x="32" y="59"/>
                    </a:lnTo>
                    <a:lnTo>
                      <a:pt x="32" y="91"/>
                    </a:lnTo>
                    <a:lnTo>
                      <a:pt x="53" y="91"/>
                    </a:lnTo>
                    <a:lnTo>
                      <a:pt x="53" y="91"/>
                    </a:lnTo>
                    <a:lnTo>
                      <a:pt x="56" y="91"/>
                    </a:lnTo>
                    <a:lnTo>
                      <a:pt x="60" y="90"/>
                    </a:lnTo>
                    <a:lnTo>
                      <a:pt x="63" y="88"/>
                    </a:lnTo>
                    <a:lnTo>
                      <a:pt x="66" y="86"/>
                    </a:lnTo>
                    <a:lnTo>
                      <a:pt x="66" y="86"/>
                    </a:lnTo>
                    <a:close/>
                    <a:moveTo>
                      <a:pt x="115" y="0"/>
                    </a:moveTo>
                    <a:lnTo>
                      <a:pt x="147" y="0"/>
                    </a:lnTo>
                    <a:lnTo>
                      <a:pt x="147" y="115"/>
                    </a:lnTo>
                    <a:lnTo>
                      <a:pt x="115" y="115"/>
                    </a:lnTo>
                    <a:lnTo>
                      <a:pt x="11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16">
                <a:extLst>
                  <a:ext uri="{FF2B5EF4-FFF2-40B4-BE49-F238E27FC236}">
                    <a16:creationId xmlns:a16="http://schemas.microsoft.com/office/drawing/2014/main" id="{BF0A2D74-AAF1-492C-B2F3-132A098E2BC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344154" y="1535113"/>
                <a:ext cx="85725" cy="90487"/>
              </a:xfrm>
              <a:custGeom>
                <a:avLst/>
                <a:gdLst>
                  <a:gd name="T0" fmla="*/ 109 w 109"/>
                  <a:gd name="T1" fmla="*/ 0 h 115"/>
                  <a:gd name="T2" fmla="*/ 109 w 109"/>
                  <a:gd name="T3" fmla="*/ 115 h 115"/>
                  <a:gd name="T4" fmla="*/ 77 w 109"/>
                  <a:gd name="T5" fmla="*/ 115 h 115"/>
                  <a:gd name="T6" fmla="*/ 77 w 109"/>
                  <a:gd name="T7" fmla="*/ 71 h 115"/>
                  <a:gd name="T8" fmla="*/ 32 w 109"/>
                  <a:gd name="T9" fmla="*/ 71 h 115"/>
                  <a:gd name="T10" fmla="*/ 32 w 109"/>
                  <a:gd name="T11" fmla="*/ 115 h 115"/>
                  <a:gd name="T12" fmla="*/ 0 w 109"/>
                  <a:gd name="T13" fmla="*/ 115 h 115"/>
                  <a:gd name="T14" fmla="*/ 0 w 109"/>
                  <a:gd name="T15" fmla="*/ 0 h 115"/>
                  <a:gd name="T16" fmla="*/ 32 w 109"/>
                  <a:gd name="T17" fmla="*/ 0 h 115"/>
                  <a:gd name="T18" fmla="*/ 32 w 109"/>
                  <a:gd name="T19" fmla="*/ 43 h 115"/>
                  <a:gd name="T20" fmla="*/ 77 w 109"/>
                  <a:gd name="T21" fmla="*/ 43 h 115"/>
                  <a:gd name="T22" fmla="*/ 77 w 109"/>
                  <a:gd name="T23" fmla="*/ 0 h 115"/>
                  <a:gd name="T24" fmla="*/ 109 w 109"/>
                  <a:gd name="T25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9" h="115">
                    <a:moveTo>
                      <a:pt x="109" y="0"/>
                    </a:moveTo>
                    <a:lnTo>
                      <a:pt x="109" y="115"/>
                    </a:lnTo>
                    <a:lnTo>
                      <a:pt x="77" y="115"/>
                    </a:lnTo>
                    <a:lnTo>
                      <a:pt x="77" y="71"/>
                    </a:lnTo>
                    <a:lnTo>
                      <a:pt x="32" y="71"/>
                    </a:lnTo>
                    <a:lnTo>
                      <a:pt x="3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2" y="0"/>
                    </a:lnTo>
                    <a:lnTo>
                      <a:pt x="32" y="43"/>
                    </a:lnTo>
                    <a:lnTo>
                      <a:pt x="77" y="43"/>
                    </a:lnTo>
                    <a:lnTo>
                      <a:pt x="77" y="0"/>
                    </a:lnTo>
                    <a:lnTo>
                      <a:pt x="109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17">
                <a:extLst>
                  <a:ext uri="{FF2B5EF4-FFF2-40B4-BE49-F238E27FC236}">
                    <a16:creationId xmlns:a16="http://schemas.microsoft.com/office/drawing/2014/main" id="{7C907B9B-1333-4432-9A5A-29513B5610FB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447341" y="1533525"/>
                <a:ext cx="101600" cy="95250"/>
              </a:xfrm>
              <a:custGeom>
                <a:avLst/>
                <a:gdLst>
                  <a:gd name="T0" fmla="*/ 31 w 128"/>
                  <a:gd name="T1" fmla="*/ 112 h 120"/>
                  <a:gd name="T2" fmla="*/ 21 w 128"/>
                  <a:gd name="T3" fmla="*/ 105 h 120"/>
                  <a:gd name="T4" fmla="*/ 6 w 128"/>
                  <a:gd name="T5" fmla="*/ 88 h 120"/>
                  <a:gd name="T6" fmla="*/ 0 w 128"/>
                  <a:gd name="T7" fmla="*/ 67 h 120"/>
                  <a:gd name="T8" fmla="*/ 2 w 128"/>
                  <a:gd name="T9" fmla="*/ 43 h 120"/>
                  <a:gd name="T10" fmla="*/ 6 w 128"/>
                  <a:gd name="T11" fmla="*/ 32 h 120"/>
                  <a:gd name="T12" fmla="*/ 11 w 128"/>
                  <a:gd name="T13" fmla="*/ 25 h 120"/>
                  <a:gd name="T14" fmla="*/ 23 w 128"/>
                  <a:gd name="T15" fmla="*/ 12 h 120"/>
                  <a:gd name="T16" fmla="*/ 31 w 128"/>
                  <a:gd name="T17" fmla="*/ 8 h 120"/>
                  <a:gd name="T18" fmla="*/ 46 w 128"/>
                  <a:gd name="T19" fmla="*/ 2 h 120"/>
                  <a:gd name="T20" fmla="*/ 64 w 128"/>
                  <a:gd name="T21" fmla="*/ 0 h 120"/>
                  <a:gd name="T22" fmla="*/ 81 w 128"/>
                  <a:gd name="T23" fmla="*/ 2 h 120"/>
                  <a:gd name="T24" fmla="*/ 97 w 128"/>
                  <a:gd name="T25" fmla="*/ 8 h 120"/>
                  <a:gd name="T26" fmla="*/ 102 w 128"/>
                  <a:gd name="T27" fmla="*/ 11 h 120"/>
                  <a:gd name="T28" fmla="*/ 115 w 128"/>
                  <a:gd name="T29" fmla="*/ 22 h 120"/>
                  <a:gd name="T30" fmla="*/ 125 w 128"/>
                  <a:gd name="T31" fmla="*/ 42 h 120"/>
                  <a:gd name="T32" fmla="*/ 128 w 128"/>
                  <a:gd name="T33" fmla="*/ 65 h 120"/>
                  <a:gd name="T34" fmla="*/ 124 w 128"/>
                  <a:gd name="T35" fmla="*/ 82 h 120"/>
                  <a:gd name="T36" fmla="*/ 121 w 128"/>
                  <a:gd name="T37" fmla="*/ 87 h 120"/>
                  <a:gd name="T38" fmla="*/ 111 w 128"/>
                  <a:gd name="T39" fmla="*/ 101 h 120"/>
                  <a:gd name="T40" fmla="*/ 97 w 128"/>
                  <a:gd name="T41" fmla="*/ 112 h 120"/>
                  <a:gd name="T42" fmla="*/ 89 w 128"/>
                  <a:gd name="T43" fmla="*/ 115 h 120"/>
                  <a:gd name="T44" fmla="*/ 72 w 128"/>
                  <a:gd name="T45" fmla="*/ 119 h 120"/>
                  <a:gd name="T46" fmla="*/ 55 w 128"/>
                  <a:gd name="T47" fmla="*/ 119 h 120"/>
                  <a:gd name="T48" fmla="*/ 38 w 128"/>
                  <a:gd name="T49" fmla="*/ 115 h 120"/>
                  <a:gd name="T50" fmla="*/ 31 w 128"/>
                  <a:gd name="T51" fmla="*/ 112 h 120"/>
                  <a:gd name="T52" fmla="*/ 80 w 128"/>
                  <a:gd name="T53" fmla="*/ 89 h 120"/>
                  <a:gd name="T54" fmla="*/ 91 w 128"/>
                  <a:gd name="T55" fmla="*/ 77 h 120"/>
                  <a:gd name="T56" fmla="*/ 94 w 128"/>
                  <a:gd name="T57" fmla="*/ 69 h 120"/>
                  <a:gd name="T58" fmla="*/ 94 w 128"/>
                  <a:gd name="T59" fmla="*/ 52 h 120"/>
                  <a:gd name="T60" fmla="*/ 91 w 128"/>
                  <a:gd name="T61" fmla="*/ 42 h 120"/>
                  <a:gd name="T62" fmla="*/ 80 w 128"/>
                  <a:gd name="T63" fmla="*/ 31 h 120"/>
                  <a:gd name="T64" fmla="*/ 72 w 128"/>
                  <a:gd name="T65" fmla="*/ 28 h 120"/>
                  <a:gd name="T66" fmla="*/ 55 w 128"/>
                  <a:gd name="T67" fmla="*/ 28 h 120"/>
                  <a:gd name="T68" fmla="*/ 47 w 128"/>
                  <a:gd name="T69" fmla="*/ 31 h 120"/>
                  <a:gd name="T70" fmla="*/ 36 w 128"/>
                  <a:gd name="T71" fmla="*/ 42 h 120"/>
                  <a:gd name="T72" fmla="*/ 33 w 128"/>
                  <a:gd name="T73" fmla="*/ 52 h 120"/>
                  <a:gd name="T74" fmla="*/ 33 w 128"/>
                  <a:gd name="T75" fmla="*/ 69 h 120"/>
                  <a:gd name="T76" fmla="*/ 36 w 128"/>
                  <a:gd name="T77" fmla="*/ 77 h 120"/>
                  <a:gd name="T78" fmla="*/ 47 w 128"/>
                  <a:gd name="T79" fmla="*/ 89 h 120"/>
                  <a:gd name="T80" fmla="*/ 55 w 128"/>
                  <a:gd name="T81" fmla="*/ 92 h 120"/>
                  <a:gd name="T82" fmla="*/ 72 w 128"/>
                  <a:gd name="T83" fmla="*/ 92 h 120"/>
                  <a:gd name="T84" fmla="*/ 80 w 128"/>
                  <a:gd name="T85" fmla="*/ 89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28" h="120">
                    <a:moveTo>
                      <a:pt x="31" y="112"/>
                    </a:moveTo>
                    <a:lnTo>
                      <a:pt x="31" y="112"/>
                    </a:lnTo>
                    <a:lnTo>
                      <a:pt x="25" y="109"/>
                    </a:lnTo>
                    <a:lnTo>
                      <a:pt x="21" y="105"/>
                    </a:lnTo>
                    <a:lnTo>
                      <a:pt x="13" y="97"/>
                    </a:lnTo>
                    <a:lnTo>
                      <a:pt x="6" y="88"/>
                    </a:lnTo>
                    <a:lnTo>
                      <a:pt x="2" y="78"/>
                    </a:lnTo>
                    <a:lnTo>
                      <a:pt x="0" y="67"/>
                    </a:lnTo>
                    <a:lnTo>
                      <a:pt x="0" y="55"/>
                    </a:lnTo>
                    <a:lnTo>
                      <a:pt x="2" y="43"/>
                    </a:lnTo>
                    <a:lnTo>
                      <a:pt x="4" y="38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11" y="25"/>
                    </a:lnTo>
                    <a:lnTo>
                      <a:pt x="16" y="18"/>
                    </a:lnTo>
                    <a:lnTo>
                      <a:pt x="23" y="12"/>
                    </a:lnTo>
                    <a:lnTo>
                      <a:pt x="31" y="8"/>
                    </a:lnTo>
                    <a:lnTo>
                      <a:pt x="31" y="8"/>
                    </a:lnTo>
                    <a:lnTo>
                      <a:pt x="38" y="4"/>
                    </a:lnTo>
                    <a:lnTo>
                      <a:pt x="46" y="2"/>
                    </a:lnTo>
                    <a:lnTo>
                      <a:pt x="55" y="0"/>
                    </a:lnTo>
                    <a:lnTo>
                      <a:pt x="64" y="0"/>
                    </a:lnTo>
                    <a:lnTo>
                      <a:pt x="72" y="0"/>
                    </a:lnTo>
                    <a:lnTo>
                      <a:pt x="81" y="2"/>
                    </a:lnTo>
                    <a:lnTo>
                      <a:pt x="89" y="4"/>
                    </a:lnTo>
                    <a:lnTo>
                      <a:pt x="97" y="8"/>
                    </a:lnTo>
                    <a:lnTo>
                      <a:pt x="97" y="8"/>
                    </a:lnTo>
                    <a:lnTo>
                      <a:pt x="102" y="11"/>
                    </a:lnTo>
                    <a:lnTo>
                      <a:pt x="106" y="14"/>
                    </a:lnTo>
                    <a:lnTo>
                      <a:pt x="115" y="22"/>
                    </a:lnTo>
                    <a:lnTo>
                      <a:pt x="121" y="32"/>
                    </a:lnTo>
                    <a:lnTo>
                      <a:pt x="125" y="42"/>
                    </a:lnTo>
                    <a:lnTo>
                      <a:pt x="127" y="54"/>
                    </a:lnTo>
                    <a:lnTo>
                      <a:pt x="128" y="65"/>
                    </a:lnTo>
                    <a:lnTo>
                      <a:pt x="126" y="76"/>
                    </a:lnTo>
                    <a:lnTo>
                      <a:pt x="124" y="82"/>
                    </a:lnTo>
                    <a:lnTo>
                      <a:pt x="121" y="87"/>
                    </a:lnTo>
                    <a:lnTo>
                      <a:pt x="121" y="87"/>
                    </a:lnTo>
                    <a:lnTo>
                      <a:pt x="116" y="95"/>
                    </a:lnTo>
                    <a:lnTo>
                      <a:pt x="111" y="101"/>
                    </a:lnTo>
                    <a:lnTo>
                      <a:pt x="104" y="107"/>
                    </a:lnTo>
                    <a:lnTo>
                      <a:pt x="97" y="112"/>
                    </a:lnTo>
                    <a:lnTo>
                      <a:pt x="97" y="112"/>
                    </a:lnTo>
                    <a:lnTo>
                      <a:pt x="89" y="115"/>
                    </a:lnTo>
                    <a:lnTo>
                      <a:pt x="81" y="118"/>
                    </a:lnTo>
                    <a:lnTo>
                      <a:pt x="72" y="119"/>
                    </a:lnTo>
                    <a:lnTo>
                      <a:pt x="64" y="120"/>
                    </a:lnTo>
                    <a:lnTo>
                      <a:pt x="55" y="119"/>
                    </a:lnTo>
                    <a:lnTo>
                      <a:pt x="46" y="118"/>
                    </a:lnTo>
                    <a:lnTo>
                      <a:pt x="38" y="115"/>
                    </a:lnTo>
                    <a:lnTo>
                      <a:pt x="31" y="112"/>
                    </a:lnTo>
                    <a:lnTo>
                      <a:pt x="31" y="112"/>
                    </a:lnTo>
                    <a:close/>
                    <a:moveTo>
                      <a:pt x="80" y="89"/>
                    </a:moveTo>
                    <a:lnTo>
                      <a:pt x="80" y="89"/>
                    </a:lnTo>
                    <a:lnTo>
                      <a:pt x="86" y="84"/>
                    </a:lnTo>
                    <a:lnTo>
                      <a:pt x="91" y="77"/>
                    </a:lnTo>
                    <a:lnTo>
                      <a:pt x="91" y="77"/>
                    </a:lnTo>
                    <a:lnTo>
                      <a:pt x="94" y="69"/>
                    </a:lnTo>
                    <a:lnTo>
                      <a:pt x="95" y="60"/>
                    </a:lnTo>
                    <a:lnTo>
                      <a:pt x="94" y="52"/>
                    </a:lnTo>
                    <a:lnTo>
                      <a:pt x="91" y="42"/>
                    </a:lnTo>
                    <a:lnTo>
                      <a:pt x="91" y="42"/>
                    </a:lnTo>
                    <a:lnTo>
                      <a:pt x="86" y="36"/>
                    </a:lnTo>
                    <a:lnTo>
                      <a:pt x="80" y="31"/>
                    </a:lnTo>
                    <a:lnTo>
                      <a:pt x="80" y="31"/>
                    </a:lnTo>
                    <a:lnTo>
                      <a:pt x="72" y="28"/>
                    </a:lnTo>
                    <a:lnTo>
                      <a:pt x="64" y="27"/>
                    </a:lnTo>
                    <a:lnTo>
                      <a:pt x="55" y="28"/>
                    </a:lnTo>
                    <a:lnTo>
                      <a:pt x="47" y="31"/>
                    </a:lnTo>
                    <a:lnTo>
                      <a:pt x="47" y="31"/>
                    </a:lnTo>
                    <a:lnTo>
                      <a:pt x="41" y="36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3" y="52"/>
                    </a:lnTo>
                    <a:lnTo>
                      <a:pt x="32" y="60"/>
                    </a:lnTo>
                    <a:lnTo>
                      <a:pt x="33" y="69"/>
                    </a:lnTo>
                    <a:lnTo>
                      <a:pt x="36" y="77"/>
                    </a:lnTo>
                    <a:lnTo>
                      <a:pt x="36" y="77"/>
                    </a:lnTo>
                    <a:lnTo>
                      <a:pt x="41" y="84"/>
                    </a:lnTo>
                    <a:lnTo>
                      <a:pt x="47" y="89"/>
                    </a:lnTo>
                    <a:lnTo>
                      <a:pt x="47" y="89"/>
                    </a:lnTo>
                    <a:lnTo>
                      <a:pt x="55" y="92"/>
                    </a:lnTo>
                    <a:lnTo>
                      <a:pt x="64" y="93"/>
                    </a:lnTo>
                    <a:lnTo>
                      <a:pt x="72" y="92"/>
                    </a:lnTo>
                    <a:lnTo>
                      <a:pt x="80" y="89"/>
                    </a:lnTo>
                    <a:lnTo>
                      <a:pt x="80" y="8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18">
                <a:extLst>
                  <a:ext uri="{FF2B5EF4-FFF2-40B4-BE49-F238E27FC236}">
                    <a16:creationId xmlns:a16="http://schemas.microsoft.com/office/drawing/2014/main" id="{9F1B41FC-EC88-42B2-AE2E-5F65E232C25F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564816" y="1535113"/>
                <a:ext cx="84138" cy="90487"/>
              </a:xfrm>
              <a:custGeom>
                <a:avLst/>
                <a:gdLst>
                  <a:gd name="T0" fmla="*/ 99 w 105"/>
                  <a:gd name="T1" fmla="*/ 66 h 115"/>
                  <a:gd name="T2" fmla="*/ 103 w 105"/>
                  <a:gd name="T3" fmla="*/ 74 h 115"/>
                  <a:gd name="T4" fmla="*/ 105 w 105"/>
                  <a:gd name="T5" fmla="*/ 83 h 115"/>
                  <a:gd name="T6" fmla="*/ 104 w 105"/>
                  <a:gd name="T7" fmla="*/ 90 h 115"/>
                  <a:gd name="T8" fmla="*/ 98 w 105"/>
                  <a:gd name="T9" fmla="*/ 102 h 115"/>
                  <a:gd name="T10" fmla="*/ 93 w 105"/>
                  <a:gd name="T11" fmla="*/ 107 h 115"/>
                  <a:gd name="T12" fmla="*/ 77 w 105"/>
                  <a:gd name="T13" fmla="*/ 114 h 115"/>
                  <a:gd name="T14" fmla="*/ 59 w 105"/>
                  <a:gd name="T15" fmla="*/ 115 h 115"/>
                  <a:gd name="T16" fmla="*/ 0 w 105"/>
                  <a:gd name="T17" fmla="*/ 0 h 115"/>
                  <a:gd name="T18" fmla="*/ 56 w 105"/>
                  <a:gd name="T19" fmla="*/ 0 h 115"/>
                  <a:gd name="T20" fmla="*/ 73 w 105"/>
                  <a:gd name="T21" fmla="*/ 2 h 115"/>
                  <a:gd name="T22" fmla="*/ 88 w 105"/>
                  <a:gd name="T23" fmla="*/ 8 h 115"/>
                  <a:gd name="T24" fmla="*/ 93 w 105"/>
                  <a:gd name="T25" fmla="*/ 12 h 115"/>
                  <a:gd name="T26" fmla="*/ 99 w 105"/>
                  <a:gd name="T27" fmla="*/ 24 h 115"/>
                  <a:gd name="T28" fmla="*/ 99 w 105"/>
                  <a:gd name="T29" fmla="*/ 30 h 115"/>
                  <a:gd name="T30" fmla="*/ 95 w 105"/>
                  <a:gd name="T31" fmla="*/ 45 h 115"/>
                  <a:gd name="T32" fmla="*/ 90 w 105"/>
                  <a:gd name="T33" fmla="*/ 52 h 115"/>
                  <a:gd name="T34" fmla="*/ 84 w 105"/>
                  <a:gd name="T35" fmla="*/ 56 h 115"/>
                  <a:gd name="T36" fmla="*/ 92 w 105"/>
                  <a:gd name="T37" fmla="*/ 60 h 115"/>
                  <a:gd name="T38" fmla="*/ 99 w 105"/>
                  <a:gd name="T39" fmla="*/ 66 h 115"/>
                  <a:gd name="T40" fmla="*/ 32 w 105"/>
                  <a:gd name="T41" fmla="*/ 46 h 115"/>
                  <a:gd name="T42" fmla="*/ 53 w 105"/>
                  <a:gd name="T43" fmla="*/ 46 h 115"/>
                  <a:gd name="T44" fmla="*/ 63 w 105"/>
                  <a:gd name="T45" fmla="*/ 43 h 115"/>
                  <a:gd name="T46" fmla="*/ 67 w 105"/>
                  <a:gd name="T47" fmla="*/ 35 h 115"/>
                  <a:gd name="T48" fmla="*/ 66 w 105"/>
                  <a:gd name="T49" fmla="*/ 30 h 115"/>
                  <a:gd name="T50" fmla="*/ 59 w 105"/>
                  <a:gd name="T51" fmla="*/ 24 h 115"/>
                  <a:gd name="T52" fmla="*/ 32 w 105"/>
                  <a:gd name="T53" fmla="*/ 23 h 115"/>
                  <a:gd name="T54" fmla="*/ 72 w 105"/>
                  <a:gd name="T55" fmla="*/ 80 h 115"/>
                  <a:gd name="T56" fmla="*/ 71 w 105"/>
                  <a:gd name="T57" fmla="*/ 75 h 115"/>
                  <a:gd name="T58" fmla="*/ 64 w 105"/>
                  <a:gd name="T59" fmla="*/ 69 h 115"/>
                  <a:gd name="T60" fmla="*/ 32 w 105"/>
                  <a:gd name="T61" fmla="*/ 69 h 115"/>
                  <a:gd name="T62" fmla="*/ 58 w 105"/>
                  <a:gd name="T63" fmla="*/ 92 h 115"/>
                  <a:gd name="T64" fmla="*/ 64 w 105"/>
                  <a:gd name="T65" fmla="*/ 91 h 115"/>
                  <a:gd name="T66" fmla="*/ 71 w 105"/>
                  <a:gd name="T67" fmla="*/ 85 h 115"/>
                  <a:gd name="T68" fmla="*/ 72 w 105"/>
                  <a:gd name="T69" fmla="*/ 8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5" h="115">
                    <a:moveTo>
                      <a:pt x="99" y="66"/>
                    </a:moveTo>
                    <a:lnTo>
                      <a:pt x="99" y="66"/>
                    </a:lnTo>
                    <a:lnTo>
                      <a:pt x="102" y="70"/>
                    </a:lnTo>
                    <a:lnTo>
                      <a:pt x="103" y="74"/>
                    </a:lnTo>
                    <a:lnTo>
                      <a:pt x="104" y="78"/>
                    </a:lnTo>
                    <a:lnTo>
                      <a:pt x="105" y="83"/>
                    </a:lnTo>
                    <a:lnTo>
                      <a:pt x="105" y="83"/>
                    </a:lnTo>
                    <a:lnTo>
                      <a:pt x="104" y="90"/>
                    </a:lnTo>
                    <a:lnTo>
                      <a:pt x="102" y="96"/>
                    </a:lnTo>
                    <a:lnTo>
                      <a:pt x="98" y="102"/>
                    </a:lnTo>
                    <a:lnTo>
                      <a:pt x="93" y="107"/>
                    </a:lnTo>
                    <a:lnTo>
                      <a:pt x="93" y="107"/>
                    </a:lnTo>
                    <a:lnTo>
                      <a:pt x="85" y="111"/>
                    </a:lnTo>
                    <a:lnTo>
                      <a:pt x="77" y="114"/>
                    </a:lnTo>
                    <a:lnTo>
                      <a:pt x="68" y="115"/>
                    </a:lnTo>
                    <a:lnTo>
                      <a:pt x="59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5" y="1"/>
                    </a:lnTo>
                    <a:lnTo>
                      <a:pt x="73" y="2"/>
                    </a:lnTo>
                    <a:lnTo>
                      <a:pt x="81" y="4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93" y="12"/>
                    </a:lnTo>
                    <a:lnTo>
                      <a:pt x="97" y="18"/>
                    </a:lnTo>
                    <a:lnTo>
                      <a:pt x="99" y="24"/>
                    </a:lnTo>
                    <a:lnTo>
                      <a:pt x="99" y="30"/>
                    </a:lnTo>
                    <a:lnTo>
                      <a:pt x="99" y="30"/>
                    </a:lnTo>
                    <a:lnTo>
                      <a:pt x="98" y="38"/>
                    </a:lnTo>
                    <a:lnTo>
                      <a:pt x="95" y="45"/>
                    </a:lnTo>
                    <a:lnTo>
                      <a:pt x="95" y="45"/>
                    </a:lnTo>
                    <a:lnTo>
                      <a:pt x="90" y="52"/>
                    </a:lnTo>
                    <a:lnTo>
                      <a:pt x="84" y="56"/>
                    </a:lnTo>
                    <a:lnTo>
                      <a:pt x="84" y="56"/>
                    </a:lnTo>
                    <a:lnTo>
                      <a:pt x="88" y="57"/>
                    </a:lnTo>
                    <a:lnTo>
                      <a:pt x="92" y="60"/>
                    </a:lnTo>
                    <a:lnTo>
                      <a:pt x="96" y="62"/>
                    </a:lnTo>
                    <a:lnTo>
                      <a:pt x="99" y="66"/>
                    </a:lnTo>
                    <a:lnTo>
                      <a:pt x="99" y="66"/>
                    </a:lnTo>
                    <a:close/>
                    <a:moveTo>
                      <a:pt x="32" y="46"/>
                    </a:moveTo>
                    <a:lnTo>
                      <a:pt x="53" y="46"/>
                    </a:lnTo>
                    <a:lnTo>
                      <a:pt x="53" y="46"/>
                    </a:lnTo>
                    <a:lnTo>
                      <a:pt x="59" y="45"/>
                    </a:lnTo>
                    <a:lnTo>
                      <a:pt x="63" y="43"/>
                    </a:lnTo>
                    <a:lnTo>
                      <a:pt x="66" y="40"/>
                    </a:lnTo>
                    <a:lnTo>
                      <a:pt x="67" y="35"/>
                    </a:lnTo>
                    <a:lnTo>
                      <a:pt x="67" y="35"/>
                    </a:lnTo>
                    <a:lnTo>
                      <a:pt x="66" y="30"/>
                    </a:lnTo>
                    <a:lnTo>
                      <a:pt x="63" y="26"/>
                    </a:lnTo>
                    <a:lnTo>
                      <a:pt x="59" y="24"/>
                    </a:lnTo>
                    <a:lnTo>
                      <a:pt x="53" y="23"/>
                    </a:lnTo>
                    <a:lnTo>
                      <a:pt x="32" y="23"/>
                    </a:lnTo>
                    <a:lnTo>
                      <a:pt x="32" y="46"/>
                    </a:lnTo>
                    <a:close/>
                    <a:moveTo>
                      <a:pt x="72" y="80"/>
                    </a:moveTo>
                    <a:lnTo>
                      <a:pt x="72" y="80"/>
                    </a:lnTo>
                    <a:lnTo>
                      <a:pt x="71" y="75"/>
                    </a:lnTo>
                    <a:lnTo>
                      <a:pt x="69" y="72"/>
                    </a:lnTo>
                    <a:lnTo>
                      <a:pt x="64" y="69"/>
                    </a:lnTo>
                    <a:lnTo>
                      <a:pt x="58" y="69"/>
                    </a:lnTo>
                    <a:lnTo>
                      <a:pt x="32" y="69"/>
                    </a:lnTo>
                    <a:lnTo>
                      <a:pt x="32" y="92"/>
                    </a:lnTo>
                    <a:lnTo>
                      <a:pt x="58" y="92"/>
                    </a:lnTo>
                    <a:lnTo>
                      <a:pt x="58" y="92"/>
                    </a:lnTo>
                    <a:lnTo>
                      <a:pt x="64" y="91"/>
                    </a:lnTo>
                    <a:lnTo>
                      <a:pt x="69" y="89"/>
                    </a:lnTo>
                    <a:lnTo>
                      <a:pt x="71" y="85"/>
                    </a:lnTo>
                    <a:lnTo>
                      <a:pt x="72" y="80"/>
                    </a:lnTo>
                    <a:lnTo>
                      <a:pt x="72" y="8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19">
                <a:extLst>
                  <a:ext uri="{FF2B5EF4-FFF2-40B4-BE49-F238E27FC236}">
                    <a16:creationId xmlns:a16="http://schemas.microsoft.com/office/drawing/2014/main" id="{99988D00-DD33-4005-9E01-A1A55B2708CE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664829" y="1535113"/>
                <a:ext cx="115888" cy="90487"/>
              </a:xfrm>
              <a:custGeom>
                <a:avLst/>
                <a:gdLst>
                  <a:gd name="T0" fmla="*/ 92 w 147"/>
                  <a:gd name="T1" fmla="*/ 46 h 115"/>
                  <a:gd name="T2" fmla="*/ 92 w 147"/>
                  <a:gd name="T3" fmla="*/ 46 h 115"/>
                  <a:gd name="T4" fmla="*/ 97 w 147"/>
                  <a:gd name="T5" fmla="*/ 53 h 115"/>
                  <a:gd name="T6" fmla="*/ 101 w 147"/>
                  <a:gd name="T7" fmla="*/ 60 h 115"/>
                  <a:gd name="T8" fmla="*/ 103 w 147"/>
                  <a:gd name="T9" fmla="*/ 67 h 115"/>
                  <a:gd name="T10" fmla="*/ 103 w 147"/>
                  <a:gd name="T11" fmla="*/ 75 h 115"/>
                  <a:gd name="T12" fmla="*/ 103 w 147"/>
                  <a:gd name="T13" fmla="*/ 75 h 115"/>
                  <a:gd name="T14" fmla="*/ 103 w 147"/>
                  <a:gd name="T15" fmla="*/ 83 h 115"/>
                  <a:gd name="T16" fmla="*/ 100 w 147"/>
                  <a:gd name="T17" fmla="*/ 91 h 115"/>
                  <a:gd name="T18" fmla="*/ 96 w 147"/>
                  <a:gd name="T19" fmla="*/ 99 h 115"/>
                  <a:gd name="T20" fmla="*/ 90 w 147"/>
                  <a:gd name="T21" fmla="*/ 105 h 115"/>
                  <a:gd name="T22" fmla="*/ 90 w 147"/>
                  <a:gd name="T23" fmla="*/ 105 h 115"/>
                  <a:gd name="T24" fmla="*/ 82 w 147"/>
                  <a:gd name="T25" fmla="*/ 110 h 115"/>
                  <a:gd name="T26" fmla="*/ 74 w 147"/>
                  <a:gd name="T27" fmla="*/ 113 h 115"/>
                  <a:gd name="T28" fmla="*/ 65 w 147"/>
                  <a:gd name="T29" fmla="*/ 115 h 115"/>
                  <a:gd name="T30" fmla="*/ 55 w 147"/>
                  <a:gd name="T31" fmla="*/ 115 h 115"/>
                  <a:gd name="T32" fmla="*/ 0 w 147"/>
                  <a:gd name="T33" fmla="*/ 115 h 115"/>
                  <a:gd name="T34" fmla="*/ 0 w 147"/>
                  <a:gd name="T35" fmla="*/ 1 h 115"/>
                  <a:gd name="T36" fmla="*/ 32 w 147"/>
                  <a:gd name="T37" fmla="*/ 1 h 115"/>
                  <a:gd name="T38" fmla="*/ 32 w 147"/>
                  <a:gd name="T39" fmla="*/ 37 h 115"/>
                  <a:gd name="T40" fmla="*/ 59 w 147"/>
                  <a:gd name="T41" fmla="*/ 37 h 115"/>
                  <a:gd name="T42" fmla="*/ 59 w 147"/>
                  <a:gd name="T43" fmla="*/ 37 h 115"/>
                  <a:gd name="T44" fmla="*/ 68 w 147"/>
                  <a:gd name="T45" fmla="*/ 37 h 115"/>
                  <a:gd name="T46" fmla="*/ 76 w 147"/>
                  <a:gd name="T47" fmla="*/ 39 h 115"/>
                  <a:gd name="T48" fmla="*/ 84 w 147"/>
                  <a:gd name="T49" fmla="*/ 42 h 115"/>
                  <a:gd name="T50" fmla="*/ 92 w 147"/>
                  <a:gd name="T51" fmla="*/ 46 h 115"/>
                  <a:gd name="T52" fmla="*/ 92 w 147"/>
                  <a:gd name="T53" fmla="*/ 46 h 115"/>
                  <a:gd name="T54" fmla="*/ 66 w 147"/>
                  <a:gd name="T55" fmla="*/ 88 h 115"/>
                  <a:gd name="T56" fmla="*/ 66 w 147"/>
                  <a:gd name="T57" fmla="*/ 88 h 115"/>
                  <a:gd name="T58" fmla="*/ 68 w 147"/>
                  <a:gd name="T59" fmla="*/ 85 h 115"/>
                  <a:gd name="T60" fmla="*/ 70 w 147"/>
                  <a:gd name="T61" fmla="*/ 82 h 115"/>
                  <a:gd name="T62" fmla="*/ 71 w 147"/>
                  <a:gd name="T63" fmla="*/ 79 h 115"/>
                  <a:gd name="T64" fmla="*/ 71 w 147"/>
                  <a:gd name="T65" fmla="*/ 76 h 115"/>
                  <a:gd name="T66" fmla="*/ 71 w 147"/>
                  <a:gd name="T67" fmla="*/ 76 h 115"/>
                  <a:gd name="T68" fmla="*/ 71 w 147"/>
                  <a:gd name="T69" fmla="*/ 72 h 115"/>
                  <a:gd name="T70" fmla="*/ 70 w 147"/>
                  <a:gd name="T71" fmla="*/ 69 h 115"/>
                  <a:gd name="T72" fmla="*/ 68 w 147"/>
                  <a:gd name="T73" fmla="*/ 67 h 115"/>
                  <a:gd name="T74" fmla="*/ 66 w 147"/>
                  <a:gd name="T75" fmla="*/ 64 h 115"/>
                  <a:gd name="T76" fmla="*/ 64 w 147"/>
                  <a:gd name="T77" fmla="*/ 63 h 115"/>
                  <a:gd name="T78" fmla="*/ 61 w 147"/>
                  <a:gd name="T79" fmla="*/ 62 h 115"/>
                  <a:gd name="T80" fmla="*/ 53 w 147"/>
                  <a:gd name="T81" fmla="*/ 61 h 115"/>
                  <a:gd name="T82" fmla="*/ 32 w 147"/>
                  <a:gd name="T83" fmla="*/ 61 h 115"/>
                  <a:gd name="T84" fmla="*/ 32 w 147"/>
                  <a:gd name="T85" fmla="*/ 92 h 115"/>
                  <a:gd name="T86" fmla="*/ 53 w 147"/>
                  <a:gd name="T87" fmla="*/ 92 h 115"/>
                  <a:gd name="T88" fmla="*/ 53 w 147"/>
                  <a:gd name="T89" fmla="*/ 92 h 115"/>
                  <a:gd name="T90" fmla="*/ 57 w 147"/>
                  <a:gd name="T91" fmla="*/ 92 h 115"/>
                  <a:gd name="T92" fmla="*/ 60 w 147"/>
                  <a:gd name="T93" fmla="*/ 91 h 115"/>
                  <a:gd name="T94" fmla="*/ 63 w 147"/>
                  <a:gd name="T95" fmla="*/ 90 h 115"/>
                  <a:gd name="T96" fmla="*/ 66 w 147"/>
                  <a:gd name="T97" fmla="*/ 88 h 115"/>
                  <a:gd name="T98" fmla="*/ 66 w 147"/>
                  <a:gd name="T99" fmla="*/ 88 h 115"/>
                  <a:gd name="T100" fmla="*/ 116 w 147"/>
                  <a:gd name="T101" fmla="*/ 0 h 115"/>
                  <a:gd name="T102" fmla="*/ 147 w 147"/>
                  <a:gd name="T103" fmla="*/ 0 h 115"/>
                  <a:gd name="T104" fmla="*/ 147 w 147"/>
                  <a:gd name="T105" fmla="*/ 115 h 115"/>
                  <a:gd name="T106" fmla="*/ 116 w 147"/>
                  <a:gd name="T107" fmla="*/ 115 h 115"/>
                  <a:gd name="T108" fmla="*/ 116 w 147"/>
                  <a:gd name="T109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47" h="115">
                    <a:moveTo>
                      <a:pt x="92" y="46"/>
                    </a:moveTo>
                    <a:lnTo>
                      <a:pt x="92" y="46"/>
                    </a:lnTo>
                    <a:lnTo>
                      <a:pt x="97" y="53"/>
                    </a:lnTo>
                    <a:lnTo>
                      <a:pt x="101" y="60"/>
                    </a:lnTo>
                    <a:lnTo>
                      <a:pt x="103" y="67"/>
                    </a:lnTo>
                    <a:lnTo>
                      <a:pt x="103" y="75"/>
                    </a:lnTo>
                    <a:lnTo>
                      <a:pt x="103" y="75"/>
                    </a:lnTo>
                    <a:lnTo>
                      <a:pt x="103" y="83"/>
                    </a:lnTo>
                    <a:lnTo>
                      <a:pt x="100" y="91"/>
                    </a:lnTo>
                    <a:lnTo>
                      <a:pt x="96" y="99"/>
                    </a:lnTo>
                    <a:lnTo>
                      <a:pt x="90" y="105"/>
                    </a:lnTo>
                    <a:lnTo>
                      <a:pt x="90" y="105"/>
                    </a:lnTo>
                    <a:lnTo>
                      <a:pt x="82" y="110"/>
                    </a:lnTo>
                    <a:lnTo>
                      <a:pt x="74" y="113"/>
                    </a:lnTo>
                    <a:lnTo>
                      <a:pt x="65" y="115"/>
                    </a:lnTo>
                    <a:lnTo>
                      <a:pt x="55" y="115"/>
                    </a:lnTo>
                    <a:lnTo>
                      <a:pt x="0" y="115"/>
                    </a:lnTo>
                    <a:lnTo>
                      <a:pt x="0" y="1"/>
                    </a:lnTo>
                    <a:lnTo>
                      <a:pt x="32" y="1"/>
                    </a:lnTo>
                    <a:lnTo>
                      <a:pt x="32" y="37"/>
                    </a:lnTo>
                    <a:lnTo>
                      <a:pt x="59" y="37"/>
                    </a:lnTo>
                    <a:lnTo>
                      <a:pt x="59" y="37"/>
                    </a:lnTo>
                    <a:lnTo>
                      <a:pt x="68" y="37"/>
                    </a:lnTo>
                    <a:lnTo>
                      <a:pt x="76" y="39"/>
                    </a:lnTo>
                    <a:lnTo>
                      <a:pt x="84" y="42"/>
                    </a:lnTo>
                    <a:lnTo>
                      <a:pt x="92" y="46"/>
                    </a:lnTo>
                    <a:lnTo>
                      <a:pt x="92" y="46"/>
                    </a:lnTo>
                    <a:close/>
                    <a:moveTo>
                      <a:pt x="66" y="88"/>
                    </a:moveTo>
                    <a:lnTo>
                      <a:pt x="66" y="88"/>
                    </a:lnTo>
                    <a:lnTo>
                      <a:pt x="68" y="85"/>
                    </a:lnTo>
                    <a:lnTo>
                      <a:pt x="70" y="82"/>
                    </a:lnTo>
                    <a:lnTo>
                      <a:pt x="71" y="79"/>
                    </a:lnTo>
                    <a:lnTo>
                      <a:pt x="71" y="76"/>
                    </a:lnTo>
                    <a:lnTo>
                      <a:pt x="71" y="76"/>
                    </a:lnTo>
                    <a:lnTo>
                      <a:pt x="71" y="72"/>
                    </a:lnTo>
                    <a:lnTo>
                      <a:pt x="70" y="69"/>
                    </a:lnTo>
                    <a:lnTo>
                      <a:pt x="68" y="67"/>
                    </a:lnTo>
                    <a:lnTo>
                      <a:pt x="66" y="64"/>
                    </a:lnTo>
                    <a:lnTo>
                      <a:pt x="64" y="63"/>
                    </a:lnTo>
                    <a:lnTo>
                      <a:pt x="61" y="62"/>
                    </a:lnTo>
                    <a:lnTo>
                      <a:pt x="53" y="61"/>
                    </a:lnTo>
                    <a:lnTo>
                      <a:pt x="32" y="61"/>
                    </a:lnTo>
                    <a:lnTo>
                      <a:pt x="32" y="92"/>
                    </a:lnTo>
                    <a:lnTo>
                      <a:pt x="53" y="92"/>
                    </a:lnTo>
                    <a:lnTo>
                      <a:pt x="53" y="92"/>
                    </a:lnTo>
                    <a:lnTo>
                      <a:pt x="57" y="92"/>
                    </a:lnTo>
                    <a:lnTo>
                      <a:pt x="60" y="91"/>
                    </a:lnTo>
                    <a:lnTo>
                      <a:pt x="63" y="90"/>
                    </a:lnTo>
                    <a:lnTo>
                      <a:pt x="66" y="88"/>
                    </a:lnTo>
                    <a:lnTo>
                      <a:pt x="66" y="88"/>
                    </a:lnTo>
                    <a:close/>
                    <a:moveTo>
                      <a:pt x="116" y="0"/>
                    </a:moveTo>
                    <a:lnTo>
                      <a:pt x="147" y="0"/>
                    </a:lnTo>
                    <a:lnTo>
                      <a:pt x="147" y="115"/>
                    </a:lnTo>
                    <a:lnTo>
                      <a:pt x="116" y="115"/>
                    </a:lnTo>
                    <a:lnTo>
                      <a:pt x="116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0">
                <a:extLst>
                  <a:ext uri="{FF2B5EF4-FFF2-40B4-BE49-F238E27FC236}">
                    <a16:creationId xmlns:a16="http://schemas.microsoft.com/office/drawing/2014/main" id="{7C91B0B2-7BCB-4A18-B7E6-BC37789A2C4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802941" y="1535113"/>
                <a:ext cx="74613" cy="90487"/>
              </a:xfrm>
              <a:custGeom>
                <a:avLst/>
                <a:gdLst>
                  <a:gd name="T0" fmla="*/ 92 w 92"/>
                  <a:gd name="T1" fmla="*/ 90 h 115"/>
                  <a:gd name="T2" fmla="*/ 92 w 92"/>
                  <a:gd name="T3" fmla="*/ 115 h 115"/>
                  <a:gd name="T4" fmla="*/ 0 w 92"/>
                  <a:gd name="T5" fmla="*/ 115 h 115"/>
                  <a:gd name="T6" fmla="*/ 0 w 92"/>
                  <a:gd name="T7" fmla="*/ 0 h 115"/>
                  <a:gd name="T8" fmla="*/ 90 w 92"/>
                  <a:gd name="T9" fmla="*/ 0 h 115"/>
                  <a:gd name="T10" fmla="*/ 90 w 92"/>
                  <a:gd name="T11" fmla="*/ 25 h 115"/>
                  <a:gd name="T12" fmla="*/ 32 w 92"/>
                  <a:gd name="T13" fmla="*/ 25 h 115"/>
                  <a:gd name="T14" fmla="*/ 32 w 92"/>
                  <a:gd name="T15" fmla="*/ 44 h 115"/>
                  <a:gd name="T16" fmla="*/ 83 w 92"/>
                  <a:gd name="T17" fmla="*/ 44 h 115"/>
                  <a:gd name="T18" fmla="*/ 83 w 92"/>
                  <a:gd name="T19" fmla="*/ 69 h 115"/>
                  <a:gd name="T20" fmla="*/ 32 w 92"/>
                  <a:gd name="T21" fmla="*/ 69 h 115"/>
                  <a:gd name="T22" fmla="*/ 32 w 92"/>
                  <a:gd name="T23" fmla="*/ 90 h 115"/>
                  <a:gd name="T24" fmla="*/ 92 w 92"/>
                  <a:gd name="T25" fmla="*/ 9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2" h="115">
                    <a:moveTo>
                      <a:pt x="92" y="90"/>
                    </a:moveTo>
                    <a:lnTo>
                      <a:pt x="9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25"/>
                    </a:lnTo>
                    <a:lnTo>
                      <a:pt x="32" y="25"/>
                    </a:lnTo>
                    <a:lnTo>
                      <a:pt x="32" y="44"/>
                    </a:lnTo>
                    <a:lnTo>
                      <a:pt x="83" y="44"/>
                    </a:lnTo>
                    <a:lnTo>
                      <a:pt x="83" y="69"/>
                    </a:lnTo>
                    <a:lnTo>
                      <a:pt x="32" y="69"/>
                    </a:lnTo>
                    <a:lnTo>
                      <a:pt x="32" y="90"/>
                    </a:lnTo>
                    <a:lnTo>
                      <a:pt x="92" y="9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1">
                <a:extLst>
                  <a:ext uri="{FF2B5EF4-FFF2-40B4-BE49-F238E27FC236}">
                    <a16:creationId xmlns:a16="http://schemas.microsoft.com/office/drawing/2014/main" id="{BE2D944F-FC45-48E8-924B-F3F83D114C91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934704" y="1535113"/>
                <a:ext cx="82550" cy="90487"/>
              </a:xfrm>
              <a:custGeom>
                <a:avLst/>
                <a:gdLst>
                  <a:gd name="T0" fmla="*/ 79 w 104"/>
                  <a:gd name="T1" fmla="*/ 5 h 115"/>
                  <a:gd name="T2" fmla="*/ 79 w 104"/>
                  <a:gd name="T3" fmla="*/ 5 h 115"/>
                  <a:gd name="T4" fmla="*/ 85 w 104"/>
                  <a:gd name="T5" fmla="*/ 8 h 115"/>
                  <a:gd name="T6" fmla="*/ 90 w 104"/>
                  <a:gd name="T7" fmla="*/ 12 h 115"/>
                  <a:gd name="T8" fmla="*/ 94 w 104"/>
                  <a:gd name="T9" fmla="*/ 16 h 115"/>
                  <a:gd name="T10" fmla="*/ 98 w 104"/>
                  <a:gd name="T11" fmla="*/ 20 h 115"/>
                  <a:gd name="T12" fmla="*/ 98 w 104"/>
                  <a:gd name="T13" fmla="*/ 20 h 115"/>
                  <a:gd name="T14" fmla="*/ 101 w 104"/>
                  <a:gd name="T15" fmla="*/ 27 h 115"/>
                  <a:gd name="T16" fmla="*/ 104 w 104"/>
                  <a:gd name="T17" fmla="*/ 35 h 115"/>
                  <a:gd name="T18" fmla="*/ 104 w 104"/>
                  <a:gd name="T19" fmla="*/ 43 h 115"/>
                  <a:gd name="T20" fmla="*/ 104 w 104"/>
                  <a:gd name="T21" fmla="*/ 51 h 115"/>
                  <a:gd name="T22" fmla="*/ 102 w 104"/>
                  <a:gd name="T23" fmla="*/ 59 h 115"/>
                  <a:gd name="T24" fmla="*/ 98 w 104"/>
                  <a:gd name="T25" fmla="*/ 66 h 115"/>
                  <a:gd name="T26" fmla="*/ 93 w 104"/>
                  <a:gd name="T27" fmla="*/ 72 h 115"/>
                  <a:gd name="T28" fmla="*/ 87 w 104"/>
                  <a:gd name="T29" fmla="*/ 77 h 115"/>
                  <a:gd name="T30" fmla="*/ 87 w 104"/>
                  <a:gd name="T31" fmla="*/ 77 h 115"/>
                  <a:gd name="T32" fmla="*/ 79 w 104"/>
                  <a:gd name="T33" fmla="*/ 81 h 115"/>
                  <a:gd name="T34" fmla="*/ 79 w 104"/>
                  <a:gd name="T35" fmla="*/ 81 h 115"/>
                  <a:gd name="T36" fmla="*/ 72 w 104"/>
                  <a:gd name="T37" fmla="*/ 83 h 115"/>
                  <a:gd name="T38" fmla="*/ 66 w 104"/>
                  <a:gd name="T39" fmla="*/ 85 h 115"/>
                  <a:gd name="T40" fmla="*/ 59 w 104"/>
                  <a:gd name="T41" fmla="*/ 85 h 115"/>
                  <a:gd name="T42" fmla="*/ 52 w 104"/>
                  <a:gd name="T43" fmla="*/ 86 h 115"/>
                  <a:gd name="T44" fmla="*/ 32 w 104"/>
                  <a:gd name="T45" fmla="*/ 86 h 115"/>
                  <a:gd name="T46" fmla="*/ 32 w 104"/>
                  <a:gd name="T47" fmla="*/ 115 h 115"/>
                  <a:gd name="T48" fmla="*/ 0 w 104"/>
                  <a:gd name="T49" fmla="*/ 115 h 115"/>
                  <a:gd name="T50" fmla="*/ 0 w 104"/>
                  <a:gd name="T51" fmla="*/ 0 h 115"/>
                  <a:gd name="T52" fmla="*/ 52 w 104"/>
                  <a:gd name="T53" fmla="*/ 0 h 115"/>
                  <a:gd name="T54" fmla="*/ 52 w 104"/>
                  <a:gd name="T55" fmla="*/ 0 h 115"/>
                  <a:gd name="T56" fmla="*/ 59 w 104"/>
                  <a:gd name="T57" fmla="*/ 1 h 115"/>
                  <a:gd name="T58" fmla="*/ 66 w 104"/>
                  <a:gd name="T59" fmla="*/ 2 h 115"/>
                  <a:gd name="T60" fmla="*/ 73 w 104"/>
                  <a:gd name="T61" fmla="*/ 3 h 115"/>
                  <a:gd name="T62" fmla="*/ 79 w 104"/>
                  <a:gd name="T63" fmla="*/ 5 h 115"/>
                  <a:gd name="T64" fmla="*/ 79 w 104"/>
                  <a:gd name="T65" fmla="*/ 5 h 115"/>
                  <a:gd name="T66" fmla="*/ 65 w 104"/>
                  <a:gd name="T67" fmla="*/ 56 h 115"/>
                  <a:gd name="T68" fmla="*/ 65 w 104"/>
                  <a:gd name="T69" fmla="*/ 56 h 115"/>
                  <a:gd name="T70" fmla="*/ 67 w 104"/>
                  <a:gd name="T71" fmla="*/ 53 h 115"/>
                  <a:gd name="T72" fmla="*/ 69 w 104"/>
                  <a:gd name="T73" fmla="*/ 50 h 115"/>
                  <a:gd name="T74" fmla="*/ 70 w 104"/>
                  <a:gd name="T75" fmla="*/ 46 h 115"/>
                  <a:gd name="T76" fmla="*/ 70 w 104"/>
                  <a:gd name="T77" fmla="*/ 43 h 115"/>
                  <a:gd name="T78" fmla="*/ 70 w 104"/>
                  <a:gd name="T79" fmla="*/ 43 h 115"/>
                  <a:gd name="T80" fmla="*/ 70 w 104"/>
                  <a:gd name="T81" fmla="*/ 39 h 115"/>
                  <a:gd name="T82" fmla="*/ 69 w 104"/>
                  <a:gd name="T83" fmla="*/ 36 h 115"/>
                  <a:gd name="T84" fmla="*/ 67 w 104"/>
                  <a:gd name="T85" fmla="*/ 33 h 115"/>
                  <a:gd name="T86" fmla="*/ 65 w 104"/>
                  <a:gd name="T87" fmla="*/ 30 h 115"/>
                  <a:gd name="T88" fmla="*/ 65 w 104"/>
                  <a:gd name="T89" fmla="*/ 30 h 115"/>
                  <a:gd name="T90" fmla="*/ 62 w 104"/>
                  <a:gd name="T91" fmla="*/ 28 h 115"/>
                  <a:gd name="T92" fmla="*/ 58 w 104"/>
                  <a:gd name="T93" fmla="*/ 27 h 115"/>
                  <a:gd name="T94" fmla="*/ 54 w 104"/>
                  <a:gd name="T95" fmla="*/ 26 h 115"/>
                  <a:gd name="T96" fmla="*/ 50 w 104"/>
                  <a:gd name="T97" fmla="*/ 26 h 115"/>
                  <a:gd name="T98" fmla="*/ 32 w 104"/>
                  <a:gd name="T99" fmla="*/ 26 h 115"/>
                  <a:gd name="T100" fmla="*/ 32 w 104"/>
                  <a:gd name="T101" fmla="*/ 60 h 115"/>
                  <a:gd name="T102" fmla="*/ 50 w 104"/>
                  <a:gd name="T103" fmla="*/ 60 h 115"/>
                  <a:gd name="T104" fmla="*/ 50 w 104"/>
                  <a:gd name="T105" fmla="*/ 60 h 115"/>
                  <a:gd name="T106" fmla="*/ 54 w 104"/>
                  <a:gd name="T107" fmla="*/ 60 h 115"/>
                  <a:gd name="T108" fmla="*/ 58 w 104"/>
                  <a:gd name="T109" fmla="*/ 59 h 115"/>
                  <a:gd name="T110" fmla="*/ 62 w 104"/>
                  <a:gd name="T111" fmla="*/ 58 h 115"/>
                  <a:gd name="T112" fmla="*/ 65 w 104"/>
                  <a:gd name="T113" fmla="*/ 56 h 115"/>
                  <a:gd name="T114" fmla="*/ 65 w 104"/>
                  <a:gd name="T115" fmla="*/ 56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04" h="115">
                    <a:moveTo>
                      <a:pt x="79" y="5"/>
                    </a:moveTo>
                    <a:lnTo>
                      <a:pt x="79" y="5"/>
                    </a:lnTo>
                    <a:lnTo>
                      <a:pt x="85" y="8"/>
                    </a:lnTo>
                    <a:lnTo>
                      <a:pt x="90" y="12"/>
                    </a:lnTo>
                    <a:lnTo>
                      <a:pt x="94" y="16"/>
                    </a:lnTo>
                    <a:lnTo>
                      <a:pt x="98" y="20"/>
                    </a:lnTo>
                    <a:lnTo>
                      <a:pt x="98" y="20"/>
                    </a:lnTo>
                    <a:lnTo>
                      <a:pt x="101" y="27"/>
                    </a:lnTo>
                    <a:lnTo>
                      <a:pt x="104" y="35"/>
                    </a:lnTo>
                    <a:lnTo>
                      <a:pt x="104" y="43"/>
                    </a:lnTo>
                    <a:lnTo>
                      <a:pt x="104" y="51"/>
                    </a:lnTo>
                    <a:lnTo>
                      <a:pt x="102" y="59"/>
                    </a:lnTo>
                    <a:lnTo>
                      <a:pt x="98" y="66"/>
                    </a:lnTo>
                    <a:lnTo>
                      <a:pt x="93" y="72"/>
                    </a:lnTo>
                    <a:lnTo>
                      <a:pt x="87" y="77"/>
                    </a:lnTo>
                    <a:lnTo>
                      <a:pt x="87" y="77"/>
                    </a:lnTo>
                    <a:lnTo>
                      <a:pt x="79" y="81"/>
                    </a:lnTo>
                    <a:lnTo>
                      <a:pt x="79" y="81"/>
                    </a:lnTo>
                    <a:lnTo>
                      <a:pt x="72" y="83"/>
                    </a:lnTo>
                    <a:lnTo>
                      <a:pt x="66" y="85"/>
                    </a:lnTo>
                    <a:lnTo>
                      <a:pt x="59" y="85"/>
                    </a:lnTo>
                    <a:lnTo>
                      <a:pt x="52" y="86"/>
                    </a:lnTo>
                    <a:lnTo>
                      <a:pt x="32" y="86"/>
                    </a:lnTo>
                    <a:lnTo>
                      <a:pt x="3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52" y="0"/>
                    </a:lnTo>
                    <a:lnTo>
                      <a:pt x="52" y="0"/>
                    </a:lnTo>
                    <a:lnTo>
                      <a:pt x="59" y="1"/>
                    </a:lnTo>
                    <a:lnTo>
                      <a:pt x="66" y="2"/>
                    </a:lnTo>
                    <a:lnTo>
                      <a:pt x="73" y="3"/>
                    </a:lnTo>
                    <a:lnTo>
                      <a:pt x="79" y="5"/>
                    </a:lnTo>
                    <a:lnTo>
                      <a:pt x="79" y="5"/>
                    </a:lnTo>
                    <a:close/>
                    <a:moveTo>
                      <a:pt x="65" y="56"/>
                    </a:moveTo>
                    <a:lnTo>
                      <a:pt x="65" y="56"/>
                    </a:lnTo>
                    <a:lnTo>
                      <a:pt x="67" y="53"/>
                    </a:lnTo>
                    <a:lnTo>
                      <a:pt x="69" y="50"/>
                    </a:lnTo>
                    <a:lnTo>
                      <a:pt x="70" y="46"/>
                    </a:lnTo>
                    <a:lnTo>
                      <a:pt x="70" y="43"/>
                    </a:lnTo>
                    <a:lnTo>
                      <a:pt x="70" y="43"/>
                    </a:lnTo>
                    <a:lnTo>
                      <a:pt x="70" y="39"/>
                    </a:lnTo>
                    <a:lnTo>
                      <a:pt x="69" y="36"/>
                    </a:lnTo>
                    <a:lnTo>
                      <a:pt x="67" y="33"/>
                    </a:lnTo>
                    <a:lnTo>
                      <a:pt x="65" y="30"/>
                    </a:lnTo>
                    <a:lnTo>
                      <a:pt x="65" y="30"/>
                    </a:lnTo>
                    <a:lnTo>
                      <a:pt x="62" y="28"/>
                    </a:lnTo>
                    <a:lnTo>
                      <a:pt x="58" y="27"/>
                    </a:lnTo>
                    <a:lnTo>
                      <a:pt x="54" y="26"/>
                    </a:lnTo>
                    <a:lnTo>
                      <a:pt x="50" y="26"/>
                    </a:lnTo>
                    <a:lnTo>
                      <a:pt x="32" y="26"/>
                    </a:lnTo>
                    <a:lnTo>
                      <a:pt x="32" y="60"/>
                    </a:lnTo>
                    <a:lnTo>
                      <a:pt x="50" y="60"/>
                    </a:lnTo>
                    <a:lnTo>
                      <a:pt x="50" y="60"/>
                    </a:lnTo>
                    <a:lnTo>
                      <a:pt x="54" y="60"/>
                    </a:lnTo>
                    <a:lnTo>
                      <a:pt x="58" y="59"/>
                    </a:lnTo>
                    <a:lnTo>
                      <a:pt x="62" y="58"/>
                    </a:lnTo>
                    <a:lnTo>
                      <a:pt x="65" y="56"/>
                    </a:lnTo>
                    <a:lnTo>
                      <a:pt x="65" y="5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2">
                <a:extLst>
                  <a:ext uri="{FF2B5EF4-FFF2-40B4-BE49-F238E27FC236}">
                    <a16:creationId xmlns:a16="http://schemas.microsoft.com/office/drawing/2014/main" id="{5FD3B3F6-A650-4306-888C-9032ECD8CBD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029954" y="1535113"/>
                <a:ext cx="74613" cy="90487"/>
              </a:xfrm>
              <a:custGeom>
                <a:avLst/>
                <a:gdLst>
                  <a:gd name="T0" fmla="*/ 93 w 93"/>
                  <a:gd name="T1" fmla="*/ 90 h 115"/>
                  <a:gd name="T2" fmla="*/ 93 w 93"/>
                  <a:gd name="T3" fmla="*/ 115 h 115"/>
                  <a:gd name="T4" fmla="*/ 0 w 93"/>
                  <a:gd name="T5" fmla="*/ 115 h 115"/>
                  <a:gd name="T6" fmla="*/ 0 w 93"/>
                  <a:gd name="T7" fmla="*/ 0 h 115"/>
                  <a:gd name="T8" fmla="*/ 91 w 93"/>
                  <a:gd name="T9" fmla="*/ 0 h 115"/>
                  <a:gd name="T10" fmla="*/ 91 w 93"/>
                  <a:gd name="T11" fmla="*/ 25 h 115"/>
                  <a:gd name="T12" fmla="*/ 32 w 93"/>
                  <a:gd name="T13" fmla="*/ 25 h 115"/>
                  <a:gd name="T14" fmla="*/ 32 w 93"/>
                  <a:gd name="T15" fmla="*/ 44 h 115"/>
                  <a:gd name="T16" fmla="*/ 83 w 93"/>
                  <a:gd name="T17" fmla="*/ 44 h 115"/>
                  <a:gd name="T18" fmla="*/ 83 w 93"/>
                  <a:gd name="T19" fmla="*/ 69 h 115"/>
                  <a:gd name="T20" fmla="*/ 32 w 93"/>
                  <a:gd name="T21" fmla="*/ 69 h 115"/>
                  <a:gd name="T22" fmla="*/ 32 w 93"/>
                  <a:gd name="T23" fmla="*/ 90 h 115"/>
                  <a:gd name="T24" fmla="*/ 93 w 93"/>
                  <a:gd name="T25" fmla="*/ 9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3" h="115">
                    <a:moveTo>
                      <a:pt x="93" y="90"/>
                    </a:moveTo>
                    <a:lnTo>
                      <a:pt x="93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91" y="0"/>
                    </a:lnTo>
                    <a:lnTo>
                      <a:pt x="91" y="25"/>
                    </a:lnTo>
                    <a:lnTo>
                      <a:pt x="32" y="25"/>
                    </a:lnTo>
                    <a:lnTo>
                      <a:pt x="32" y="44"/>
                    </a:lnTo>
                    <a:lnTo>
                      <a:pt x="83" y="44"/>
                    </a:lnTo>
                    <a:lnTo>
                      <a:pt x="83" y="69"/>
                    </a:lnTo>
                    <a:lnTo>
                      <a:pt x="32" y="69"/>
                    </a:lnTo>
                    <a:lnTo>
                      <a:pt x="32" y="90"/>
                    </a:lnTo>
                    <a:lnTo>
                      <a:pt x="93" y="9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3">
                <a:extLst>
                  <a:ext uri="{FF2B5EF4-FFF2-40B4-BE49-F238E27FC236}">
                    <a16:creationId xmlns:a16="http://schemas.microsoft.com/office/drawing/2014/main" id="{473B03D1-93E5-4939-BBD8-9A2DDB4595E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122029" y="1535113"/>
                <a:ext cx="122238" cy="90487"/>
              </a:xfrm>
              <a:custGeom>
                <a:avLst/>
                <a:gdLst>
                  <a:gd name="T0" fmla="*/ 155 w 155"/>
                  <a:gd name="T1" fmla="*/ 0 h 115"/>
                  <a:gd name="T2" fmla="*/ 155 w 155"/>
                  <a:gd name="T3" fmla="*/ 115 h 115"/>
                  <a:gd name="T4" fmla="*/ 0 w 155"/>
                  <a:gd name="T5" fmla="*/ 115 h 115"/>
                  <a:gd name="T6" fmla="*/ 0 w 155"/>
                  <a:gd name="T7" fmla="*/ 0 h 115"/>
                  <a:gd name="T8" fmla="*/ 31 w 155"/>
                  <a:gd name="T9" fmla="*/ 0 h 115"/>
                  <a:gd name="T10" fmla="*/ 31 w 155"/>
                  <a:gd name="T11" fmla="*/ 90 h 115"/>
                  <a:gd name="T12" fmla="*/ 61 w 155"/>
                  <a:gd name="T13" fmla="*/ 90 h 115"/>
                  <a:gd name="T14" fmla="*/ 61 w 155"/>
                  <a:gd name="T15" fmla="*/ 0 h 115"/>
                  <a:gd name="T16" fmla="*/ 93 w 155"/>
                  <a:gd name="T17" fmla="*/ 0 h 115"/>
                  <a:gd name="T18" fmla="*/ 93 w 155"/>
                  <a:gd name="T19" fmla="*/ 90 h 115"/>
                  <a:gd name="T20" fmla="*/ 123 w 155"/>
                  <a:gd name="T21" fmla="*/ 90 h 115"/>
                  <a:gd name="T22" fmla="*/ 123 w 155"/>
                  <a:gd name="T23" fmla="*/ 0 h 115"/>
                  <a:gd name="T24" fmla="*/ 155 w 155"/>
                  <a:gd name="T25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5" h="115">
                    <a:moveTo>
                      <a:pt x="155" y="0"/>
                    </a:moveTo>
                    <a:lnTo>
                      <a:pt x="155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1" y="0"/>
                    </a:lnTo>
                    <a:lnTo>
                      <a:pt x="31" y="90"/>
                    </a:lnTo>
                    <a:lnTo>
                      <a:pt x="61" y="90"/>
                    </a:lnTo>
                    <a:lnTo>
                      <a:pt x="61" y="0"/>
                    </a:lnTo>
                    <a:lnTo>
                      <a:pt x="93" y="0"/>
                    </a:lnTo>
                    <a:lnTo>
                      <a:pt x="93" y="90"/>
                    </a:lnTo>
                    <a:lnTo>
                      <a:pt x="123" y="90"/>
                    </a:lnTo>
                    <a:lnTo>
                      <a:pt x="123" y="0"/>
                    </a:lnTo>
                    <a:lnTo>
                      <a:pt x="15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4">
                <a:extLst>
                  <a:ext uri="{FF2B5EF4-FFF2-40B4-BE49-F238E27FC236}">
                    <a16:creationId xmlns:a16="http://schemas.microsoft.com/office/drawing/2014/main" id="{4CA69AFA-27CE-4A88-B04C-EC08DAEF527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268079" y="1535113"/>
                <a:ext cx="71438" cy="90487"/>
              </a:xfrm>
              <a:custGeom>
                <a:avLst/>
                <a:gdLst>
                  <a:gd name="T0" fmla="*/ 92 w 92"/>
                  <a:gd name="T1" fmla="*/ 90 h 115"/>
                  <a:gd name="T2" fmla="*/ 92 w 92"/>
                  <a:gd name="T3" fmla="*/ 115 h 115"/>
                  <a:gd name="T4" fmla="*/ 0 w 92"/>
                  <a:gd name="T5" fmla="*/ 115 h 115"/>
                  <a:gd name="T6" fmla="*/ 0 w 92"/>
                  <a:gd name="T7" fmla="*/ 0 h 115"/>
                  <a:gd name="T8" fmla="*/ 90 w 92"/>
                  <a:gd name="T9" fmla="*/ 0 h 115"/>
                  <a:gd name="T10" fmla="*/ 90 w 92"/>
                  <a:gd name="T11" fmla="*/ 25 h 115"/>
                  <a:gd name="T12" fmla="*/ 32 w 92"/>
                  <a:gd name="T13" fmla="*/ 25 h 115"/>
                  <a:gd name="T14" fmla="*/ 32 w 92"/>
                  <a:gd name="T15" fmla="*/ 44 h 115"/>
                  <a:gd name="T16" fmla="*/ 83 w 92"/>
                  <a:gd name="T17" fmla="*/ 44 h 115"/>
                  <a:gd name="T18" fmla="*/ 83 w 92"/>
                  <a:gd name="T19" fmla="*/ 69 h 115"/>
                  <a:gd name="T20" fmla="*/ 32 w 92"/>
                  <a:gd name="T21" fmla="*/ 69 h 115"/>
                  <a:gd name="T22" fmla="*/ 32 w 92"/>
                  <a:gd name="T23" fmla="*/ 90 h 115"/>
                  <a:gd name="T24" fmla="*/ 92 w 92"/>
                  <a:gd name="T25" fmla="*/ 9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2" h="115">
                    <a:moveTo>
                      <a:pt x="92" y="90"/>
                    </a:moveTo>
                    <a:lnTo>
                      <a:pt x="9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25"/>
                    </a:lnTo>
                    <a:lnTo>
                      <a:pt x="32" y="25"/>
                    </a:lnTo>
                    <a:lnTo>
                      <a:pt x="32" y="44"/>
                    </a:lnTo>
                    <a:lnTo>
                      <a:pt x="83" y="44"/>
                    </a:lnTo>
                    <a:lnTo>
                      <a:pt x="83" y="69"/>
                    </a:lnTo>
                    <a:lnTo>
                      <a:pt x="32" y="69"/>
                    </a:lnTo>
                    <a:lnTo>
                      <a:pt x="32" y="90"/>
                    </a:lnTo>
                    <a:lnTo>
                      <a:pt x="92" y="9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5">
                <a:extLst>
                  <a:ext uri="{FF2B5EF4-FFF2-40B4-BE49-F238E27FC236}">
                    <a16:creationId xmlns:a16="http://schemas.microsoft.com/office/drawing/2014/main" id="{BB10CEB8-7A1D-4731-B83E-A2024E50BB4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358566" y="1535113"/>
                <a:ext cx="85725" cy="90487"/>
              </a:xfrm>
              <a:custGeom>
                <a:avLst/>
                <a:gdLst>
                  <a:gd name="T0" fmla="*/ 109 w 109"/>
                  <a:gd name="T1" fmla="*/ 0 h 115"/>
                  <a:gd name="T2" fmla="*/ 109 w 109"/>
                  <a:gd name="T3" fmla="*/ 115 h 115"/>
                  <a:gd name="T4" fmla="*/ 77 w 109"/>
                  <a:gd name="T5" fmla="*/ 115 h 115"/>
                  <a:gd name="T6" fmla="*/ 77 w 109"/>
                  <a:gd name="T7" fmla="*/ 71 h 115"/>
                  <a:gd name="T8" fmla="*/ 32 w 109"/>
                  <a:gd name="T9" fmla="*/ 71 h 115"/>
                  <a:gd name="T10" fmla="*/ 32 w 109"/>
                  <a:gd name="T11" fmla="*/ 115 h 115"/>
                  <a:gd name="T12" fmla="*/ 0 w 109"/>
                  <a:gd name="T13" fmla="*/ 115 h 115"/>
                  <a:gd name="T14" fmla="*/ 0 w 109"/>
                  <a:gd name="T15" fmla="*/ 0 h 115"/>
                  <a:gd name="T16" fmla="*/ 32 w 109"/>
                  <a:gd name="T17" fmla="*/ 0 h 115"/>
                  <a:gd name="T18" fmla="*/ 32 w 109"/>
                  <a:gd name="T19" fmla="*/ 43 h 115"/>
                  <a:gd name="T20" fmla="*/ 77 w 109"/>
                  <a:gd name="T21" fmla="*/ 43 h 115"/>
                  <a:gd name="T22" fmla="*/ 77 w 109"/>
                  <a:gd name="T23" fmla="*/ 0 h 115"/>
                  <a:gd name="T24" fmla="*/ 109 w 109"/>
                  <a:gd name="T25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9" h="115">
                    <a:moveTo>
                      <a:pt x="109" y="0"/>
                    </a:moveTo>
                    <a:lnTo>
                      <a:pt x="109" y="115"/>
                    </a:lnTo>
                    <a:lnTo>
                      <a:pt x="77" y="115"/>
                    </a:lnTo>
                    <a:lnTo>
                      <a:pt x="77" y="71"/>
                    </a:lnTo>
                    <a:lnTo>
                      <a:pt x="32" y="71"/>
                    </a:lnTo>
                    <a:lnTo>
                      <a:pt x="3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2" y="0"/>
                    </a:lnTo>
                    <a:lnTo>
                      <a:pt x="32" y="43"/>
                    </a:lnTo>
                    <a:lnTo>
                      <a:pt x="77" y="43"/>
                    </a:lnTo>
                    <a:lnTo>
                      <a:pt x="77" y="0"/>
                    </a:lnTo>
                    <a:lnTo>
                      <a:pt x="109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6">
                <a:extLst>
                  <a:ext uri="{FF2B5EF4-FFF2-40B4-BE49-F238E27FC236}">
                    <a16:creationId xmlns:a16="http://schemas.microsoft.com/office/drawing/2014/main" id="{90523782-CE2C-4C4A-BED9-B75957DC9F8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466516" y="1535113"/>
                <a:ext cx="87313" cy="90487"/>
              </a:xfrm>
              <a:custGeom>
                <a:avLst/>
                <a:gdLst>
                  <a:gd name="T0" fmla="*/ 0 w 110"/>
                  <a:gd name="T1" fmla="*/ 0 h 115"/>
                  <a:gd name="T2" fmla="*/ 32 w 110"/>
                  <a:gd name="T3" fmla="*/ 0 h 115"/>
                  <a:gd name="T4" fmla="*/ 32 w 110"/>
                  <a:gd name="T5" fmla="*/ 68 h 115"/>
                  <a:gd name="T6" fmla="*/ 80 w 110"/>
                  <a:gd name="T7" fmla="*/ 0 h 115"/>
                  <a:gd name="T8" fmla="*/ 110 w 110"/>
                  <a:gd name="T9" fmla="*/ 0 h 115"/>
                  <a:gd name="T10" fmla="*/ 110 w 110"/>
                  <a:gd name="T11" fmla="*/ 115 h 115"/>
                  <a:gd name="T12" fmla="*/ 78 w 110"/>
                  <a:gd name="T13" fmla="*/ 115 h 115"/>
                  <a:gd name="T14" fmla="*/ 78 w 110"/>
                  <a:gd name="T15" fmla="*/ 48 h 115"/>
                  <a:gd name="T16" fmla="*/ 30 w 110"/>
                  <a:gd name="T17" fmla="*/ 115 h 115"/>
                  <a:gd name="T18" fmla="*/ 0 w 110"/>
                  <a:gd name="T19" fmla="*/ 115 h 115"/>
                  <a:gd name="T20" fmla="*/ 0 w 110"/>
                  <a:gd name="T21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0" h="115">
                    <a:moveTo>
                      <a:pt x="0" y="0"/>
                    </a:moveTo>
                    <a:lnTo>
                      <a:pt x="32" y="0"/>
                    </a:lnTo>
                    <a:lnTo>
                      <a:pt x="32" y="68"/>
                    </a:lnTo>
                    <a:lnTo>
                      <a:pt x="80" y="0"/>
                    </a:lnTo>
                    <a:lnTo>
                      <a:pt x="110" y="0"/>
                    </a:lnTo>
                    <a:lnTo>
                      <a:pt x="110" y="115"/>
                    </a:lnTo>
                    <a:lnTo>
                      <a:pt x="78" y="115"/>
                    </a:lnTo>
                    <a:lnTo>
                      <a:pt x="78" y="48"/>
                    </a:lnTo>
                    <a:lnTo>
                      <a:pt x="30" y="115"/>
                    </a:lnTo>
                    <a:lnTo>
                      <a:pt x="0" y="11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27">
                <a:extLst>
                  <a:ext uri="{FF2B5EF4-FFF2-40B4-BE49-F238E27FC236}">
                    <a16:creationId xmlns:a16="http://schemas.microsoft.com/office/drawing/2014/main" id="{7E94436F-F1B7-45D6-B297-65AD7BDD09EE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1571291" y="1535113"/>
                <a:ext cx="80963" cy="90487"/>
              </a:xfrm>
              <a:custGeom>
                <a:avLst/>
                <a:gdLst>
                  <a:gd name="T0" fmla="*/ 103 w 103"/>
                  <a:gd name="T1" fmla="*/ 0 h 115"/>
                  <a:gd name="T2" fmla="*/ 103 w 103"/>
                  <a:gd name="T3" fmla="*/ 115 h 115"/>
                  <a:gd name="T4" fmla="*/ 71 w 103"/>
                  <a:gd name="T5" fmla="*/ 115 h 115"/>
                  <a:gd name="T6" fmla="*/ 71 w 103"/>
                  <a:gd name="T7" fmla="*/ 87 h 115"/>
                  <a:gd name="T8" fmla="*/ 54 w 103"/>
                  <a:gd name="T9" fmla="*/ 87 h 115"/>
                  <a:gd name="T10" fmla="*/ 34 w 103"/>
                  <a:gd name="T11" fmla="*/ 115 h 115"/>
                  <a:gd name="T12" fmla="*/ 0 w 103"/>
                  <a:gd name="T13" fmla="*/ 115 h 115"/>
                  <a:gd name="T14" fmla="*/ 23 w 103"/>
                  <a:gd name="T15" fmla="*/ 82 h 115"/>
                  <a:gd name="T16" fmla="*/ 23 w 103"/>
                  <a:gd name="T17" fmla="*/ 82 h 115"/>
                  <a:gd name="T18" fmla="*/ 18 w 103"/>
                  <a:gd name="T19" fmla="*/ 79 h 115"/>
                  <a:gd name="T20" fmla="*/ 13 w 103"/>
                  <a:gd name="T21" fmla="*/ 76 h 115"/>
                  <a:gd name="T22" fmla="*/ 9 w 103"/>
                  <a:gd name="T23" fmla="*/ 72 h 115"/>
                  <a:gd name="T24" fmla="*/ 6 w 103"/>
                  <a:gd name="T25" fmla="*/ 67 h 115"/>
                  <a:gd name="T26" fmla="*/ 6 w 103"/>
                  <a:gd name="T27" fmla="*/ 67 h 115"/>
                  <a:gd name="T28" fmla="*/ 3 w 103"/>
                  <a:gd name="T29" fmla="*/ 62 h 115"/>
                  <a:gd name="T30" fmla="*/ 1 w 103"/>
                  <a:gd name="T31" fmla="*/ 57 h 115"/>
                  <a:gd name="T32" fmla="*/ 0 w 103"/>
                  <a:gd name="T33" fmla="*/ 51 h 115"/>
                  <a:gd name="T34" fmla="*/ 0 w 103"/>
                  <a:gd name="T35" fmla="*/ 44 h 115"/>
                  <a:gd name="T36" fmla="*/ 0 w 103"/>
                  <a:gd name="T37" fmla="*/ 44 h 115"/>
                  <a:gd name="T38" fmla="*/ 0 w 103"/>
                  <a:gd name="T39" fmla="*/ 38 h 115"/>
                  <a:gd name="T40" fmla="*/ 1 w 103"/>
                  <a:gd name="T41" fmla="*/ 32 h 115"/>
                  <a:gd name="T42" fmla="*/ 3 w 103"/>
                  <a:gd name="T43" fmla="*/ 26 h 115"/>
                  <a:gd name="T44" fmla="*/ 6 w 103"/>
                  <a:gd name="T45" fmla="*/ 21 h 115"/>
                  <a:gd name="T46" fmla="*/ 6 w 103"/>
                  <a:gd name="T47" fmla="*/ 21 h 115"/>
                  <a:gd name="T48" fmla="*/ 10 w 103"/>
                  <a:gd name="T49" fmla="*/ 16 h 115"/>
                  <a:gd name="T50" fmla="*/ 14 w 103"/>
                  <a:gd name="T51" fmla="*/ 12 h 115"/>
                  <a:gd name="T52" fmla="*/ 19 w 103"/>
                  <a:gd name="T53" fmla="*/ 8 h 115"/>
                  <a:gd name="T54" fmla="*/ 24 w 103"/>
                  <a:gd name="T55" fmla="*/ 6 h 115"/>
                  <a:gd name="T56" fmla="*/ 24 w 103"/>
                  <a:gd name="T57" fmla="*/ 6 h 115"/>
                  <a:gd name="T58" fmla="*/ 30 w 103"/>
                  <a:gd name="T59" fmla="*/ 3 h 115"/>
                  <a:gd name="T60" fmla="*/ 37 w 103"/>
                  <a:gd name="T61" fmla="*/ 2 h 115"/>
                  <a:gd name="T62" fmla="*/ 45 w 103"/>
                  <a:gd name="T63" fmla="*/ 1 h 115"/>
                  <a:gd name="T64" fmla="*/ 52 w 103"/>
                  <a:gd name="T65" fmla="*/ 1 h 115"/>
                  <a:gd name="T66" fmla="*/ 103 w 103"/>
                  <a:gd name="T67" fmla="*/ 0 h 115"/>
                  <a:gd name="T68" fmla="*/ 32 w 103"/>
                  <a:gd name="T69" fmla="*/ 43 h 115"/>
                  <a:gd name="T70" fmla="*/ 32 w 103"/>
                  <a:gd name="T71" fmla="*/ 43 h 115"/>
                  <a:gd name="T72" fmla="*/ 33 w 103"/>
                  <a:gd name="T73" fmla="*/ 48 h 115"/>
                  <a:gd name="T74" fmla="*/ 34 w 103"/>
                  <a:gd name="T75" fmla="*/ 51 h 115"/>
                  <a:gd name="T76" fmla="*/ 35 w 103"/>
                  <a:gd name="T77" fmla="*/ 54 h 115"/>
                  <a:gd name="T78" fmla="*/ 37 w 103"/>
                  <a:gd name="T79" fmla="*/ 57 h 115"/>
                  <a:gd name="T80" fmla="*/ 37 w 103"/>
                  <a:gd name="T81" fmla="*/ 57 h 115"/>
                  <a:gd name="T82" fmla="*/ 42 w 103"/>
                  <a:gd name="T83" fmla="*/ 59 h 115"/>
                  <a:gd name="T84" fmla="*/ 45 w 103"/>
                  <a:gd name="T85" fmla="*/ 61 h 115"/>
                  <a:gd name="T86" fmla="*/ 49 w 103"/>
                  <a:gd name="T87" fmla="*/ 62 h 115"/>
                  <a:gd name="T88" fmla="*/ 52 w 103"/>
                  <a:gd name="T89" fmla="*/ 62 h 115"/>
                  <a:gd name="T90" fmla="*/ 72 w 103"/>
                  <a:gd name="T91" fmla="*/ 62 h 115"/>
                  <a:gd name="T92" fmla="*/ 72 w 103"/>
                  <a:gd name="T93" fmla="*/ 26 h 115"/>
                  <a:gd name="T94" fmla="*/ 53 w 103"/>
                  <a:gd name="T95" fmla="*/ 26 h 115"/>
                  <a:gd name="T96" fmla="*/ 53 w 103"/>
                  <a:gd name="T97" fmla="*/ 26 h 115"/>
                  <a:gd name="T98" fmla="*/ 48 w 103"/>
                  <a:gd name="T99" fmla="*/ 26 h 115"/>
                  <a:gd name="T100" fmla="*/ 44 w 103"/>
                  <a:gd name="T101" fmla="*/ 27 h 115"/>
                  <a:gd name="T102" fmla="*/ 41 w 103"/>
                  <a:gd name="T103" fmla="*/ 28 h 115"/>
                  <a:gd name="T104" fmla="*/ 37 w 103"/>
                  <a:gd name="T105" fmla="*/ 30 h 115"/>
                  <a:gd name="T106" fmla="*/ 35 w 103"/>
                  <a:gd name="T107" fmla="*/ 32 h 115"/>
                  <a:gd name="T108" fmla="*/ 34 w 103"/>
                  <a:gd name="T109" fmla="*/ 35 h 115"/>
                  <a:gd name="T110" fmla="*/ 33 w 103"/>
                  <a:gd name="T111" fmla="*/ 39 h 115"/>
                  <a:gd name="T112" fmla="*/ 32 w 103"/>
                  <a:gd name="T113" fmla="*/ 43 h 115"/>
                  <a:gd name="T114" fmla="*/ 32 w 103"/>
                  <a:gd name="T115" fmla="*/ 43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03" h="115">
                    <a:moveTo>
                      <a:pt x="103" y="0"/>
                    </a:moveTo>
                    <a:lnTo>
                      <a:pt x="103" y="115"/>
                    </a:lnTo>
                    <a:lnTo>
                      <a:pt x="71" y="115"/>
                    </a:lnTo>
                    <a:lnTo>
                      <a:pt x="71" y="87"/>
                    </a:lnTo>
                    <a:lnTo>
                      <a:pt x="54" y="87"/>
                    </a:lnTo>
                    <a:lnTo>
                      <a:pt x="34" y="115"/>
                    </a:lnTo>
                    <a:lnTo>
                      <a:pt x="0" y="115"/>
                    </a:lnTo>
                    <a:lnTo>
                      <a:pt x="23" y="82"/>
                    </a:lnTo>
                    <a:lnTo>
                      <a:pt x="23" y="82"/>
                    </a:lnTo>
                    <a:lnTo>
                      <a:pt x="18" y="79"/>
                    </a:lnTo>
                    <a:lnTo>
                      <a:pt x="13" y="76"/>
                    </a:lnTo>
                    <a:lnTo>
                      <a:pt x="9" y="72"/>
                    </a:lnTo>
                    <a:lnTo>
                      <a:pt x="6" y="67"/>
                    </a:lnTo>
                    <a:lnTo>
                      <a:pt x="6" y="67"/>
                    </a:lnTo>
                    <a:lnTo>
                      <a:pt x="3" y="62"/>
                    </a:lnTo>
                    <a:lnTo>
                      <a:pt x="1" y="57"/>
                    </a:lnTo>
                    <a:lnTo>
                      <a:pt x="0" y="51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38"/>
                    </a:lnTo>
                    <a:lnTo>
                      <a:pt x="1" y="32"/>
                    </a:lnTo>
                    <a:lnTo>
                      <a:pt x="3" y="26"/>
                    </a:lnTo>
                    <a:lnTo>
                      <a:pt x="6" y="21"/>
                    </a:lnTo>
                    <a:lnTo>
                      <a:pt x="6" y="21"/>
                    </a:lnTo>
                    <a:lnTo>
                      <a:pt x="10" y="16"/>
                    </a:lnTo>
                    <a:lnTo>
                      <a:pt x="14" y="12"/>
                    </a:lnTo>
                    <a:lnTo>
                      <a:pt x="19" y="8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30" y="3"/>
                    </a:lnTo>
                    <a:lnTo>
                      <a:pt x="37" y="2"/>
                    </a:lnTo>
                    <a:lnTo>
                      <a:pt x="45" y="1"/>
                    </a:lnTo>
                    <a:lnTo>
                      <a:pt x="52" y="1"/>
                    </a:lnTo>
                    <a:lnTo>
                      <a:pt x="103" y="0"/>
                    </a:lnTo>
                    <a:close/>
                    <a:moveTo>
                      <a:pt x="32" y="43"/>
                    </a:moveTo>
                    <a:lnTo>
                      <a:pt x="32" y="43"/>
                    </a:lnTo>
                    <a:lnTo>
                      <a:pt x="33" y="48"/>
                    </a:lnTo>
                    <a:lnTo>
                      <a:pt x="34" y="51"/>
                    </a:lnTo>
                    <a:lnTo>
                      <a:pt x="35" y="54"/>
                    </a:lnTo>
                    <a:lnTo>
                      <a:pt x="37" y="57"/>
                    </a:lnTo>
                    <a:lnTo>
                      <a:pt x="37" y="57"/>
                    </a:lnTo>
                    <a:lnTo>
                      <a:pt x="42" y="59"/>
                    </a:lnTo>
                    <a:lnTo>
                      <a:pt x="45" y="61"/>
                    </a:lnTo>
                    <a:lnTo>
                      <a:pt x="49" y="62"/>
                    </a:lnTo>
                    <a:lnTo>
                      <a:pt x="52" y="62"/>
                    </a:lnTo>
                    <a:lnTo>
                      <a:pt x="72" y="62"/>
                    </a:lnTo>
                    <a:lnTo>
                      <a:pt x="72" y="26"/>
                    </a:lnTo>
                    <a:lnTo>
                      <a:pt x="53" y="26"/>
                    </a:lnTo>
                    <a:lnTo>
                      <a:pt x="53" y="26"/>
                    </a:lnTo>
                    <a:lnTo>
                      <a:pt x="48" y="26"/>
                    </a:lnTo>
                    <a:lnTo>
                      <a:pt x="44" y="27"/>
                    </a:lnTo>
                    <a:lnTo>
                      <a:pt x="41" y="28"/>
                    </a:lnTo>
                    <a:lnTo>
                      <a:pt x="37" y="30"/>
                    </a:lnTo>
                    <a:lnTo>
                      <a:pt x="35" y="32"/>
                    </a:lnTo>
                    <a:lnTo>
                      <a:pt x="34" y="35"/>
                    </a:lnTo>
                    <a:lnTo>
                      <a:pt x="33" y="39"/>
                    </a:lnTo>
                    <a:lnTo>
                      <a:pt x="32" y="43"/>
                    </a:lnTo>
                    <a:lnTo>
                      <a:pt x="32" y="4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9DFF351D-2405-4706-884D-A7E7B1B603B0}"/>
                </a:ext>
              </a:extLst>
            </p:cNvPr>
            <p:cNvGrpSpPr/>
            <p:nvPr userDrawn="1"/>
          </p:nvGrpSpPr>
          <p:grpSpPr>
            <a:xfrm>
              <a:off x="10332720" y="658368"/>
              <a:ext cx="670092" cy="617763"/>
              <a:chOff x="10301291" y="611188"/>
              <a:chExt cx="731838" cy="674687"/>
            </a:xfrm>
          </p:grpSpPr>
          <p:sp>
            <p:nvSpPr>
              <p:cNvPr id="46" name="Freeform 28">
                <a:extLst>
                  <a:ext uri="{FF2B5EF4-FFF2-40B4-BE49-F238E27FC236}">
                    <a16:creationId xmlns:a16="http://schemas.microsoft.com/office/drawing/2014/main" id="{A18B7D8C-C650-4C68-8B27-D60E33A0313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301291" y="611188"/>
                <a:ext cx="731838" cy="674687"/>
              </a:xfrm>
              <a:custGeom>
                <a:avLst/>
                <a:gdLst>
                  <a:gd name="T0" fmla="*/ 922 w 922"/>
                  <a:gd name="T1" fmla="*/ 0 h 850"/>
                  <a:gd name="T2" fmla="*/ 922 w 922"/>
                  <a:gd name="T3" fmla="*/ 850 h 850"/>
                  <a:gd name="T4" fmla="*/ 0 w 922"/>
                  <a:gd name="T5" fmla="*/ 850 h 850"/>
                  <a:gd name="T6" fmla="*/ 922 w 922"/>
                  <a:gd name="T7" fmla="*/ 0 h 8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22" h="850">
                    <a:moveTo>
                      <a:pt x="922" y="0"/>
                    </a:moveTo>
                    <a:lnTo>
                      <a:pt x="922" y="850"/>
                    </a:lnTo>
                    <a:lnTo>
                      <a:pt x="0" y="850"/>
                    </a:lnTo>
                    <a:lnTo>
                      <a:pt x="922" y="0"/>
                    </a:lnTo>
                    <a:close/>
                  </a:path>
                </a:pathLst>
              </a:custGeom>
              <a:solidFill>
                <a:srgbClr val="46AC4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9">
                <a:extLst>
                  <a:ext uri="{FF2B5EF4-FFF2-40B4-BE49-F238E27FC236}">
                    <a16:creationId xmlns:a16="http://schemas.microsoft.com/office/drawing/2014/main" id="{B02155A8-58F5-4214-8426-93F9063D904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877554" y="611188"/>
                <a:ext cx="155575" cy="674687"/>
              </a:xfrm>
              <a:custGeom>
                <a:avLst/>
                <a:gdLst>
                  <a:gd name="T0" fmla="*/ 196 w 196"/>
                  <a:gd name="T1" fmla="*/ 0 h 850"/>
                  <a:gd name="T2" fmla="*/ 196 w 196"/>
                  <a:gd name="T3" fmla="*/ 850 h 850"/>
                  <a:gd name="T4" fmla="*/ 0 w 196"/>
                  <a:gd name="T5" fmla="*/ 850 h 850"/>
                  <a:gd name="T6" fmla="*/ 0 w 196"/>
                  <a:gd name="T7" fmla="*/ 181 h 850"/>
                  <a:gd name="T8" fmla="*/ 196 w 196"/>
                  <a:gd name="T9" fmla="*/ 0 h 8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6" h="850">
                    <a:moveTo>
                      <a:pt x="196" y="0"/>
                    </a:moveTo>
                    <a:lnTo>
                      <a:pt x="196" y="850"/>
                    </a:lnTo>
                    <a:lnTo>
                      <a:pt x="0" y="850"/>
                    </a:lnTo>
                    <a:lnTo>
                      <a:pt x="0" y="181"/>
                    </a:lnTo>
                    <a:lnTo>
                      <a:pt x="196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30">
                <a:extLst>
                  <a:ext uri="{FF2B5EF4-FFF2-40B4-BE49-F238E27FC236}">
                    <a16:creationId xmlns:a16="http://schemas.microsoft.com/office/drawing/2014/main" id="{FD43362B-BCFA-49D9-AE9A-4117D69D1D19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301291" y="625475"/>
                <a:ext cx="493713" cy="660400"/>
              </a:xfrm>
              <a:custGeom>
                <a:avLst/>
                <a:gdLst>
                  <a:gd name="T0" fmla="*/ 339 w 622"/>
                  <a:gd name="T1" fmla="*/ 302 h 833"/>
                  <a:gd name="T2" fmla="*/ 366 w 622"/>
                  <a:gd name="T3" fmla="*/ 303 h 833"/>
                  <a:gd name="T4" fmla="*/ 419 w 622"/>
                  <a:gd name="T5" fmla="*/ 309 h 833"/>
                  <a:gd name="T6" fmla="*/ 447 w 622"/>
                  <a:gd name="T7" fmla="*/ 315 h 833"/>
                  <a:gd name="T8" fmla="*/ 493 w 622"/>
                  <a:gd name="T9" fmla="*/ 332 h 833"/>
                  <a:gd name="T10" fmla="*/ 536 w 622"/>
                  <a:gd name="T11" fmla="*/ 358 h 833"/>
                  <a:gd name="T12" fmla="*/ 546 w 622"/>
                  <a:gd name="T13" fmla="*/ 366 h 833"/>
                  <a:gd name="T14" fmla="*/ 564 w 622"/>
                  <a:gd name="T15" fmla="*/ 383 h 833"/>
                  <a:gd name="T16" fmla="*/ 580 w 622"/>
                  <a:gd name="T17" fmla="*/ 404 h 833"/>
                  <a:gd name="T18" fmla="*/ 594 w 622"/>
                  <a:gd name="T19" fmla="*/ 428 h 833"/>
                  <a:gd name="T20" fmla="*/ 600 w 622"/>
                  <a:gd name="T21" fmla="*/ 440 h 833"/>
                  <a:gd name="T22" fmla="*/ 609 w 622"/>
                  <a:gd name="T23" fmla="*/ 468 h 833"/>
                  <a:gd name="T24" fmla="*/ 616 w 622"/>
                  <a:gd name="T25" fmla="*/ 500 h 833"/>
                  <a:gd name="T26" fmla="*/ 620 w 622"/>
                  <a:gd name="T27" fmla="*/ 532 h 833"/>
                  <a:gd name="T28" fmla="*/ 622 w 622"/>
                  <a:gd name="T29" fmla="*/ 568 h 833"/>
                  <a:gd name="T30" fmla="*/ 621 w 622"/>
                  <a:gd name="T31" fmla="*/ 586 h 833"/>
                  <a:gd name="T32" fmla="*/ 619 w 622"/>
                  <a:gd name="T33" fmla="*/ 620 h 833"/>
                  <a:gd name="T34" fmla="*/ 613 w 622"/>
                  <a:gd name="T35" fmla="*/ 653 h 833"/>
                  <a:gd name="T36" fmla="*/ 605 w 622"/>
                  <a:gd name="T37" fmla="*/ 682 h 833"/>
                  <a:gd name="T38" fmla="*/ 600 w 622"/>
                  <a:gd name="T39" fmla="*/ 695 h 833"/>
                  <a:gd name="T40" fmla="*/ 587 w 622"/>
                  <a:gd name="T41" fmla="*/ 720 h 833"/>
                  <a:gd name="T42" fmla="*/ 573 w 622"/>
                  <a:gd name="T43" fmla="*/ 742 h 833"/>
                  <a:gd name="T44" fmla="*/ 555 w 622"/>
                  <a:gd name="T45" fmla="*/ 761 h 833"/>
                  <a:gd name="T46" fmla="*/ 536 w 622"/>
                  <a:gd name="T47" fmla="*/ 779 h 833"/>
                  <a:gd name="T48" fmla="*/ 515 w 622"/>
                  <a:gd name="T49" fmla="*/ 792 h 833"/>
                  <a:gd name="T50" fmla="*/ 470 w 622"/>
                  <a:gd name="T51" fmla="*/ 813 h 833"/>
                  <a:gd name="T52" fmla="*/ 447 w 622"/>
                  <a:gd name="T53" fmla="*/ 820 h 833"/>
                  <a:gd name="T54" fmla="*/ 392 w 622"/>
                  <a:gd name="T55" fmla="*/ 830 h 833"/>
                  <a:gd name="T56" fmla="*/ 338 w 622"/>
                  <a:gd name="T57" fmla="*/ 833 h 833"/>
                  <a:gd name="T58" fmla="*/ 0 w 622"/>
                  <a:gd name="T59" fmla="*/ 0 h 833"/>
                  <a:gd name="T60" fmla="*/ 558 w 622"/>
                  <a:gd name="T61" fmla="*/ 187 h 833"/>
                  <a:gd name="T62" fmla="*/ 187 w 622"/>
                  <a:gd name="T63" fmla="*/ 302 h 833"/>
                  <a:gd name="T64" fmla="*/ 338 w 622"/>
                  <a:gd name="T65" fmla="*/ 661 h 833"/>
                  <a:gd name="T66" fmla="*/ 349 w 622"/>
                  <a:gd name="T67" fmla="*/ 660 h 833"/>
                  <a:gd name="T68" fmla="*/ 368 w 622"/>
                  <a:gd name="T69" fmla="*/ 658 h 833"/>
                  <a:gd name="T70" fmla="*/ 384 w 622"/>
                  <a:gd name="T71" fmla="*/ 652 h 833"/>
                  <a:gd name="T72" fmla="*/ 397 w 622"/>
                  <a:gd name="T73" fmla="*/ 644 h 833"/>
                  <a:gd name="T74" fmla="*/ 408 w 622"/>
                  <a:gd name="T75" fmla="*/ 634 h 833"/>
                  <a:gd name="T76" fmla="*/ 416 w 622"/>
                  <a:gd name="T77" fmla="*/ 620 h 833"/>
                  <a:gd name="T78" fmla="*/ 422 w 622"/>
                  <a:gd name="T79" fmla="*/ 604 h 833"/>
                  <a:gd name="T80" fmla="*/ 424 w 622"/>
                  <a:gd name="T81" fmla="*/ 586 h 833"/>
                  <a:gd name="T82" fmla="*/ 425 w 622"/>
                  <a:gd name="T83" fmla="*/ 575 h 833"/>
                  <a:gd name="T84" fmla="*/ 423 w 622"/>
                  <a:gd name="T85" fmla="*/ 556 h 833"/>
                  <a:gd name="T86" fmla="*/ 419 w 622"/>
                  <a:gd name="T87" fmla="*/ 539 h 833"/>
                  <a:gd name="T88" fmla="*/ 413 w 622"/>
                  <a:gd name="T89" fmla="*/ 524 h 833"/>
                  <a:gd name="T90" fmla="*/ 403 w 622"/>
                  <a:gd name="T91" fmla="*/ 512 h 833"/>
                  <a:gd name="T92" fmla="*/ 391 w 622"/>
                  <a:gd name="T93" fmla="*/ 503 h 833"/>
                  <a:gd name="T94" fmla="*/ 376 w 622"/>
                  <a:gd name="T95" fmla="*/ 497 h 833"/>
                  <a:gd name="T96" fmla="*/ 358 w 622"/>
                  <a:gd name="T97" fmla="*/ 493 h 833"/>
                  <a:gd name="T98" fmla="*/ 338 w 622"/>
                  <a:gd name="T99" fmla="*/ 491 h 833"/>
                  <a:gd name="T100" fmla="*/ 187 w 622"/>
                  <a:gd name="T101" fmla="*/ 661 h 8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622" h="833">
                    <a:moveTo>
                      <a:pt x="187" y="302"/>
                    </a:moveTo>
                    <a:lnTo>
                      <a:pt x="339" y="302"/>
                    </a:lnTo>
                    <a:lnTo>
                      <a:pt x="339" y="302"/>
                    </a:lnTo>
                    <a:lnTo>
                      <a:pt x="366" y="303"/>
                    </a:lnTo>
                    <a:lnTo>
                      <a:pt x="393" y="305"/>
                    </a:lnTo>
                    <a:lnTo>
                      <a:pt x="419" y="309"/>
                    </a:lnTo>
                    <a:lnTo>
                      <a:pt x="447" y="315"/>
                    </a:lnTo>
                    <a:lnTo>
                      <a:pt x="447" y="315"/>
                    </a:lnTo>
                    <a:lnTo>
                      <a:pt x="471" y="323"/>
                    </a:lnTo>
                    <a:lnTo>
                      <a:pt x="493" y="332"/>
                    </a:lnTo>
                    <a:lnTo>
                      <a:pt x="515" y="345"/>
                    </a:lnTo>
                    <a:lnTo>
                      <a:pt x="536" y="358"/>
                    </a:lnTo>
                    <a:lnTo>
                      <a:pt x="536" y="358"/>
                    </a:lnTo>
                    <a:lnTo>
                      <a:pt x="546" y="366"/>
                    </a:lnTo>
                    <a:lnTo>
                      <a:pt x="555" y="374"/>
                    </a:lnTo>
                    <a:lnTo>
                      <a:pt x="564" y="383"/>
                    </a:lnTo>
                    <a:lnTo>
                      <a:pt x="573" y="393"/>
                    </a:lnTo>
                    <a:lnTo>
                      <a:pt x="580" y="404"/>
                    </a:lnTo>
                    <a:lnTo>
                      <a:pt x="587" y="415"/>
                    </a:lnTo>
                    <a:lnTo>
                      <a:pt x="594" y="428"/>
                    </a:lnTo>
                    <a:lnTo>
                      <a:pt x="600" y="440"/>
                    </a:lnTo>
                    <a:lnTo>
                      <a:pt x="600" y="440"/>
                    </a:lnTo>
                    <a:lnTo>
                      <a:pt x="605" y="454"/>
                    </a:lnTo>
                    <a:lnTo>
                      <a:pt x="609" y="468"/>
                    </a:lnTo>
                    <a:lnTo>
                      <a:pt x="613" y="484"/>
                    </a:lnTo>
                    <a:lnTo>
                      <a:pt x="616" y="500"/>
                    </a:lnTo>
                    <a:lnTo>
                      <a:pt x="619" y="516"/>
                    </a:lnTo>
                    <a:lnTo>
                      <a:pt x="620" y="532"/>
                    </a:lnTo>
                    <a:lnTo>
                      <a:pt x="621" y="550"/>
                    </a:lnTo>
                    <a:lnTo>
                      <a:pt x="622" y="568"/>
                    </a:lnTo>
                    <a:lnTo>
                      <a:pt x="622" y="568"/>
                    </a:lnTo>
                    <a:lnTo>
                      <a:pt x="621" y="586"/>
                    </a:lnTo>
                    <a:lnTo>
                      <a:pt x="620" y="603"/>
                    </a:lnTo>
                    <a:lnTo>
                      <a:pt x="619" y="620"/>
                    </a:lnTo>
                    <a:lnTo>
                      <a:pt x="616" y="637"/>
                    </a:lnTo>
                    <a:lnTo>
                      <a:pt x="613" y="653"/>
                    </a:lnTo>
                    <a:lnTo>
                      <a:pt x="609" y="668"/>
                    </a:lnTo>
                    <a:lnTo>
                      <a:pt x="605" y="682"/>
                    </a:lnTo>
                    <a:lnTo>
                      <a:pt x="600" y="695"/>
                    </a:lnTo>
                    <a:lnTo>
                      <a:pt x="600" y="695"/>
                    </a:lnTo>
                    <a:lnTo>
                      <a:pt x="594" y="708"/>
                    </a:lnTo>
                    <a:lnTo>
                      <a:pt x="587" y="720"/>
                    </a:lnTo>
                    <a:lnTo>
                      <a:pt x="580" y="732"/>
                    </a:lnTo>
                    <a:lnTo>
                      <a:pt x="573" y="742"/>
                    </a:lnTo>
                    <a:lnTo>
                      <a:pt x="564" y="752"/>
                    </a:lnTo>
                    <a:lnTo>
                      <a:pt x="555" y="761"/>
                    </a:lnTo>
                    <a:lnTo>
                      <a:pt x="546" y="771"/>
                    </a:lnTo>
                    <a:lnTo>
                      <a:pt x="536" y="779"/>
                    </a:lnTo>
                    <a:lnTo>
                      <a:pt x="536" y="779"/>
                    </a:lnTo>
                    <a:lnTo>
                      <a:pt x="515" y="792"/>
                    </a:lnTo>
                    <a:lnTo>
                      <a:pt x="493" y="804"/>
                    </a:lnTo>
                    <a:lnTo>
                      <a:pt x="470" y="813"/>
                    </a:lnTo>
                    <a:lnTo>
                      <a:pt x="447" y="820"/>
                    </a:lnTo>
                    <a:lnTo>
                      <a:pt x="447" y="820"/>
                    </a:lnTo>
                    <a:lnTo>
                      <a:pt x="419" y="826"/>
                    </a:lnTo>
                    <a:lnTo>
                      <a:pt x="392" y="830"/>
                    </a:lnTo>
                    <a:lnTo>
                      <a:pt x="365" y="833"/>
                    </a:lnTo>
                    <a:lnTo>
                      <a:pt x="338" y="833"/>
                    </a:lnTo>
                    <a:lnTo>
                      <a:pt x="0" y="833"/>
                    </a:lnTo>
                    <a:lnTo>
                      <a:pt x="0" y="0"/>
                    </a:lnTo>
                    <a:lnTo>
                      <a:pt x="558" y="0"/>
                    </a:lnTo>
                    <a:lnTo>
                      <a:pt x="558" y="187"/>
                    </a:lnTo>
                    <a:lnTo>
                      <a:pt x="187" y="187"/>
                    </a:lnTo>
                    <a:lnTo>
                      <a:pt x="187" y="302"/>
                    </a:lnTo>
                    <a:close/>
                    <a:moveTo>
                      <a:pt x="187" y="661"/>
                    </a:moveTo>
                    <a:lnTo>
                      <a:pt x="338" y="661"/>
                    </a:lnTo>
                    <a:lnTo>
                      <a:pt x="338" y="661"/>
                    </a:lnTo>
                    <a:lnTo>
                      <a:pt x="349" y="660"/>
                    </a:lnTo>
                    <a:lnTo>
                      <a:pt x="358" y="659"/>
                    </a:lnTo>
                    <a:lnTo>
                      <a:pt x="368" y="658"/>
                    </a:lnTo>
                    <a:lnTo>
                      <a:pt x="376" y="655"/>
                    </a:lnTo>
                    <a:lnTo>
                      <a:pt x="384" y="652"/>
                    </a:lnTo>
                    <a:lnTo>
                      <a:pt x="391" y="649"/>
                    </a:lnTo>
                    <a:lnTo>
                      <a:pt x="397" y="644"/>
                    </a:lnTo>
                    <a:lnTo>
                      <a:pt x="403" y="640"/>
                    </a:lnTo>
                    <a:lnTo>
                      <a:pt x="408" y="634"/>
                    </a:lnTo>
                    <a:lnTo>
                      <a:pt x="413" y="628"/>
                    </a:lnTo>
                    <a:lnTo>
                      <a:pt x="416" y="620"/>
                    </a:lnTo>
                    <a:lnTo>
                      <a:pt x="419" y="612"/>
                    </a:lnTo>
                    <a:lnTo>
                      <a:pt x="422" y="604"/>
                    </a:lnTo>
                    <a:lnTo>
                      <a:pt x="423" y="595"/>
                    </a:lnTo>
                    <a:lnTo>
                      <a:pt x="424" y="586"/>
                    </a:lnTo>
                    <a:lnTo>
                      <a:pt x="425" y="575"/>
                    </a:lnTo>
                    <a:lnTo>
                      <a:pt x="425" y="575"/>
                    </a:lnTo>
                    <a:lnTo>
                      <a:pt x="424" y="565"/>
                    </a:lnTo>
                    <a:lnTo>
                      <a:pt x="423" y="556"/>
                    </a:lnTo>
                    <a:lnTo>
                      <a:pt x="422" y="547"/>
                    </a:lnTo>
                    <a:lnTo>
                      <a:pt x="419" y="539"/>
                    </a:lnTo>
                    <a:lnTo>
                      <a:pt x="416" y="531"/>
                    </a:lnTo>
                    <a:lnTo>
                      <a:pt x="413" y="524"/>
                    </a:lnTo>
                    <a:lnTo>
                      <a:pt x="408" y="518"/>
                    </a:lnTo>
                    <a:lnTo>
                      <a:pt x="403" y="512"/>
                    </a:lnTo>
                    <a:lnTo>
                      <a:pt x="397" y="507"/>
                    </a:lnTo>
                    <a:lnTo>
                      <a:pt x="391" y="503"/>
                    </a:lnTo>
                    <a:lnTo>
                      <a:pt x="384" y="500"/>
                    </a:lnTo>
                    <a:lnTo>
                      <a:pt x="376" y="497"/>
                    </a:lnTo>
                    <a:lnTo>
                      <a:pt x="368" y="494"/>
                    </a:lnTo>
                    <a:lnTo>
                      <a:pt x="358" y="493"/>
                    </a:lnTo>
                    <a:lnTo>
                      <a:pt x="349" y="492"/>
                    </a:lnTo>
                    <a:lnTo>
                      <a:pt x="338" y="491"/>
                    </a:lnTo>
                    <a:lnTo>
                      <a:pt x="187" y="491"/>
                    </a:lnTo>
                    <a:lnTo>
                      <a:pt x="187" y="66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55325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De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close up of some leaves&#10;&#10;Description automatically generated with low confidence">
            <a:extLst>
              <a:ext uri="{FF2B5EF4-FFF2-40B4-BE49-F238E27FC236}">
                <a16:creationId xmlns:a16="http://schemas.microsoft.com/office/drawing/2014/main" id="{A51D184C-7DCE-5A93-6B49-5FFFC6E82FA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4114" y="2360140"/>
            <a:ext cx="4897886" cy="4497859"/>
          </a:xfrm>
          <a:prstGeom prst="rect">
            <a:avLst/>
          </a:prstGeom>
        </p:spPr>
      </p:pic>
      <p:grpSp>
        <p:nvGrpSpPr>
          <p:cNvPr id="34" name="Group 33">
            <a:extLst>
              <a:ext uri="{FF2B5EF4-FFF2-40B4-BE49-F238E27FC236}">
                <a16:creationId xmlns:a16="http://schemas.microsoft.com/office/drawing/2014/main" id="{184A9C26-B073-481C-8630-88721BDD84BF}"/>
              </a:ext>
            </a:extLst>
          </p:cNvPr>
          <p:cNvGrpSpPr/>
          <p:nvPr userDrawn="1"/>
        </p:nvGrpSpPr>
        <p:grpSpPr>
          <a:xfrm>
            <a:off x="10346853" y="658368"/>
            <a:ext cx="1319534" cy="970407"/>
            <a:chOff x="10332720" y="658368"/>
            <a:chExt cx="1319534" cy="970407"/>
          </a:xfrm>
        </p:grpSpPr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51EB7887-55ED-4A08-A11B-4E97D8FE3771}"/>
                </a:ext>
              </a:extLst>
            </p:cNvPr>
            <p:cNvGrpSpPr/>
            <p:nvPr userDrawn="1"/>
          </p:nvGrpSpPr>
          <p:grpSpPr>
            <a:xfrm>
              <a:off x="10344154" y="1376363"/>
              <a:ext cx="1308100" cy="252412"/>
              <a:chOff x="10344154" y="1376363"/>
              <a:chExt cx="1308100" cy="252412"/>
            </a:xfrm>
          </p:grpSpPr>
          <p:sp>
            <p:nvSpPr>
              <p:cNvPr id="71" name="Freeform 5">
                <a:extLst>
                  <a:ext uri="{FF2B5EF4-FFF2-40B4-BE49-F238E27FC236}">
                    <a16:creationId xmlns:a16="http://schemas.microsoft.com/office/drawing/2014/main" id="{641CEAF1-4868-4195-9D1F-FBA93ABCC38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344154" y="1379538"/>
                <a:ext cx="85725" cy="90487"/>
              </a:xfrm>
              <a:custGeom>
                <a:avLst/>
                <a:gdLst>
                  <a:gd name="T0" fmla="*/ 109 w 109"/>
                  <a:gd name="T1" fmla="*/ 0 h 115"/>
                  <a:gd name="T2" fmla="*/ 109 w 109"/>
                  <a:gd name="T3" fmla="*/ 115 h 115"/>
                  <a:gd name="T4" fmla="*/ 77 w 109"/>
                  <a:gd name="T5" fmla="*/ 115 h 115"/>
                  <a:gd name="T6" fmla="*/ 77 w 109"/>
                  <a:gd name="T7" fmla="*/ 69 h 115"/>
                  <a:gd name="T8" fmla="*/ 32 w 109"/>
                  <a:gd name="T9" fmla="*/ 69 h 115"/>
                  <a:gd name="T10" fmla="*/ 32 w 109"/>
                  <a:gd name="T11" fmla="*/ 115 h 115"/>
                  <a:gd name="T12" fmla="*/ 0 w 109"/>
                  <a:gd name="T13" fmla="*/ 115 h 115"/>
                  <a:gd name="T14" fmla="*/ 0 w 109"/>
                  <a:gd name="T15" fmla="*/ 0 h 115"/>
                  <a:gd name="T16" fmla="*/ 32 w 109"/>
                  <a:gd name="T17" fmla="*/ 0 h 115"/>
                  <a:gd name="T18" fmla="*/ 32 w 109"/>
                  <a:gd name="T19" fmla="*/ 43 h 115"/>
                  <a:gd name="T20" fmla="*/ 77 w 109"/>
                  <a:gd name="T21" fmla="*/ 43 h 115"/>
                  <a:gd name="T22" fmla="*/ 77 w 109"/>
                  <a:gd name="T23" fmla="*/ 0 h 115"/>
                  <a:gd name="T24" fmla="*/ 109 w 109"/>
                  <a:gd name="T25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9" h="115">
                    <a:moveTo>
                      <a:pt x="109" y="0"/>
                    </a:moveTo>
                    <a:lnTo>
                      <a:pt x="109" y="115"/>
                    </a:lnTo>
                    <a:lnTo>
                      <a:pt x="77" y="115"/>
                    </a:lnTo>
                    <a:lnTo>
                      <a:pt x="77" y="69"/>
                    </a:lnTo>
                    <a:lnTo>
                      <a:pt x="32" y="69"/>
                    </a:lnTo>
                    <a:lnTo>
                      <a:pt x="3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2" y="0"/>
                    </a:lnTo>
                    <a:lnTo>
                      <a:pt x="32" y="43"/>
                    </a:lnTo>
                    <a:lnTo>
                      <a:pt x="77" y="43"/>
                    </a:lnTo>
                    <a:lnTo>
                      <a:pt x="77" y="0"/>
                    </a:lnTo>
                    <a:lnTo>
                      <a:pt x="109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6">
                <a:extLst>
                  <a:ext uri="{FF2B5EF4-FFF2-40B4-BE49-F238E27FC236}">
                    <a16:creationId xmlns:a16="http://schemas.microsoft.com/office/drawing/2014/main" id="{99AE550A-2F0E-41E8-9759-B1721809C5DC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447341" y="1377950"/>
                <a:ext cx="101600" cy="93662"/>
              </a:xfrm>
              <a:custGeom>
                <a:avLst/>
                <a:gdLst>
                  <a:gd name="T0" fmla="*/ 31 w 128"/>
                  <a:gd name="T1" fmla="*/ 112 h 119"/>
                  <a:gd name="T2" fmla="*/ 21 w 128"/>
                  <a:gd name="T3" fmla="*/ 105 h 119"/>
                  <a:gd name="T4" fmla="*/ 6 w 128"/>
                  <a:gd name="T5" fmla="*/ 87 h 119"/>
                  <a:gd name="T6" fmla="*/ 0 w 128"/>
                  <a:gd name="T7" fmla="*/ 65 h 119"/>
                  <a:gd name="T8" fmla="*/ 2 w 128"/>
                  <a:gd name="T9" fmla="*/ 43 h 119"/>
                  <a:gd name="T10" fmla="*/ 6 w 128"/>
                  <a:gd name="T11" fmla="*/ 32 h 119"/>
                  <a:gd name="T12" fmla="*/ 11 w 128"/>
                  <a:gd name="T13" fmla="*/ 24 h 119"/>
                  <a:gd name="T14" fmla="*/ 23 w 128"/>
                  <a:gd name="T15" fmla="*/ 12 h 119"/>
                  <a:gd name="T16" fmla="*/ 31 w 128"/>
                  <a:gd name="T17" fmla="*/ 7 h 119"/>
                  <a:gd name="T18" fmla="*/ 46 w 128"/>
                  <a:gd name="T19" fmla="*/ 2 h 119"/>
                  <a:gd name="T20" fmla="*/ 64 w 128"/>
                  <a:gd name="T21" fmla="*/ 0 h 119"/>
                  <a:gd name="T22" fmla="*/ 81 w 128"/>
                  <a:gd name="T23" fmla="*/ 2 h 119"/>
                  <a:gd name="T24" fmla="*/ 97 w 128"/>
                  <a:gd name="T25" fmla="*/ 7 h 119"/>
                  <a:gd name="T26" fmla="*/ 102 w 128"/>
                  <a:gd name="T27" fmla="*/ 10 h 119"/>
                  <a:gd name="T28" fmla="*/ 115 w 128"/>
                  <a:gd name="T29" fmla="*/ 22 h 119"/>
                  <a:gd name="T30" fmla="*/ 125 w 128"/>
                  <a:gd name="T31" fmla="*/ 42 h 119"/>
                  <a:gd name="T32" fmla="*/ 128 w 128"/>
                  <a:gd name="T33" fmla="*/ 64 h 119"/>
                  <a:gd name="T34" fmla="*/ 124 w 128"/>
                  <a:gd name="T35" fmla="*/ 81 h 119"/>
                  <a:gd name="T36" fmla="*/ 121 w 128"/>
                  <a:gd name="T37" fmla="*/ 86 h 119"/>
                  <a:gd name="T38" fmla="*/ 111 w 128"/>
                  <a:gd name="T39" fmla="*/ 100 h 119"/>
                  <a:gd name="T40" fmla="*/ 97 w 128"/>
                  <a:gd name="T41" fmla="*/ 112 h 119"/>
                  <a:gd name="T42" fmla="*/ 89 w 128"/>
                  <a:gd name="T43" fmla="*/ 115 h 119"/>
                  <a:gd name="T44" fmla="*/ 72 w 128"/>
                  <a:gd name="T45" fmla="*/ 119 h 119"/>
                  <a:gd name="T46" fmla="*/ 55 w 128"/>
                  <a:gd name="T47" fmla="*/ 119 h 119"/>
                  <a:gd name="T48" fmla="*/ 38 w 128"/>
                  <a:gd name="T49" fmla="*/ 115 h 119"/>
                  <a:gd name="T50" fmla="*/ 31 w 128"/>
                  <a:gd name="T51" fmla="*/ 112 h 119"/>
                  <a:gd name="T52" fmla="*/ 80 w 128"/>
                  <a:gd name="T53" fmla="*/ 87 h 119"/>
                  <a:gd name="T54" fmla="*/ 91 w 128"/>
                  <a:gd name="T55" fmla="*/ 76 h 119"/>
                  <a:gd name="T56" fmla="*/ 94 w 128"/>
                  <a:gd name="T57" fmla="*/ 68 h 119"/>
                  <a:gd name="T58" fmla="*/ 94 w 128"/>
                  <a:gd name="T59" fmla="*/ 50 h 119"/>
                  <a:gd name="T60" fmla="*/ 91 w 128"/>
                  <a:gd name="T61" fmla="*/ 42 h 119"/>
                  <a:gd name="T62" fmla="*/ 80 w 128"/>
                  <a:gd name="T63" fmla="*/ 30 h 119"/>
                  <a:gd name="T64" fmla="*/ 72 w 128"/>
                  <a:gd name="T65" fmla="*/ 27 h 119"/>
                  <a:gd name="T66" fmla="*/ 55 w 128"/>
                  <a:gd name="T67" fmla="*/ 27 h 119"/>
                  <a:gd name="T68" fmla="*/ 47 w 128"/>
                  <a:gd name="T69" fmla="*/ 30 h 119"/>
                  <a:gd name="T70" fmla="*/ 36 w 128"/>
                  <a:gd name="T71" fmla="*/ 42 h 119"/>
                  <a:gd name="T72" fmla="*/ 33 w 128"/>
                  <a:gd name="T73" fmla="*/ 50 h 119"/>
                  <a:gd name="T74" fmla="*/ 33 w 128"/>
                  <a:gd name="T75" fmla="*/ 68 h 119"/>
                  <a:gd name="T76" fmla="*/ 36 w 128"/>
                  <a:gd name="T77" fmla="*/ 76 h 119"/>
                  <a:gd name="T78" fmla="*/ 47 w 128"/>
                  <a:gd name="T79" fmla="*/ 87 h 119"/>
                  <a:gd name="T80" fmla="*/ 55 w 128"/>
                  <a:gd name="T81" fmla="*/ 90 h 119"/>
                  <a:gd name="T82" fmla="*/ 72 w 128"/>
                  <a:gd name="T83" fmla="*/ 90 h 119"/>
                  <a:gd name="T84" fmla="*/ 80 w 128"/>
                  <a:gd name="T85" fmla="*/ 87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28" h="119">
                    <a:moveTo>
                      <a:pt x="31" y="112"/>
                    </a:moveTo>
                    <a:lnTo>
                      <a:pt x="31" y="112"/>
                    </a:lnTo>
                    <a:lnTo>
                      <a:pt x="25" y="109"/>
                    </a:lnTo>
                    <a:lnTo>
                      <a:pt x="21" y="105"/>
                    </a:lnTo>
                    <a:lnTo>
                      <a:pt x="13" y="96"/>
                    </a:lnTo>
                    <a:lnTo>
                      <a:pt x="6" y="87"/>
                    </a:lnTo>
                    <a:lnTo>
                      <a:pt x="2" y="76"/>
                    </a:lnTo>
                    <a:lnTo>
                      <a:pt x="0" y="65"/>
                    </a:lnTo>
                    <a:lnTo>
                      <a:pt x="0" y="54"/>
                    </a:lnTo>
                    <a:lnTo>
                      <a:pt x="2" y="43"/>
                    </a:lnTo>
                    <a:lnTo>
                      <a:pt x="4" y="37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11" y="24"/>
                    </a:lnTo>
                    <a:lnTo>
                      <a:pt x="16" y="18"/>
                    </a:lnTo>
                    <a:lnTo>
                      <a:pt x="23" y="12"/>
                    </a:lnTo>
                    <a:lnTo>
                      <a:pt x="31" y="7"/>
                    </a:lnTo>
                    <a:lnTo>
                      <a:pt x="31" y="7"/>
                    </a:lnTo>
                    <a:lnTo>
                      <a:pt x="38" y="4"/>
                    </a:lnTo>
                    <a:lnTo>
                      <a:pt x="46" y="2"/>
                    </a:lnTo>
                    <a:lnTo>
                      <a:pt x="55" y="0"/>
                    </a:lnTo>
                    <a:lnTo>
                      <a:pt x="64" y="0"/>
                    </a:lnTo>
                    <a:lnTo>
                      <a:pt x="72" y="0"/>
                    </a:lnTo>
                    <a:lnTo>
                      <a:pt x="81" y="2"/>
                    </a:lnTo>
                    <a:lnTo>
                      <a:pt x="89" y="4"/>
                    </a:lnTo>
                    <a:lnTo>
                      <a:pt x="97" y="7"/>
                    </a:lnTo>
                    <a:lnTo>
                      <a:pt x="97" y="7"/>
                    </a:lnTo>
                    <a:lnTo>
                      <a:pt x="102" y="10"/>
                    </a:lnTo>
                    <a:lnTo>
                      <a:pt x="106" y="14"/>
                    </a:lnTo>
                    <a:lnTo>
                      <a:pt x="115" y="22"/>
                    </a:lnTo>
                    <a:lnTo>
                      <a:pt x="121" y="31"/>
                    </a:lnTo>
                    <a:lnTo>
                      <a:pt x="125" y="42"/>
                    </a:lnTo>
                    <a:lnTo>
                      <a:pt x="127" y="53"/>
                    </a:lnTo>
                    <a:lnTo>
                      <a:pt x="128" y="64"/>
                    </a:lnTo>
                    <a:lnTo>
                      <a:pt x="125" y="75"/>
                    </a:lnTo>
                    <a:lnTo>
                      <a:pt x="124" y="81"/>
                    </a:lnTo>
                    <a:lnTo>
                      <a:pt x="121" y="86"/>
                    </a:lnTo>
                    <a:lnTo>
                      <a:pt x="121" y="86"/>
                    </a:lnTo>
                    <a:lnTo>
                      <a:pt x="116" y="94"/>
                    </a:lnTo>
                    <a:lnTo>
                      <a:pt x="111" y="100"/>
                    </a:lnTo>
                    <a:lnTo>
                      <a:pt x="104" y="107"/>
                    </a:lnTo>
                    <a:lnTo>
                      <a:pt x="97" y="112"/>
                    </a:lnTo>
                    <a:lnTo>
                      <a:pt x="97" y="112"/>
                    </a:lnTo>
                    <a:lnTo>
                      <a:pt x="89" y="115"/>
                    </a:lnTo>
                    <a:lnTo>
                      <a:pt x="81" y="117"/>
                    </a:lnTo>
                    <a:lnTo>
                      <a:pt x="72" y="119"/>
                    </a:lnTo>
                    <a:lnTo>
                      <a:pt x="64" y="119"/>
                    </a:lnTo>
                    <a:lnTo>
                      <a:pt x="55" y="119"/>
                    </a:lnTo>
                    <a:lnTo>
                      <a:pt x="46" y="117"/>
                    </a:lnTo>
                    <a:lnTo>
                      <a:pt x="38" y="115"/>
                    </a:lnTo>
                    <a:lnTo>
                      <a:pt x="31" y="112"/>
                    </a:lnTo>
                    <a:lnTo>
                      <a:pt x="31" y="112"/>
                    </a:lnTo>
                    <a:close/>
                    <a:moveTo>
                      <a:pt x="80" y="87"/>
                    </a:moveTo>
                    <a:lnTo>
                      <a:pt x="80" y="87"/>
                    </a:lnTo>
                    <a:lnTo>
                      <a:pt x="86" y="82"/>
                    </a:lnTo>
                    <a:lnTo>
                      <a:pt x="91" y="76"/>
                    </a:lnTo>
                    <a:lnTo>
                      <a:pt x="91" y="76"/>
                    </a:lnTo>
                    <a:lnTo>
                      <a:pt x="94" y="68"/>
                    </a:lnTo>
                    <a:lnTo>
                      <a:pt x="95" y="59"/>
                    </a:lnTo>
                    <a:lnTo>
                      <a:pt x="94" y="50"/>
                    </a:lnTo>
                    <a:lnTo>
                      <a:pt x="91" y="42"/>
                    </a:lnTo>
                    <a:lnTo>
                      <a:pt x="91" y="42"/>
                    </a:lnTo>
                    <a:lnTo>
                      <a:pt x="86" y="35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72" y="27"/>
                    </a:lnTo>
                    <a:lnTo>
                      <a:pt x="64" y="26"/>
                    </a:lnTo>
                    <a:lnTo>
                      <a:pt x="55" y="27"/>
                    </a:lnTo>
                    <a:lnTo>
                      <a:pt x="47" y="30"/>
                    </a:lnTo>
                    <a:lnTo>
                      <a:pt x="47" y="30"/>
                    </a:lnTo>
                    <a:lnTo>
                      <a:pt x="41" y="35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3" y="50"/>
                    </a:lnTo>
                    <a:lnTo>
                      <a:pt x="32" y="59"/>
                    </a:lnTo>
                    <a:lnTo>
                      <a:pt x="33" y="68"/>
                    </a:lnTo>
                    <a:lnTo>
                      <a:pt x="36" y="76"/>
                    </a:lnTo>
                    <a:lnTo>
                      <a:pt x="36" y="76"/>
                    </a:lnTo>
                    <a:lnTo>
                      <a:pt x="41" y="82"/>
                    </a:lnTo>
                    <a:lnTo>
                      <a:pt x="47" y="87"/>
                    </a:lnTo>
                    <a:lnTo>
                      <a:pt x="47" y="87"/>
                    </a:lnTo>
                    <a:lnTo>
                      <a:pt x="55" y="90"/>
                    </a:lnTo>
                    <a:lnTo>
                      <a:pt x="64" y="91"/>
                    </a:lnTo>
                    <a:lnTo>
                      <a:pt x="72" y="90"/>
                    </a:lnTo>
                    <a:lnTo>
                      <a:pt x="80" y="87"/>
                    </a:lnTo>
                    <a:lnTo>
                      <a:pt x="80" y="8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7">
                <a:extLst>
                  <a:ext uri="{FF2B5EF4-FFF2-40B4-BE49-F238E27FC236}">
                    <a16:creationId xmlns:a16="http://schemas.microsoft.com/office/drawing/2014/main" id="{604D3D11-4302-4551-AD41-3115462BBC41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564816" y="1379538"/>
                <a:ext cx="84138" cy="90487"/>
              </a:xfrm>
              <a:custGeom>
                <a:avLst/>
                <a:gdLst>
                  <a:gd name="T0" fmla="*/ 99 w 105"/>
                  <a:gd name="T1" fmla="*/ 64 h 115"/>
                  <a:gd name="T2" fmla="*/ 103 w 105"/>
                  <a:gd name="T3" fmla="*/ 72 h 115"/>
                  <a:gd name="T4" fmla="*/ 105 w 105"/>
                  <a:gd name="T5" fmla="*/ 81 h 115"/>
                  <a:gd name="T6" fmla="*/ 104 w 105"/>
                  <a:gd name="T7" fmla="*/ 88 h 115"/>
                  <a:gd name="T8" fmla="*/ 98 w 105"/>
                  <a:gd name="T9" fmla="*/ 101 h 115"/>
                  <a:gd name="T10" fmla="*/ 93 w 105"/>
                  <a:gd name="T11" fmla="*/ 106 h 115"/>
                  <a:gd name="T12" fmla="*/ 77 w 105"/>
                  <a:gd name="T13" fmla="*/ 113 h 115"/>
                  <a:gd name="T14" fmla="*/ 59 w 105"/>
                  <a:gd name="T15" fmla="*/ 115 h 115"/>
                  <a:gd name="T16" fmla="*/ 0 w 105"/>
                  <a:gd name="T17" fmla="*/ 0 h 115"/>
                  <a:gd name="T18" fmla="*/ 56 w 105"/>
                  <a:gd name="T19" fmla="*/ 0 h 115"/>
                  <a:gd name="T20" fmla="*/ 73 w 105"/>
                  <a:gd name="T21" fmla="*/ 2 h 115"/>
                  <a:gd name="T22" fmla="*/ 88 w 105"/>
                  <a:gd name="T23" fmla="*/ 8 h 115"/>
                  <a:gd name="T24" fmla="*/ 93 w 105"/>
                  <a:gd name="T25" fmla="*/ 12 h 115"/>
                  <a:gd name="T26" fmla="*/ 99 w 105"/>
                  <a:gd name="T27" fmla="*/ 23 h 115"/>
                  <a:gd name="T28" fmla="*/ 99 w 105"/>
                  <a:gd name="T29" fmla="*/ 30 h 115"/>
                  <a:gd name="T30" fmla="*/ 95 w 105"/>
                  <a:gd name="T31" fmla="*/ 45 h 115"/>
                  <a:gd name="T32" fmla="*/ 90 w 105"/>
                  <a:gd name="T33" fmla="*/ 50 h 115"/>
                  <a:gd name="T34" fmla="*/ 84 w 105"/>
                  <a:gd name="T35" fmla="*/ 54 h 115"/>
                  <a:gd name="T36" fmla="*/ 92 w 105"/>
                  <a:gd name="T37" fmla="*/ 58 h 115"/>
                  <a:gd name="T38" fmla="*/ 99 w 105"/>
                  <a:gd name="T39" fmla="*/ 64 h 115"/>
                  <a:gd name="T40" fmla="*/ 32 w 105"/>
                  <a:gd name="T41" fmla="*/ 46 h 115"/>
                  <a:gd name="T42" fmla="*/ 53 w 105"/>
                  <a:gd name="T43" fmla="*/ 46 h 115"/>
                  <a:gd name="T44" fmla="*/ 63 w 105"/>
                  <a:gd name="T45" fmla="*/ 43 h 115"/>
                  <a:gd name="T46" fmla="*/ 67 w 105"/>
                  <a:gd name="T47" fmla="*/ 34 h 115"/>
                  <a:gd name="T48" fmla="*/ 66 w 105"/>
                  <a:gd name="T49" fmla="*/ 29 h 115"/>
                  <a:gd name="T50" fmla="*/ 59 w 105"/>
                  <a:gd name="T51" fmla="*/ 24 h 115"/>
                  <a:gd name="T52" fmla="*/ 32 w 105"/>
                  <a:gd name="T53" fmla="*/ 23 h 115"/>
                  <a:gd name="T54" fmla="*/ 72 w 105"/>
                  <a:gd name="T55" fmla="*/ 79 h 115"/>
                  <a:gd name="T56" fmla="*/ 71 w 105"/>
                  <a:gd name="T57" fmla="*/ 74 h 115"/>
                  <a:gd name="T58" fmla="*/ 64 w 105"/>
                  <a:gd name="T59" fmla="*/ 68 h 115"/>
                  <a:gd name="T60" fmla="*/ 32 w 105"/>
                  <a:gd name="T61" fmla="*/ 67 h 115"/>
                  <a:gd name="T62" fmla="*/ 58 w 105"/>
                  <a:gd name="T63" fmla="*/ 91 h 115"/>
                  <a:gd name="T64" fmla="*/ 64 w 105"/>
                  <a:gd name="T65" fmla="*/ 90 h 115"/>
                  <a:gd name="T66" fmla="*/ 71 w 105"/>
                  <a:gd name="T67" fmla="*/ 84 h 115"/>
                  <a:gd name="T68" fmla="*/ 72 w 105"/>
                  <a:gd name="T69" fmla="*/ 79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5" h="115">
                    <a:moveTo>
                      <a:pt x="99" y="64"/>
                    </a:moveTo>
                    <a:lnTo>
                      <a:pt x="99" y="64"/>
                    </a:lnTo>
                    <a:lnTo>
                      <a:pt x="102" y="68"/>
                    </a:lnTo>
                    <a:lnTo>
                      <a:pt x="103" y="72"/>
                    </a:lnTo>
                    <a:lnTo>
                      <a:pt x="104" y="77"/>
                    </a:lnTo>
                    <a:lnTo>
                      <a:pt x="105" y="81"/>
                    </a:lnTo>
                    <a:lnTo>
                      <a:pt x="105" y="81"/>
                    </a:lnTo>
                    <a:lnTo>
                      <a:pt x="104" y="88"/>
                    </a:lnTo>
                    <a:lnTo>
                      <a:pt x="102" y="95"/>
                    </a:lnTo>
                    <a:lnTo>
                      <a:pt x="98" y="101"/>
                    </a:lnTo>
                    <a:lnTo>
                      <a:pt x="93" y="106"/>
                    </a:lnTo>
                    <a:lnTo>
                      <a:pt x="93" y="106"/>
                    </a:lnTo>
                    <a:lnTo>
                      <a:pt x="85" y="110"/>
                    </a:lnTo>
                    <a:lnTo>
                      <a:pt x="77" y="113"/>
                    </a:lnTo>
                    <a:lnTo>
                      <a:pt x="68" y="115"/>
                    </a:lnTo>
                    <a:lnTo>
                      <a:pt x="59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5" y="0"/>
                    </a:lnTo>
                    <a:lnTo>
                      <a:pt x="73" y="2"/>
                    </a:lnTo>
                    <a:lnTo>
                      <a:pt x="81" y="4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93" y="12"/>
                    </a:lnTo>
                    <a:lnTo>
                      <a:pt x="97" y="17"/>
                    </a:lnTo>
                    <a:lnTo>
                      <a:pt x="99" y="23"/>
                    </a:lnTo>
                    <a:lnTo>
                      <a:pt x="99" y="30"/>
                    </a:lnTo>
                    <a:lnTo>
                      <a:pt x="99" y="30"/>
                    </a:lnTo>
                    <a:lnTo>
                      <a:pt x="98" y="37"/>
                    </a:lnTo>
                    <a:lnTo>
                      <a:pt x="95" y="45"/>
                    </a:lnTo>
                    <a:lnTo>
                      <a:pt x="95" y="45"/>
                    </a:lnTo>
                    <a:lnTo>
                      <a:pt x="90" y="50"/>
                    </a:lnTo>
                    <a:lnTo>
                      <a:pt x="84" y="54"/>
                    </a:lnTo>
                    <a:lnTo>
                      <a:pt x="84" y="54"/>
                    </a:lnTo>
                    <a:lnTo>
                      <a:pt x="88" y="56"/>
                    </a:lnTo>
                    <a:lnTo>
                      <a:pt x="92" y="58"/>
                    </a:lnTo>
                    <a:lnTo>
                      <a:pt x="96" y="61"/>
                    </a:lnTo>
                    <a:lnTo>
                      <a:pt x="99" y="64"/>
                    </a:lnTo>
                    <a:lnTo>
                      <a:pt x="99" y="64"/>
                    </a:lnTo>
                    <a:close/>
                    <a:moveTo>
                      <a:pt x="32" y="46"/>
                    </a:moveTo>
                    <a:lnTo>
                      <a:pt x="53" y="46"/>
                    </a:lnTo>
                    <a:lnTo>
                      <a:pt x="53" y="46"/>
                    </a:lnTo>
                    <a:lnTo>
                      <a:pt x="59" y="45"/>
                    </a:lnTo>
                    <a:lnTo>
                      <a:pt x="63" y="43"/>
                    </a:lnTo>
                    <a:lnTo>
                      <a:pt x="66" y="39"/>
                    </a:lnTo>
                    <a:lnTo>
                      <a:pt x="67" y="34"/>
                    </a:lnTo>
                    <a:lnTo>
                      <a:pt x="67" y="34"/>
                    </a:lnTo>
                    <a:lnTo>
                      <a:pt x="66" y="29"/>
                    </a:lnTo>
                    <a:lnTo>
                      <a:pt x="63" y="26"/>
                    </a:lnTo>
                    <a:lnTo>
                      <a:pt x="59" y="24"/>
                    </a:lnTo>
                    <a:lnTo>
                      <a:pt x="53" y="23"/>
                    </a:lnTo>
                    <a:lnTo>
                      <a:pt x="32" y="23"/>
                    </a:lnTo>
                    <a:lnTo>
                      <a:pt x="32" y="46"/>
                    </a:lnTo>
                    <a:close/>
                    <a:moveTo>
                      <a:pt x="72" y="79"/>
                    </a:moveTo>
                    <a:lnTo>
                      <a:pt x="72" y="79"/>
                    </a:lnTo>
                    <a:lnTo>
                      <a:pt x="71" y="74"/>
                    </a:lnTo>
                    <a:lnTo>
                      <a:pt x="69" y="70"/>
                    </a:lnTo>
                    <a:lnTo>
                      <a:pt x="64" y="68"/>
                    </a:lnTo>
                    <a:lnTo>
                      <a:pt x="58" y="67"/>
                    </a:lnTo>
                    <a:lnTo>
                      <a:pt x="32" y="67"/>
                    </a:lnTo>
                    <a:lnTo>
                      <a:pt x="32" y="91"/>
                    </a:lnTo>
                    <a:lnTo>
                      <a:pt x="58" y="91"/>
                    </a:lnTo>
                    <a:lnTo>
                      <a:pt x="58" y="91"/>
                    </a:lnTo>
                    <a:lnTo>
                      <a:pt x="64" y="90"/>
                    </a:lnTo>
                    <a:lnTo>
                      <a:pt x="69" y="88"/>
                    </a:lnTo>
                    <a:lnTo>
                      <a:pt x="71" y="84"/>
                    </a:lnTo>
                    <a:lnTo>
                      <a:pt x="72" y="79"/>
                    </a:lnTo>
                    <a:lnTo>
                      <a:pt x="72" y="7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8">
                <a:extLst>
                  <a:ext uri="{FF2B5EF4-FFF2-40B4-BE49-F238E27FC236}">
                    <a16:creationId xmlns:a16="http://schemas.microsoft.com/office/drawing/2014/main" id="{9128A9D4-3866-477F-898E-AAE27CE8F64B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664829" y="1379538"/>
                <a:ext cx="115888" cy="90487"/>
              </a:xfrm>
              <a:custGeom>
                <a:avLst/>
                <a:gdLst>
                  <a:gd name="T0" fmla="*/ 92 w 147"/>
                  <a:gd name="T1" fmla="*/ 46 h 115"/>
                  <a:gd name="T2" fmla="*/ 92 w 147"/>
                  <a:gd name="T3" fmla="*/ 46 h 115"/>
                  <a:gd name="T4" fmla="*/ 97 w 147"/>
                  <a:gd name="T5" fmla="*/ 51 h 115"/>
                  <a:gd name="T6" fmla="*/ 101 w 147"/>
                  <a:gd name="T7" fmla="*/ 58 h 115"/>
                  <a:gd name="T8" fmla="*/ 103 w 147"/>
                  <a:gd name="T9" fmla="*/ 66 h 115"/>
                  <a:gd name="T10" fmla="*/ 103 w 147"/>
                  <a:gd name="T11" fmla="*/ 73 h 115"/>
                  <a:gd name="T12" fmla="*/ 103 w 147"/>
                  <a:gd name="T13" fmla="*/ 73 h 115"/>
                  <a:gd name="T14" fmla="*/ 103 w 147"/>
                  <a:gd name="T15" fmla="*/ 82 h 115"/>
                  <a:gd name="T16" fmla="*/ 100 w 147"/>
                  <a:gd name="T17" fmla="*/ 90 h 115"/>
                  <a:gd name="T18" fmla="*/ 96 w 147"/>
                  <a:gd name="T19" fmla="*/ 97 h 115"/>
                  <a:gd name="T20" fmla="*/ 90 w 147"/>
                  <a:gd name="T21" fmla="*/ 104 h 115"/>
                  <a:gd name="T22" fmla="*/ 90 w 147"/>
                  <a:gd name="T23" fmla="*/ 104 h 115"/>
                  <a:gd name="T24" fmla="*/ 82 w 147"/>
                  <a:gd name="T25" fmla="*/ 109 h 115"/>
                  <a:gd name="T26" fmla="*/ 74 w 147"/>
                  <a:gd name="T27" fmla="*/ 113 h 115"/>
                  <a:gd name="T28" fmla="*/ 65 w 147"/>
                  <a:gd name="T29" fmla="*/ 115 h 115"/>
                  <a:gd name="T30" fmla="*/ 55 w 147"/>
                  <a:gd name="T31" fmla="*/ 115 h 115"/>
                  <a:gd name="T32" fmla="*/ 0 w 147"/>
                  <a:gd name="T33" fmla="*/ 115 h 115"/>
                  <a:gd name="T34" fmla="*/ 0 w 147"/>
                  <a:gd name="T35" fmla="*/ 0 h 115"/>
                  <a:gd name="T36" fmla="*/ 32 w 147"/>
                  <a:gd name="T37" fmla="*/ 0 h 115"/>
                  <a:gd name="T38" fmla="*/ 32 w 147"/>
                  <a:gd name="T39" fmla="*/ 36 h 115"/>
                  <a:gd name="T40" fmla="*/ 59 w 147"/>
                  <a:gd name="T41" fmla="*/ 36 h 115"/>
                  <a:gd name="T42" fmla="*/ 59 w 147"/>
                  <a:gd name="T43" fmla="*/ 36 h 115"/>
                  <a:gd name="T44" fmla="*/ 68 w 147"/>
                  <a:gd name="T45" fmla="*/ 37 h 115"/>
                  <a:gd name="T46" fmla="*/ 76 w 147"/>
                  <a:gd name="T47" fmla="*/ 38 h 115"/>
                  <a:gd name="T48" fmla="*/ 84 w 147"/>
                  <a:gd name="T49" fmla="*/ 41 h 115"/>
                  <a:gd name="T50" fmla="*/ 92 w 147"/>
                  <a:gd name="T51" fmla="*/ 46 h 115"/>
                  <a:gd name="T52" fmla="*/ 92 w 147"/>
                  <a:gd name="T53" fmla="*/ 46 h 115"/>
                  <a:gd name="T54" fmla="*/ 66 w 147"/>
                  <a:gd name="T55" fmla="*/ 86 h 115"/>
                  <a:gd name="T56" fmla="*/ 66 w 147"/>
                  <a:gd name="T57" fmla="*/ 86 h 115"/>
                  <a:gd name="T58" fmla="*/ 68 w 147"/>
                  <a:gd name="T59" fmla="*/ 84 h 115"/>
                  <a:gd name="T60" fmla="*/ 70 w 147"/>
                  <a:gd name="T61" fmla="*/ 81 h 115"/>
                  <a:gd name="T62" fmla="*/ 71 w 147"/>
                  <a:gd name="T63" fmla="*/ 77 h 115"/>
                  <a:gd name="T64" fmla="*/ 71 w 147"/>
                  <a:gd name="T65" fmla="*/ 74 h 115"/>
                  <a:gd name="T66" fmla="*/ 71 w 147"/>
                  <a:gd name="T67" fmla="*/ 74 h 115"/>
                  <a:gd name="T68" fmla="*/ 71 w 147"/>
                  <a:gd name="T69" fmla="*/ 71 h 115"/>
                  <a:gd name="T70" fmla="*/ 70 w 147"/>
                  <a:gd name="T71" fmla="*/ 68 h 115"/>
                  <a:gd name="T72" fmla="*/ 68 w 147"/>
                  <a:gd name="T73" fmla="*/ 65 h 115"/>
                  <a:gd name="T74" fmla="*/ 67 w 147"/>
                  <a:gd name="T75" fmla="*/ 63 h 115"/>
                  <a:gd name="T76" fmla="*/ 64 w 147"/>
                  <a:gd name="T77" fmla="*/ 61 h 115"/>
                  <a:gd name="T78" fmla="*/ 61 w 147"/>
                  <a:gd name="T79" fmla="*/ 60 h 115"/>
                  <a:gd name="T80" fmla="*/ 53 w 147"/>
                  <a:gd name="T81" fmla="*/ 59 h 115"/>
                  <a:gd name="T82" fmla="*/ 32 w 147"/>
                  <a:gd name="T83" fmla="*/ 59 h 115"/>
                  <a:gd name="T84" fmla="*/ 32 w 147"/>
                  <a:gd name="T85" fmla="*/ 91 h 115"/>
                  <a:gd name="T86" fmla="*/ 53 w 147"/>
                  <a:gd name="T87" fmla="*/ 91 h 115"/>
                  <a:gd name="T88" fmla="*/ 53 w 147"/>
                  <a:gd name="T89" fmla="*/ 91 h 115"/>
                  <a:gd name="T90" fmla="*/ 57 w 147"/>
                  <a:gd name="T91" fmla="*/ 91 h 115"/>
                  <a:gd name="T92" fmla="*/ 60 w 147"/>
                  <a:gd name="T93" fmla="*/ 90 h 115"/>
                  <a:gd name="T94" fmla="*/ 63 w 147"/>
                  <a:gd name="T95" fmla="*/ 88 h 115"/>
                  <a:gd name="T96" fmla="*/ 66 w 147"/>
                  <a:gd name="T97" fmla="*/ 86 h 115"/>
                  <a:gd name="T98" fmla="*/ 66 w 147"/>
                  <a:gd name="T99" fmla="*/ 86 h 115"/>
                  <a:gd name="T100" fmla="*/ 116 w 147"/>
                  <a:gd name="T101" fmla="*/ 0 h 115"/>
                  <a:gd name="T102" fmla="*/ 147 w 147"/>
                  <a:gd name="T103" fmla="*/ 0 h 115"/>
                  <a:gd name="T104" fmla="*/ 147 w 147"/>
                  <a:gd name="T105" fmla="*/ 115 h 115"/>
                  <a:gd name="T106" fmla="*/ 116 w 147"/>
                  <a:gd name="T107" fmla="*/ 115 h 115"/>
                  <a:gd name="T108" fmla="*/ 116 w 147"/>
                  <a:gd name="T109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47" h="115">
                    <a:moveTo>
                      <a:pt x="92" y="46"/>
                    </a:moveTo>
                    <a:lnTo>
                      <a:pt x="92" y="46"/>
                    </a:lnTo>
                    <a:lnTo>
                      <a:pt x="97" y="51"/>
                    </a:lnTo>
                    <a:lnTo>
                      <a:pt x="101" y="58"/>
                    </a:lnTo>
                    <a:lnTo>
                      <a:pt x="103" y="66"/>
                    </a:lnTo>
                    <a:lnTo>
                      <a:pt x="103" y="73"/>
                    </a:lnTo>
                    <a:lnTo>
                      <a:pt x="103" y="73"/>
                    </a:lnTo>
                    <a:lnTo>
                      <a:pt x="103" y="82"/>
                    </a:lnTo>
                    <a:lnTo>
                      <a:pt x="100" y="90"/>
                    </a:lnTo>
                    <a:lnTo>
                      <a:pt x="96" y="97"/>
                    </a:lnTo>
                    <a:lnTo>
                      <a:pt x="90" y="104"/>
                    </a:lnTo>
                    <a:lnTo>
                      <a:pt x="90" y="104"/>
                    </a:lnTo>
                    <a:lnTo>
                      <a:pt x="82" y="109"/>
                    </a:lnTo>
                    <a:lnTo>
                      <a:pt x="74" y="113"/>
                    </a:lnTo>
                    <a:lnTo>
                      <a:pt x="65" y="115"/>
                    </a:lnTo>
                    <a:lnTo>
                      <a:pt x="55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2" y="0"/>
                    </a:lnTo>
                    <a:lnTo>
                      <a:pt x="32" y="36"/>
                    </a:lnTo>
                    <a:lnTo>
                      <a:pt x="59" y="36"/>
                    </a:lnTo>
                    <a:lnTo>
                      <a:pt x="59" y="36"/>
                    </a:lnTo>
                    <a:lnTo>
                      <a:pt x="68" y="37"/>
                    </a:lnTo>
                    <a:lnTo>
                      <a:pt x="76" y="38"/>
                    </a:lnTo>
                    <a:lnTo>
                      <a:pt x="84" y="41"/>
                    </a:lnTo>
                    <a:lnTo>
                      <a:pt x="92" y="46"/>
                    </a:lnTo>
                    <a:lnTo>
                      <a:pt x="92" y="46"/>
                    </a:lnTo>
                    <a:close/>
                    <a:moveTo>
                      <a:pt x="66" y="86"/>
                    </a:moveTo>
                    <a:lnTo>
                      <a:pt x="66" y="86"/>
                    </a:lnTo>
                    <a:lnTo>
                      <a:pt x="68" y="84"/>
                    </a:lnTo>
                    <a:lnTo>
                      <a:pt x="70" y="81"/>
                    </a:lnTo>
                    <a:lnTo>
                      <a:pt x="71" y="77"/>
                    </a:lnTo>
                    <a:lnTo>
                      <a:pt x="71" y="74"/>
                    </a:lnTo>
                    <a:lnTo>
                      <a:pt x="71" y="74"/>
                    </a:lnTo>
                    <a:lnTo>
                      <a:pt x="71" y="71"/>
                    </a:lnTo>
                    <a:lnTo>
                      <a:pt x="70" y="68"/>
                    </a:lnTo>
                    <a:lnTo>
                      <a:pt x="68" y="65"/>
                    </a:lnTo>
                    <a:lnTo>
                      <a:pt x="67" y="63"/>
                    </a:lnTo>
                    <a:lnTo>
                      <a:pt x="64" y="61"/>
                    </a:lnTo>
                    <a:lnTo>
                      <a:pt x="61" y="60"/>
                    </a:lnTo>
                    <a:lnTo>
                      <a:pt x="53" y="59"/>
                    </a:lnTo>
                    <a:lnTo>
                      <a:pt x="32" y="59"/>
                    </a:lnTo>
                    <a:lnTo>
                      <a:pt x="32" y="91"/>
                    </a:lnTo>
                    <a:lnTo>
                      <a:pt x="53" y="91"/>
                    </a:lnTo>
                    <a:lnTo>
                      <a:pt x="53" y="91"/>
                    </a:lnTo>
                    <a:lnTo>
                      <a:pt x="57" y="91"/>
                    </a:lnTo>
                    <a:lnTo>
                      <a:pt x="60" y="90"/>
                    </a:lnTo>
                    <a:lnTo>
                      <a:pt x="63" y="88"/>
                    </a:lnTo>
                    <a:lnTo>
                      <a:pt x="66" y="86"/>
                    </a:lnTo>
                    <a:lnTo>
                      <a:pt x="66" y="86"/>
                    </a:lnTo>
                    <a:close/>
                    <a:moveTo>
                      <a:pt x="116" y="0"/>
                    </a:moveTo>
                    <a:lnTo>
                      <a:pt x="147" y="0"/>
                    </a:lnTo>
                    <a:lnTo>
                      <a:pt x="147" y="115"/>
                    </a:lnTo>
                    <a:lnTo>
                      <a:pt x="116" y="115"/>
                    </a:lnTo>
                    <a:lnTo>
                      <a:pt x="116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9">
                <a:extLst>
                  <a:ext uri="{FF2B5EF4-FFF2-40B4-BE49-F238E27FC236}">
                    <a16:creationId xmlns:a16="http://schemas.microsoft.com/office/drawing/2014/main" id="{EC633EA8-4E44-4648-AAE7-A76FD600BAF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802941" y="1379538"/>
                <a:ext cx="74613" cy="90487"/>
              </a:xfrm>
              <a:custGeom>
                <a:avLst/>
                <a:gdLst>
                  <a:gd name="T0" fmla="*/ 92 w 92"/>
                  <a:gd name="T1" fmla="*/ 89 h 115"/>
                  <a:gd name="T2" fmla="*/ 92 w 92"/>
                  <a:gd name="T3" fmla="*/ 115 h 115"/>
                  <a:gd name="T4" fmla="*/ 0 w 92"/>
                  <a:gd name="T5" fmla="*/ 115 h 115"/>
                  <a:gd name="T6" fmla="*/ 0 w 92"/>
                  <a:gd name="T7" fmla="*/ 0 h 115"/>
                  <a:gd name="T8" fmla="*/ 90 w 92"/>
                  <a:gd name="T9" fmla="*/ 0 h 115"/>
                  <a:gd name="T10" fmla="*/ 90 w 92"/>
                  <a:gd name="T11" fmla="*/ 25 h 115"/>
                  <a:gd name="T12" fmla="*/ 32 w 92"/>
                  <a:gd name="T13" fmla="*/ 25 h 115"/>
                  <a:gd name="T14" fmla="*/ 32 w 92"/>
                  <a:gd name="T15" fmla="*/ 44 h 115"/>
                  <a:gd name="T16" fmla="*/ 83 w 92"/>
                  <a:gd name="T17" fmla="*/ 44 h 115"/>
                  <a:gd name="T18" fmla="*/ 83 w 92"/>
                  <a:gd name="T19" fmla="*/ 68 h 115"/>
                  <a:gd name="T20" fmla="*/ 32 w 92"/>
                  <a:gd name="T21" fmla="*/ 68 h 115"/>
                  <a:gd name="T22" fmla="*/ 32 w 92"/>
                  <a:gd name="T23" fmla="*/ 89 h 115"/>
                  <a:gd name="T24" fmla="*/ 92 w 92"/>
                  <a:gd name="T25" fmla="*/ 89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2" h="115">
                    <a:moveTo>
                      <a:pt x="92" y="89"/>
                    </a:moveTo>
                    <a:lnTo>
                      <a:pt x="9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25"/>
                    </a:lnTo>
                    <a:lnTo>
                      <a:pt x="32" y="25"/>
                    </a:lnTo>
                    <a:lnTo>
                      <a:pt x="32" y="44"/>
                    </a:lnTo>
                    <a:lnTo>
                      <a:pt x="83" y="44"/>
                    </a:lnTo>
                    <a:lnTo>
                      <a:pt x="83" y="68"/>
                    </a:lnTo>
                    <a:lnTo>
                      <a:pt x="32" y="68"/>
                    </a:lnTo>
                    <a:lnTo>
                      <a:pt x="32" y="89"/>
                    </a:lnTo>
                    <a:lnTo>
                      <a:pt x="92" y="8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10">
                <a:extLst>
                  <a:ext uri="{FF2B5EF4-FFF2-40B4-BE49-F238E27FC236}">
                    <a16:creationId xmlns:a16="http://schemas.microsoft.com/office/drawing/2014/main" id="{A79B1D39-B888-43D1-A79A-03C77215094E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934704" y="1379538"/>
                <a:ext cx="82550" cy="90487"/>
              </a:xfrm>
              <a:custGeom>
                <a:avLst/>
                <a:gdLst>
                  <a:gd name="T0" fmla="*/ 99 w 105"/>
                  <a:gd name="T1" fmla="*/ 64 h 115"/>
                  <a:gd name="T2" fmla="*/ 104 w 105"/>
                  <a:gd name="T3" fmla="*/ 72 h 115"/>
                  <a:gd name="T4" fmla="*/ 105 w 105"/>
                  <a:gd name="T5" fmla="*/ 81 h 115"/>
                  <a:gd name="T6" fmla="*/ 104 w 105"/>
                  <a:gd name="T7" fmla="*/ 88 h 115"/>
                  <a:gd name="T8" fmla="*/ 98 w 105"/>
                  <a:gd name="T9" fmla="*/ 101 h 115"/>
                  <a:gd name="T10" fmla="*/ 93 w 105"/>
                  <a:gd name="T11" fmla="*/ 106 h 115"/>
                  <a:gd name="T12" fmla="*/ 78 w 105"/>
                  <a:gd name="T13" fmla="*/ 113 h 115"/>
                  <a:gd name="T14" fmla="*/ 58 w 105"/>
                  <a:gd name="T15" fmla="*/ 115 h 115"/>
                  <a:gd name="T16" fmla="*/ 0 w 105"/>
                  <a:gd name="T17" fmla="*/ 0 h 115"/>
                  <a:gd name="T18" fmla="*/ 55 w 105"/>
                  <a:gd name="T19" fmla="*/ 0 h 115"/>
                  <a:gd name="T20" fmla="*/ 72 w 105"/>
                  <a:gd name="T21" fmla="*/ 2 h 115"/>
                  <a:gd name="T22" fmla="*/ 88 w 105"/>
                  <a:gd name="T23" fmla="*/ 8 h 115"/>
                  <a:gd name="T24" fmla="*/ 93 w 105"/>
                  <a:gd name="T25" fmla="*/ 12 h 115"/>
                  <a:gd name="T26" fmla="*/ 99 w 105"/>
                  <a:gd name="T27" fmla="*/ 23 h 115"/>
                  <a:gd name="T28" fmla="*/ 100 w 105"/>
                  <a:gd name="T29" fmla="*/ 30 h 115"/>
                  <a:gd name="T30" fmla="*/ 96 w 105"/>
                  <a:gd name="T31" fmla="*/ 45 h 115"/>
                  <a:gd name="T32" fmla="*/ 91 w 105"/>
                  <a:gd name="T33" fmla="*/ 50 h 115"/>
                  <a:gd name="T34" fmla="*/ 84 w 105"/>
                  <a:gd name="T35" fmla="*/ 54 h 115"/>
                  <a:gd name="T36" fmla="*/ 93 w 105"/>
                  <a:gd name="T37" fmla="*/ 58 h 115"/>
                  <a:gd name="T38" fmla="*/ 99 w 105"/>
                  <a:gd name="T39" fmla="*/ 64 h 115"/>
                  <a:gd name="T40" fmla="*/ 32 w 105"/>
                  <a:gd name="T41" fmla="*/ 46 h 115"/>
                  <a:gd name="T42" fmla="*/ 52 w 105"/>
                  <a:gd name="T43" fmla="*/ 46 h 115"/>
                  <a:gd name="T44" fmla="*/ 63 w 105"/>
                  <a:gd name="T45" fmla="*/ 43 h 115"/>
                  <a:gd name="T46" fmla="*/ 66 w 105"/>
                  <a:gd name="T47" fmla="*/ 34 h 115"/>
                  <a:gd name="T48" fmla="*/ 65 w 105"/>
                  <a:gd name="T49" fmla="*/ 29 h 115"/>
                  <a:gd name="T50" fmla="*/ 58 w 105"/>
                  <a:gd name="T51" fmla="*/ 24 h 115"/>
                  <a:gd name="T52" fmla="*/ 32 w 105"/>
                  <a:gd name="T53" fmla="*/ 23 h 115"/>
                  <a:gd name="T54" fmla="*/ 71 w 105"/>
                  <a:gd name="T55" fmla="*/ 79 h 115"/>
                  <a:gd name="T56" fmla="*/ 70 w 105"/>
                  <a:gd name="T57" fmla="*/ 74 h 115"/>
                  <a:gd name="T58" fmla="*/ 63 w 105"/>
                  <a:gd name="T59" fmla="*/ 68 h 115"/>
                  <a:gd name="T60" fmla="*/ 32 w 105"/>
                  <a:gd name="T61" fmla="*/ 67 h 115"/>
                  <a:gd name="T62" fmla="*/ 57 w 105"/>
                  <a:gd name="T63" fmla="*/ 91 h 115"/>
                  <a:gd name="T64" fmla="*/ 63 w 105"/>
                  <a:gd name="T65" fmla="*/ 90 h 115"/>
                  <a:gd name="T66" fmla="*/ 70 w 105"/>
                  <a:gd name="T67" fmla="*/ 84 h 115"/>
                  <a:gd name="T68" fmla="*/ 71 w 105"/>
                  <a:gd name="T69" fmla="*/ 79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5" h="115">
                    <a:moveTo>
                      <a:pt x="99" y="64"/>
                    </a:moveTo>
                    <a:lnTo>
                      <a:pt x="99" y="64"/>
                    </a:lnTo>
                    <a:lnTo>
                      <a:pt x="102" y="68"/>
                    </a:lnTo>
                    <a:lnTo>
                      <a:pt x="104" y="72"/>
                    </a:lnTo>
                    <a:lnTo>
                      <a:pt x="105" y="77"/>
                    </a:lnTo>
                    <a:lnTo>
                      <a:pt x="105" y="81"/>
                    </a:lnTo>
                    <a:lnTo>
                      <a:pt x="105" y="81"/>
                    </a:lnTo>
                    <a:lnTo>
                      <a:pt x="104" y="88"/>
                    </a:lnTo>
                    <a:lnTo>
                      <a:pt x="102" y="95"/>
                    </a:lnTo>
                    <a:lnTo>
                      <a:pt x="98" y="101"/>
                    </a:lnTo>
                    <a:lnTo>
                      <a:pt x="93" y="106"/>
                    </a:lnTo>
                    <a:lnTo>
                      <a:pt x="93" y="106"/>
                    </a:lnTo>
                    <a:lnTo>
                      <a:pt x="86" y="110"/>
                    </a:lnTo>
                    <a:lnTo>
                      <a:pt x="78" y="113"/>
                    </a:lnTo>
                    <a:lnTo>
                      <a:pt x="69" y="114"/>
                    </a:lnTo>
                    <a:lnTo>
                      <a:pt x="58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55" y="0"/>
                    </a:lnTo>
                    <a:lnTo>
                      <a:pt x="55" y="0"/>
                    </a:lnTo>
                    <a:lnTo>
                      <a:pt x="64" y="0"/>
                    </a:lnTo>
                    <a:lnTo>
                      <a:pt x="72" y="2"/>
                    </a:lnTo>
                    <a:lnTo>
                      <a:pt x="81" y="4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93" y="12"/>
                    </a:lnTo>
                    <a:lnTo>
                      <a:pt x="97" y="17"/>
                    </a:lnTo>
                    <a:lnTo>
                      <a:pt x="99" y="23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99" y="37"/>
                    </a:lnTo>
                    <a:lnTo>
                      <a:pt x="96" y="45"/>
                    </a:lnTo>
                    <a:lnTo>
                      <a:pt x="96" y="45"/>
                    </a:lnTo>
                    <a:lnTo>
                      <a:pt x="91" y="50"/>
                    </a:lnTo>
                    <a:lnTo>
                      <a:pt x="84" y="54"/>
                    </a:lnTo>
                    <a:lnTo>
                      <a:pt x="84" y="54"/>
                    </a:lnTo>
                    <a:lnTo>
                      <a:pt x="88" y="56"/>
                    </a:lnTo>
                    <a:lnTo>
                      <a:pt x="93" y="58"/>
                    </a:lnTo>
                    <a:lnTo>
                      <a:pt x="96" y="61"/>
                    </a:lnTo>
                    <a:lnTo>
                      <a:pt x="99" y="64"/>
                    </a:lnTo>
                    <a:lnTo>
                      <a:pt x="99" y="64"/>
                    </a:lnTo>
                    <a:close/>
                    <a:moveTo>
                      <a:pt x="32" y="46"/>
                    </a:moveTo>
                    <a:lnTo>
                      <a:pt x="52" y="46"/>
                    </a:lnTo>
                    <a:lnTo>
                      <a:pt x="52" y="46"/>
                    </a:lnTo>
                    <a:lnTo>
                      <a:pt x="58" y="45"/>
                    </a:lnTo>
                    <a:lnTo>
                      <a:pt x="63" y="43"/>
                    </a:lnTo>
                    <a:lnTo>
                      <a:pt x="65" y="39"/>
                    </a:lnTo>
                    <a:lnTo>
                      <a:pt x="66" y="34"/>
                    </a:lnTo>
                    <a:lnTo>
                      <a:pt x="66" y="34"/>
                    </a:lnTo>
                    <a:lnTo>
                      <a:pt x="65" y="29"/>
                    </a:lnTo>
                    <a:lnTo>
                      <a:pt x="63" y="26"/>
                    </a:lnTo>
                    <a:lnTo>
                      <a:pt x="58" y="24"/>
                    </a:lnTo>
                    <a:lnTo>
                      <a:pt x="52" y="23"/>
                    </a:lnTo>
                    <a:lnTo>
                      <a:pt x="32" y="23"/>
                    </a:lnTo>
                    <a:lnTo>
                      <a:pt x="32" y="46"/>
                    </a:lnTo>
                    <a:close/>
                    <a:moveTo>
                      <a:pt x="71" y="79"/>
                    </a:moveTo>
                    <a:lnTo>
                      <a:pt x="71" y="79"/>
                    </a:lnTo>
                    <a:lnTo>
                      <a:pt x="70" y="74"/>
                    </a:lnTo>
                    <a:lnTo>
                      <a:pt x="68" y="70"/>
                    </a:lnTo>
                    <a:lnTo>
                      <a:pt x="63" y="68"/>
                    </a:lnTo>
                    <a:lnTo>
                      <a:pt x="57" y="67"/>
                    </a:lnTo>
                    <a:lnTo>
                      <a:pt x="32" y="67"/>
                    </a:lnTo>
                    <a:lnTo>
                      <a:pt x="32" y="91"/>
                    </a:lnTo>
                    <a:lnTo>
                      <a:pt x="57" y="91"/>
                    </a:lnTo>
                    <a:lnTo>
                      <a:pt x="57" y="91"/>
                    </a:lnTo>
                    <a:lnTo>
                      <a:pt x="63" y="90"/>
                    </a:lnTo>
                    <a:lnTo>
                      <a:pt x="68" y="88"/>
                    </a:lnTo>
                    <a:lnTo>
                      <a:pt x="70" y="84"/>
                    </a:lnTo>
                    <a:lnTo>
                      <a:pt x="71" y="79"/>
                    </a:lnTo>
                    <a:lnTo>
                      <a:pt x="71" y="7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11">
                <a:extLst>
                  <a:ext uri="{FF2B5EF4-FFF2-40B4-BE49-F238E27FC236}">
                    <a16:creationId xmlns:a16="http://schemas.microsoft.com/office/drawing/2014/main" id="{1876E926-8BCC-46DA-AD9C-980D1A55A377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1033129" y="1379538"/>
                <a:ext cx="119063" cy="90487"/>
              </a:xfrm>
              <a:custGeom>
                <a:avLst/>
                <a:gdLst>
                  <a:gd name="T0" fmla="*/ 92 w 148"/>
                  <a:gd name="T1" fmla="*/ 46 h 115"/>
                  <a:gd name="T2" fmla="*/ 92 w 148"/>
                  <a:gd name="T3" fmla="*/ 46 h 115"/>
                  <a:gd name="T4" fmla="*/ 97 w 148"/>
                  <a:gd name="T5" fmla="*/ 51 h 115"/>
                  <a:gd name="T6" fmla="*/ 101 w 148"/>
                  <a:gd name="T7" fmla="*/ 58 h 115"/>
                  <a:gd name="T8" fmla="*/ 103 w 148"/>
                  <a:gd name="T9" fmla="*/ 66 h 115"/>
                  <a:gd name="T10" fmla="*/ 103 w 148"/>
                  <a:gd name="T11" fmla="*/ 73 h 115"/>
                  <a:gd name="T12" fmla="*/ 103 w 148"/>
                  <a:gd name="T13" fmla="*/ 73 h 115"/>
                  <a:gd name="T14" fmla="*/ 103 w 148"/>
                  <a:gd name="T15" fmla="*/ 82 h 115"/>
                  <a:gd name="T16" fmla="*/ 100 w 148"/>
                  <a:gd name="T17" fmla="*/ 90 h 115"/>
                  <a:gd name="T18" fmla="*/ 96 w 148"/>
                  <a:gd name="T19" fmla="*/ 97 h 115"/>
                  <a:gd name="T20" fmla="*/ 91 w 148"/>
                  <a:gd name="T21" fmla="*/ 104 h 115"/>
                  <a:gd name="T22" fmla="*/ 91 w 148"/>
                  <a:gd name="T23" fmla="*/ 104 h 115"/>
                  <a:gd name="T24" fmla="*/ 83 w 148"/>
                  <a:gd name="T25" fmla="*/ 109 h 115"/>
                  <a:gd name="T26" fmla="*/ 73 w 148"/>
                  <a:gd name="T27" fmla="*/ 113 h 115"/>
                  <a:gd name="T28" fmla="*/ 64 w 148"/>
                  <a:gd name="T29" fmla="*/ 115 h 115"/>
                  <a:gd name="T30" fmla="*/ 54 w 148"/>
                  <a:gd name="T31" fmla="*/ 115 h 115"/>
                  <a:gd name="T32" fmla="*/ 0 w 148"/>
                  <a:gd name="T33" fmla="*/ 115 h 115"/>
                  <a:gd name="T34" fmla="*/ 0 w 148"/>
                  <a:gd name="T35" fmla="*/ 0 h 115"/>
                  <a:gd name="T36" fmla="*/ 32 w 148"/>
                  <a:gd name="T37" fmla="*/ 0 h 115"/>
                  <a:gd name="T38" fmla="*/ 32 w 148"/>
                  <a:gd name="T39" fmla="*/ 36 h 115"/>
                  <a:gd name="T40" fmla="*/ 59 w 148"/>
                  <a:gd name="T41" fmla="*/ 36 h 115"/>
                  <a:gd name="T42" fmla="*/ 59 w 148"/>
                  <a:gd name="T43" fmla="*/ 36 h 115"/>
                  <a:gd name="T44" fmla="*/ 67 w 148"/>
                  <a:gd name="T45" fmla="*/ 37 h 115"/>
                  <a:gd name="T46" fmla="*/ 76 w 148"/>
                  <a:gd name="T47" fmla="*/ 38 h 115"/>
                  <a:gd name="T48" fmla="*/ 85 w 148"/>
                  <a:gd name="T49" fmla="*/ 41 h 115"/>
                  <a:gd name="T50" fmla="*/ 92 w 148"/>
                  <a:gd name="T51" fmla="*/ 46 h 115"/>
                  <a:gd name="T52" fmla="*/ 92 w 148"/>
                  <a:gd name="T53" fmla="*/ 46 h 115"/>
                  <a:gd name="T54" fmla="*/ 65 w 148"/>
                  <a:gd name="T55" fmla="*/ 86 h 115"/>
                  <a:gd name="T56" fmla="*/ 65 w 148"/>
                  <a:gd name="T57" fmla="*/ 86 h 115"/>
                  <a:gd name="T58" fmla="*/ 67 w 148"/>
                  <a:gd name="T59" fmla="*/ 84 h 115"/>
                  <a:gd name="T60" fmla="*/ 69 w 148"/>
                  <a:gd name="T61" fmla="*/ 81 h 115"/>
                  <a:gd name="T62" fmla="*/ 70 w 148"/>
                  <a:gd name="T63" fmla="*/ 77 h 115"/>
                  <a:gd name="T64" fmla="*/ 70 w 148"/>
                  <a:gd name="T65" fmla="*/ 74 h 115"/>
                  <a:gd name="T66" fmla="*/ 70 w 148"/>
                  <a:gd name="T67" fmla="*/ 74 h 115"/>
                  <a:gd name="T68" fmla="*/ 70 w 148"/>
                  <a:gd name="T69" fmla="*/ 71 h 115"/>
                  <a:gd name="T70" fmla="*/ 69 w 148"/>
                  <a:gd name="T71" fmla="*/ 68 h 115"/>
                  <a:gd name="T72" fmla="*/ 68 w 148"/>
                  <a:gd name="T73" fmla="*/ 65 h 115"/>
                  <a:gd name="T74" fmla="*/ 66 w 148"/>
                  <a:gd name="T75" fmla="*/ 63 h 115"/>
                  <a:gd name="T76" fmla="*/ 63 w 148"/>
                  <a:gd name="T77" fmla="*/ 61 h 115"/>
                  <a:gd name="T78" fmla="*/ 60 w 148"/>
                  <a:gd name="T79" fmla="*/ 60 h 115"/>
                  <a:gd name="T80" fmla="*/ 52 w 148"/>
                  <a:gd name="T81" fmla="*/ 59 h 115"/>
                  <a:gd name="T82" fmla="*/ 33 w 148"/>
                  <a:gd name="T83" fmla="*/ 59 h 115"/>
                  <a:gd name="T84" fmla="*/ 33 w 148"/>
                  <a:gd name="T85" fmla="*/ 91 h 115"/>
                  <a:gd name="T86" fmla="*/ 52 w 148"/>
                  <a:gd name="T87" fmla="*/ 91 h 115"/>
                  <a:gd name="T88" fmla="*/ 52 w 148"/>
                  <a:gd name="T89" fmla="*/ 91 h 115"/>
                  <a:gd name="T90" fmla="*/ 56 w 148"/>
                  <a:gd name="T91" fmla="*/ 91 h 115"/>
                  <a:gd name="T92" fmla="*/ 59 w 148"/>
                  <a:gd name="T93" fmla="*/ 90 h 115"/>
                  <a:gd name="T94" fmla="*/ 62 w 148"/>
                  <a:gd name="T95" fmla="*/ 88 h 115"/>
                  <a:gd name="T96" fmla="*/ 65 w 148"/>
                  <a:gd name="T97" fmla="*/ 86 h 115"/>
                  <a:gd name="T98" fmla="*/ 65 w 148"/>
                  <a:gd name="T99" fmla="*/ 86 h 115"/>
                  <a:gd name="T100" fmla="*/ 116 w 148"/>
                  <a:gd name="T101" fmla="*/ 0 h 115"/>
                  <a:gd name="T102" fmla="*/ 148 w 148"/>
                  <a:gd name="T103" fmla="*/ 0 h 115"/>
                  <a:gd name="T104" fmla="*/ 148 w 148"/>
                  <a:gd name="T105" fmla="*/ 115 h 115"/>
                  <a:gd name="T106" fmla="*/ 116 w 148"/>
                  <a:gd name="T107" fmla="*/ 115 h 115"/>
                  <a:gd name="T108" fmla="*/ 116 w 148"/>
                  <a:gd name="T109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48" h="115">
                    <a:moveTo>
                      <a:pt x="92" y="46"/>
                    </a:moveTo>
                    <a:lnTo>
                      <a:pt x="92" y="46"/>
                    </a:lnTo>
                    <a:lnTo>
                      <a:pt x="97" y="51"/>
                    </a:lnTo>
                    <a:lnTo>
                      <a:pt x="101" y="58"/>
                    </a:lnTo>
                    <a:lnTo>
                      <a:pt x="103" y="66"/>
                    </a:lnTo>
                    <a:lnTo>
                      <a:pt x="103" y="73"/>
                    </a:lnTo>
                    <a:lnTo>
                      <a:pt x="103" y="73"/>
                    </a:lnTo>
                    <a:lnTo>
                      <a:pt x="103" y="82"/>
                    </a:lnTo>
                    <a:lnTo>
                      <a:pt x="100" y="90"/>
                    </a:lnTo>
                    <a:lnTo>
                      <a:pt x="96" y="97"/>
                    </a:lnTo>
                    <a:lnTo>
                      <a:pt x="91" y="104"/>
                    </a:lnTo>
                    <a:lnTo>
                      <a:pt x="91" y="104"/>
                    </a:lnTo>
                    <a:lnTo>
                      <a:pt x="83" y="109"/>
                    </a:lnTo>
                    <a:lnTo>
                      <a:pt x="73" y="113"/>
                    </a:lnTo>
                    <a:lnTo>
                      <a:pt x="64" y="115"/>
                    </a:lnTo>
                    <a:lnTo>
                      <a:pt x="54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2" y="0"/>
                    </a:lnTo>
                    <a:lnTo>
                      <a:pt x="32" y="36"/>
                    </a:lnTo>
                    <a:lnTo>
                      <a:pt x="59" y="36"/>
                    </a:lnTo>
                    <a:lnTo>
                      <a:pt x="59" y="36"/>
                    </a:lnTo>
                    <a:lnTo>
                      <a:pt x="67" y="37"/>
                    </a:lnTo>
                    <a:lnTo>
                      <a:pt x="76" y="38"/>
                    </a:lnTo>
                    <a:lnTo>
                      <a:pt x="85" y="41"/>
                    </a:lnTo>
                    <a:lnTo>
                      <a:pt x="92" y="46"/>
                    </a:lnTo>
                    <a:lnTo>
                      <a:pt x="92" y="46"/>
                    </a:lnTo>
                    <a:close/>
                    <a:moveTo>
                      <a:pt x="65" y="86"/>
                    </a:moveTo>
                    <a:lnTo>
                      <a:pt x="65" y="86"/>
                    </a:lnTo>
                    <a:lnTo>
                      <a:pt x="67" y="84"/>
                    </a:lnTo>
                    <a:lnTo>
                      <a:pt x="69" y="81"/>
                    </a:lnTo>
                    <a:lnTo>
                      <a:pt x="70" y="77"/>
                    </a:lnTo>
                    <a:lnTo>
                      <a:pt x="70" y="74"/>
                    </a:lnTo>
                    <a:lnTo>
                      <a:pt x="70" y="74"/>
                    </a:lnTo>
                    <a:lnTo>
                      <a:pt x="70" y="71"/>
                    </a:lnTo>
                    <a:lnTo>
                      <a:pt x="69" y="68"/>
                    </a:lnTo>
                    <a:lnTo>
                      <a:pt x="68" y="65"/>
                    </a:lnTo>
                    <a:lnTo>
                      <a:pt x="66" y="63"/>
                    </a:lnTo>
                    <a:lnTo>
                      <a:pt x="63" y="61"/>
                    </a:lnTo>
                    <a:lnTo>
                      <a:pt x="60" y="60"/>
                    </a:lnTo>
                    <a:lnTo>
                      <a:pt x="52" y="59"/>
                    </a:lnTo>
                    <a:lnTo>
                      <a:pt x="33" y="59"/>
                    </a:lnTo>
                    <a:lnTo>
                      <a:pt x="33" y="91"/>
                    </a:lnTo>
                    <a:lnTo>
                      <a:pt x="52" y="91"/>
                    </a:lnTo>
                    <a:lnTo>
                      <a:pt x="52" y="91"/>
                    </a:lnTo>
                    <a:lnTo>
                      <a:pt x="56" y="91"/>
                    </a:lnTo>
                    <a:lnTo>
                      <a:pt x="59" y="90"/>
                    </a:lnTo>
                    <a:lnTo>
                      <a:pt x="62" y="88"/>
                    </a:lnTo>
                    <a:lnTo>
                      <a:pt x="65" y="86"/>
                    </a:lnTo>
                    <a:lnTo>
                      <a:pt x="65" y="86"/>
                    </a:lnTo>
                    <a:close/>
                    <a:moveTo>
                      <a:pt x="116" y="0"/>
                    </a:moveTo>
                    <a:lnTo>
                      <a:pt x="148" y="0"/>
                    </a:lnTo>
                    <a:lnTo>
                      <a:pt x="148" y="115"/>
                    </a:lnTo>
                    <a:lnTo>
                      <a:pt x="116" y="115"/>
                    </a:lnTo>
                    <a:lnTo>
                      <a:pt x="116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12">
                <a:extLst>
                  <a:ext uri="{FF2B5EF4-FFF2-40B4-BE49-F238E27FC236}">
                    <a16:creationId xmlns:a16="http://schemas.microsoft.com/office/drawing/2014/main" id="{FC149AE9-AE9A-4F47-B7BC-10FB3260588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166479" y="1376363"/>
                <a:ext cx="79375" cy="95250"/>
              </a:xfrm>
              <a:custGeom>
                <a:avLst/>
                <a:gdLst>
                  <a:gd name="T0" fmla="*/ 96 w 101"/>
                  <a:gd name="T1" fmla="*/ 68 h 120"/>
                  <a:gd name="T2" fmla="*/ 100 w 101"/>
                  <a:gd name="T3" fmla="*/ 76 h 120"/>
                  <a:gd name="T4" fmla="*/ 101 w 101"/>
                  <a:gd name="T5" fmla="*/ 85 h 120"/>
                  <a:gd name="T6" fmla="*/ 101 w 101"/>
                  <a:gd name="T7" fmla="*/ 90 h 120"/>
                  <a:gd name="T8" fmla="*/ 97 w 101"/>
                  <a:gd name="T9" fmla="*/ 99 h 120"/>
                  <a:gd name="T10" fmla="*/ 94 w 101"/>
                  <a:gd name="T11" fmla="*/ 104 h 120"/>
                  <a:gd name="T12" fmla="*/ 85 w 101"/>
                  <a:gd name="T13" fmla="*/ 111 h 120"/>
                  <a:gd name="T14" fmla="*/ 75 w 101"/>
                  <a:gd name="T15" fmla="*/ 116 h 120"/>
                  <a:gd name="T16" fmla="*/ 61 w 101"/>
                  <a:gd name="T17" fmla="*/ 119 h 120"/>
                  <a:gd name="T18" fmla="*/ 48 w 101"/>
                  <a:gd name="T19" fmla="*/ 120 h 120"/>
                  <a:gd name="T20" fmla="*/ 23 w 101"/>
                  <a:gd name="T21" fmla="*/ 118 h 120"/>
                  <a:gd name="T22" fmla="*/ 12 w 101"/>
                  <a:gd name="T23" fmla="*/ 114 h 120"/>
                  <a:gd name="T24" fmla="*/ 10 w 101"/>
                  <a:gd name="T25" fmla="*/ 86 h 120"/>
                  <a:gd name="T26" fmla="*/ 18 w 101"/>
                  <a:gd name="T27" fmla="*/ 89 h 120"/>
                  <a:gd name="T28" fmla="*/ 26 w 101"/>
                  <a:gd name="T29" fmla="*/ 92 h 120"/>
                  <a:gd name="T30" fmla="*/ 44 w 101"/>
                  <a:gd name="T31" fmla="*/ 94 h 120"/>
                  <a:gd name="T32" fmla="*/ 53 w 101"/>
                  <a:gd name="T33" fmla="*/ 93 h 120"/>
                  <a:gd name="T34" fmla="*/ 62 w 101"/>
                  <a:gd name="T35" fmla="*/ 90 h 120"/>
                  <a:gd name="T36" fmla="*/ 67 w 101"/>
                  <a:gd name="T37" fmla="*/ 86 h 120"/>
                  <a:gd name="T38" fmla="*/ 69 w 101"/>
                  <a:gd name="T39" fmla="*/ 80 h 120"/>
                  <a:gd name="T40" fmla="*/ 68 w 101"/>
                  <a:gd name="T41" fmla="*/ 78 h 120"/>
                  <a:gd name="T42" fmla="*/ 66 w 101"/>
                  <a:gd name="T43" fmla="*/ 74 h 120"/>
                  <a:gd name="T44" fmla="*/ 64 w 101"/>
                  <a:gd name="T45" fmla="*/ 73 h 120"/>
                  <a:gd name="T46" fmla="*/ 53 w 101"/>
                  <a:gd name="T47" fmla="*/ 70 h 120"/>
                  <a:gd name="T48" fmla="*/ 23 w 101"/>
                  <a:gd name="T49" fmla="*/ 47 h 120"/>
                  <a:gd name="T50" fmla="*/ 50 w 101"/>
                  <a:gd name="T51" fmla="*/ 47 h 120"/>
                  <a:gd name="T52" fmla="*/ 60 w 101"/>
                  <a:gd name="T53" fmla="*/ 44 h 120"/>
                  <a:gd name="T54" fmla="*/ 63 w 101"/>
                  <a:gd name="T55" fmla="*/ 41 h 120"/>
                  <a:gd name="T56" fmla="*/ 64 w 101"/>
                  <a:gd name="T57" fmla="*/ 37 h 120"/>
                  <a:gd name="T58" fmla="*/ 62 w 101"/>
                  <a:gd name="T59" fmla="*/ 32 h 120"/>
                  <a:gd name="T60" fmla="*/ 58 w 101"/>
                  <a:gd name="T61" fmla="*/ 29 h 120"/>
                  <a:gd name="T62" fmla="*/ 51 w 101"/>
                  <a:gd name="T63" fmla="*/ 26 h 120"/>
                  <a:gd name="T64" fmla="*/ 44 w 101"/>
                  <a:gd name="T65" fmla="*/ 26 h 120"/>
                  <a:gd name="T66" fmla="*/ 28 w 101"/>
                  <a:gd name="T67" fmla="*/ 28 h 120"/>
                  <a:gd name="T68" fmla="*/ 20 w 101"/>
                  <a:gd name="T69" fmla="*/ 30 h 120"/>
                  <a:gd name="T70" fmla="*/ 3 w 101"/>
                  <a:gd name="T71" fmla="*/ 9 h 120"/>
                  <a:gd name="T72" fmla="*/ 13 w 101"/>
                  <a:gd name="T73" fmla="*/ 5 h 120"/>
                  <a:gd name="T74" fmla="*/ 33 w 101"/>
                  <a:gd name="T75" fmla="*/ 1 h 120"/>
                  <a:gd name="T76" fmla="*/ 44 w 101"/>
                  <a:gd name="T77" fmla="*/ 0 h 120"/>
                  <a:gd name="T78" fmla="*/ 70 w 101"/>
                  <a:gd name="T79" fmla="*/ 4 h 120"/>
                  <a:gd name="T80" fmla="*/ 75 w 101"/>
                  <a:gd name="T81" fmla="*/ 6 h 120"/>
                  <a:gd name="T82" fmla="*/ 85 w 101"/>
                  <a:gd name="T83" fmla="*/ 12 h 120"/>
                  <a:gd name="T84" fmla="*/ 89 w 101"/>
                  <a:gd name="T85" fmla="*/ 16 h 120"/>
                  <a:gd name="T86" fmla="*/ 95 w 101"/>
                  <a:gd name="T87" fmla="*/ 24 h 120"/>
                  <a:gd name="T88" fmla="*/ 96 w 101"/>
                  <a:gd name="T89" fmla="*/ 34 h 120"/>
                  <a:gd name="T90" fmla="*/ 95 w 101"/>
                  <a:gd name="T91" fmla="*/ 41 h 120"/>
                  <a:gd name="T92" fmla="*/ 92 w 101"/>
                  <a:gd name="T93" fmla="*/ 48 h 120"/>
                  <a:gd name="T94" fmla="*/ 81 w 101"/>
                  <a:gd name="T95" fmla="*/ 58 h 120"/>
                  <a:gd name="T96" fmla="*/ 85 w 101"/>
                  <a:gd name="T97" fmla="*/ 59 h 120"/>
                  <a:gd name="T98" fmla="*/ 93 w 101"/>
                  <a:gd name="T99" fmla="*/ 65 h 120"/>
                  <a:gd name="T100" fmla="*/ 96 w 101"/>
                  <a:gd name="T101" fmla="*/ 68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01" h="120">
                    <a:moveTo>
                      <a:pt x="96" y="68"/>
                    </a:moveTo>
                    <a:lnTo>
                      <a:pt x="96" y="68"/>
                    </a:lnTo>
                    <a:lnTo>
                      <a:pt x="98" y="72"/>
                    </a:lnTo>
                    <a:lnTo>
                      <a:pt x="100" y="76"/>
                    </a:lnTo>
                    <a:lnTo>
                      <a:pt x="101" y="80"/>
                    </a:lnTo>
                    <a:lnTo>
                      <a:pt x="101" y="85"/>
                    </a:lnTo>
                    <a:lnTo>
                      <a:pt x="101" y="85"/>
                    </a:lnTo>
                    <a:lnTo>
                      <a:pt x="101" y="90"/>
                    </a:lnTo>
                    <a:lnTo>
                      <a:pt x="99" y="95"/>
                    </a:lnTo>
                    <a:lnTo>
                      <a:pt x="97" y="99"/>
                    </a:lnTo>
                    <a:lnTo>
                      <a:pt x="94" y="104"/>
                    </a:lnTo>
                    <a:lnTo>
                      <a:pt x="94" y="104"/>
                    </a:lnTo>
                    <a:lnTo>
                      <a:pt x="90" y="108"/>
                    </a:lnTo>
                    <a:lnTo>
                      <a:pt x="85" y="111"/>
                    </a:lnTo>
                    <a:lnTo>
                      <a:pt x="80" y="114"/>
                    </a:lnTo>
                    <a:lnTo>
                      <a:pt x="75" y="116"/>
                    </a:lnTo>
                    <a:lnTo>
                      <a:pt x="75" y="116"/>
                    </a:lnTo>
                    <a:lnTo>
                      <a:pt x="61" y="119"/>
                    </a:lnTo>
                    <a:lnTo>
                      <a:pt x="48" y="120"/>
                    </a:lnTo>
                    <a:lnTo>
                      <a:pt x="48" y="120"/>
                    </a:lnTo>
                    <a:lnTo>
                      <a:pt x="35" y="120"/>
                    </a:lnTo>
                    <a:lnTo>
                      <a:pt x="23" y="118"/>
                    </a:lnTo>
                    <a:lnTo>
                      <a:pt x="23" y="118"/>
                    </a:lnTo>
                    <a:lnTo>
                      <a:pt x="12" y="114"/>
                    </a:lnTo>
                    <a:lnTo>
                      <a:pt x="0" y="109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8" y="89"/>
                    </a:lnTo>
                    <a:lnTo>
                      <a:pt x="26" y="92"/>
                    </a:lnTo>
                    <a:lnTo>
                      <a:pt x="26" y="92"/>
                    </a:lnTo>
                    <a:lnTo>
                      <a:pt x="35" y="93"/>
                    </a:lnTo>
                    <a:lnTo>
                      <a:pt x="44" y="94"/>
                    </a:lnTo>
                    <a:lnTo>
                      <a:pt x="44" y="94"/>
                    </a:lnTo>
                    <a:lnTo>
                      <a:pt x="53" y="93"/>
                    </a:lnTo>
                    <a:lnTo>
                      <a:pt x="62" y="90"/>
                    </a:lnTo>
                    <a:lnTo>
                      <a:pt x="62" y="90"/>
                    </a:lnTo>
                    <a:lnTo>
                      <a:pt x="64" y="89"/>
                    </a:lnTo>
                    <a:lnTo>
                      <a:pt x="67" y="86"/>
                    </a:lnTo>
                    <a:lnTo>
                      <a:pt x="68" y="84"/>
                    </a:lnTo>
                    <a:lnTo>
                      <a:pt x="69" y="80"/>
                    </a:lnTo>
                    <a:lnTo>
                      <a:pt x="69" y="80"/>
                    </a:lnTo>
                    <a:lnTo>
                      <a:pt x="68" y="78"/>
                    </a:lnTo>
                    <a:lnTo>
                      <a:pt x="67" y="76"/>
                    </a:lnTo>
                    <a:lnTo>
                      <a:pt x="66" y="74"/>
                    </a:lnTo>
                    <a:lnTo>
                      <a:pt x="64" y="73"/>
                    </a:lnTo>
                    <a:lnTo>
                      <a:pt x="64" y="73"/>
                    </a:lnTo>
                    <a:lnTo>
                      <a:pt x="59" y="71"/>
                    </a:lnTo>
                    <a:lnTo>
                      <a:pt x="53" y="70"/>
                    </a:lnTo>
                    <a:lnTo>
                      <a:pt x="23" y="70"/>
                    </a:lnTo>
                    <a:lnTo>
                      <a:pt x="23" y="47"/>
                    </a:lnTo>
                    <a:lnTo>
                      <a:pt x="50" y="47"/>
                    </a:lnTo>
                    <a:lnTo>
                      <a:pt x="50" y="47"/>
                    </a:lnTo>
                    <a:lnTo>
                      <a:pt x="55" y="46"/>
                    </a:lnTo>
                    <a:lnTo>
                      <a:pt x="60" y="44"/>
                    </a:lnTo>
                    <a:lnTo>
                      <a:pt x="60" y="44"/>
                    </a:lnTo>
                    <a:lnTo>
                      <a:pt x="63" y="41"/>
                    </a:lnTo>
                    <a:lnTo>
                      <a:pt x="64" y="37"/>
                    </a:lnTo>
                    <a:lnTo>
                      <a:pt x="64" y="37"/>
                    </a:lnTo>
                    <a:lnTo>
                      <a:pt x="63" y="35"/>
                    </a:lnTo>
                    <a:lnTo>
                      <a:pt x="62" y="32"/>
                    </a:lnTo>
                    <a:lnTo>
                      <a:pt x="61" y="30"/>
                    </a:lnTo>
                    <a:lnTo>
                      <a:pt x="58" y="29"/>
                    </a:lnTo>
                    <a:lnTo>
                      <a:pt x="58" y="29"/>
                    </a:lnTo>
                    <a:lnTo>
                      <a:pt x="51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35" y="26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0" y="30"/>
                    </a:lnTo>
                    <a:lnTo>
                      <a:pt x="13" y="34"/>
                    </a:lnTo>
                    <a:lnTo>
                      <a:pt x="3" y="9"/>
                    </a:lnTo>
                    <a:lnTo>
                      <a:pt x="3" y="9"/>
                    </a:lnTo>
                    <a:lnTo>
                      <a:pt x="13" y="5"/>
                    </a:lnTo>
                    <a:lnTo>
                      <a:pt x="23" y="2"/>
                    </a:lnTo>
                    <a:lnTo>
                      <a:pt x="33" y="1"/>
                    </a:lnTo>
                    <a:lnTo>
                      <a:pt x="44" y="0"/>
                    </a:lnTo>
                    <a:lnTo>
                      <a:pt x="44" y="0"/>
                    </a:lnTo>
                    <a:lnTo>
                      <a:pt x="57" y="1"/>
                    </a:lnTo>
                    <a:lnTo>
                      <a:pt x="70" y="4"/>
                    </a:lnTo>
                    <a:lnTo>
                      <a:pt x="70" y="4"/>
                    </a:lnTo>
                    <a:lnTo>
                      <a:pt x="75" y="6"/>
                    </a:lnTo>
                    <a:lnTo>
                      <a:pt x="80" y="9"/>
                    </a:lnTo>
                    <a:lnTo>
                      <a:pt x="85" y="12"/>
                    </a:lnTo>
                    <a:lnTo>
                      <a:pt x="89" y="16"/>
                    </a:lnTo>
                    <a:lnTo>
                      <a:pt x="89" y="16"/>
                    </a:lnTo>
                    <a:lnTo>
                      <a:pt x="92" y="20"/>
                    </a:lnTo>
                    <a:lnTo>
                      <a:pt x="95" y="24"/>
                    </a:lnTo>
                    <a:lnTo>
                      <a:pt x="96" y="29"/>
                    </a:lnTo>
                    <a:lnTo>
                      <a:pt x="96" y="34"/>
                    </a:lnTo>
                    <a:lnTo>
                      <a:pt x="96" y="34"/>
                    </a:lnTo>
                    <a:lnTo>
                      <a:pt x="95" y="41"/>
                    </a:lnTo>
                    <a:lnTo>
                      <a:pt x="92" y="48"/>
                    </a:lnTo>
                    <a:lnTo>
                      <a:pt x="92" y="48"/>
                    </a:lnTo>
                    <a:lnTo>
                      <a:pt x="87" y="53"/>
                    </a:lnTo>
                    <a:lnTo>
                      <a:pt x="81" y="58"/>
                    </a:lnTo>
                    <a:lnTo>
                      <a:pt x="81" y="58"/>
                    </a:lnTo>
                    <a:lnTo>
                      <a:pt x="85" y="59"/>
                    </a:lnTo>
                    <a:lnTo>
                      <a:pt x="89" y="62"/>
                    </a:lnTo>
                    <a:lnTo>
                      <a:pt x="93" y="65"/>
                    </a:lnTo>
                    <a:lnTo>
                      <a:pt x="96" y="68"/>
                    </a:lnTo>
                    <a:lnTo>
                      <a:pt x="96" y="6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13">
                <a:extLst>
                  <a:ext uri="{FF2B5EF4-FFF2-40B4-BE49-F238E27FC236}">
                    <a16:creationId xmlns:a16="http://schemas.microsoft.com/office/drawing/2014/main" id="{B56E7AED-7ED5-4E08-8829-A300CE413AA7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1256966" y="1377950"/>
                <a:ext cx="101600" cy="93662"/>
              </a:xfrm>
              <a:custGeom>
                <a:avLst/>
                <a:gdLst>
                  <a:gd name="T0" fmla="*/ 31 w 128"/>
                  <a:gd name="T1" fmla="*/ 112 h 119"/>
                  <a:gd name="T2" fmla="*/ 21 w 128"/>
                  <a:gd name="T3" fmla="*/ 105 h 119"/>
                  <a:gd name="T4" fmla="*/ 7 w 128"/>
                  <a:gd name="T5" fmla="*/ 87 h 119"/>
                  <a:gd name="T6" fmla="*/ 0 w 128"/>
                  <a:gd name="T7" fmla="*/ 65 h 119"/>
                  <a:gd name="T8" fmla="*/ 2 w 128"/>
                  <a:gd name="T9" fmla="*/ 43 h 119"/>
                  <a:gd name="T10" fmla="*/ 7 w 128"/>
                  <a:gd name="T11" fmla="*/ 32 h 119"/>
                  <a:gd name="T12" fmla="*/ 11 w 128"/>
                  <a:gd name="T13" fmla="*/ 24 h 119"/>
                  <a:gd name="T14" fmla="*/ 24 w 128"/>
                  <a:gd name="T15" fmla="*/ 12 h 119"/>
                  <a:gd name="T16" fmla="*/ 31 w 128"/>
                  <a:gd name="T17" fmla="*/ 7 h 119"/>
                  <a:gd name="T18" fmla="*/ 47 w 128"/>
                  <a:gd name="T19" fmla="*/ 2 h 119"/>
                  <a:gd name="T20" fmla="*/ 65 w 128"/>
                  <a:gd name="T21" fmla="*/ 0 h 119"/>
                  <a:gd name="T22" fmla="*/ 81 w 128"/>
                  <a:gd name="T23" fmla="*/ 2 h 119"/>
                  <a:gd name="T24" fmla="*/ 97 w 128"/>
                  <a:gd name="T25" fmla="*/ 7 h 119"/>
                  <a:gd name="T26" fmla="*/ 102 w 128"/>
                  <a:gd name="T27" fmla="*/ 10 h 119"/>
                  <a:gd name="T28" fmla="*/ 115 w 128"/>
                  <a:gd name="T29" fmla="*/ 22 h 119"/>
                  <a:gd name="T30" fmla="*/ 126 w 128"/>
                  <a:gd name="T31" fmla="*/ 42 h 119"/>
                  <a:gd name="T32" fmla="*/ 128 w 128"/>
                  <a:gd name="T33" fmla="*/ 64 h 119"/>
                  <a:gd name="T34" fmla="*/ 124 w 128"/>
                  <a:gd name="T35" fmla="*/ 81 h 119"/>
                  <a:gd name="T36" fmla="*/ 122 w 128"/>
                  <a:gd name="T37" fmla="*/ 86 h 119"/>
                  <a:gd name="T38" fmla="*/ 111 w 128"/>
                  <a:gd name="T39" fmla="*/ 100 h 119"/>
                  <a:gd name="T40" fmla="*/ 97 w 128"/>
                  <a:gd name="T41" fmla="*/ 112 h 119"/>
                  <a:gd name="T42" fmla="*/ 89 w 128"/>
                  <a:gd name="T43" fmla="*/ 115 h 119"/>
                  <a:gd name="T44" fmla="*/ 73 w 128"/>
                  <a:gd name="T45" fmla="*/ 119 h 119"/>
                  <a:gd name="T46" fmla="*/ 56 w 128"/>
                  <a:gd name="T47" fmla="*/ 119 h 119"/>
                  <a:gd name="T48" fmla="*/ 39 w 128"/>
                  <a:gd name="T49" fmla="*/ 115 h 119"/>
                  <a:gd name="T50" fmla="*/ 31 w 128"/>
                  <a:gd name="T51" fmla="*/ 112 h 119"/>
                  <a:gd name="T52" fmla="*/ 80 w 128"/>
                  <a:gd name="T53" fmla="*/ 87 h 119"/>
                  <a:gd name="T54" fmla="*/ 91 w 128"/>
                  <a:gd name="T55" fmla="*/ 76 h 119"/>
                  <a:gd name="T56" fmla="*/ 94 w 128"/>
                  <a:gd name="T57" fmla="*/ 68 h 119"/>
                  <a:gd name="T58" fmla="*/ 94 w 128"/>
                  <a:gd name="T59" fmla="*/ 50 h 119"/>
                  <a:gd name="T60" fmla="*/ 91 w 128"/>
                  <a:gd name="T61" fmla="*/ 42 h 119"/>
                  <a:gd name="T62" fmla="*/ 80 w 128"/>
                  <a:gd name="T63" fmla="*/ 30 h 119"/>
                  <a:gd name="T64" fmla="*/ 73 w 128"/>
                  <a:gd name="T65" fmla="*/ 27 h 119"/>
                  <a:gd name="T66" fmla="*/ 57 w 128"/>
                  <a:gd name="T67" fmla="*/ 27 h 119"/>
                  <a:gd name="T68" fmla="*/ 48 w 128"/>
                  <a:gd name="T69" fmla="*/ 30 h 119"/>
                  <a:gd name="T70" fmla="*/ 37 w 128"/>
                  <a:gd name="T71" fmla="*/ 42 h 119"/>
                  <a:gd name="T72" fmla="*/ 34 w 128"/>
                  <a:gd name="T73" fmla="*/ 50 h 119"/>
                  <a:gd name="T74" fmla="*/ 34 w 128"/>
                  <a:gd name="T75" fmla="*/ 68 h 119"/>
                  <a:gd name="T76" fmla="*/ 37 w 128"/>
                  <a:gd name="T77" fmla="*/ 76 h 119"/>
                  <a:gd name="T78" fmla="*/ 48 w 128"/>
                  <a:gd name="T79" fmla="*/ 87 h 119"/>
                  <a:gd name="T80" fmla="*/ 57 w 128"/>
                  <a:gd name="T81" fmla="*/ 90 h 119"/>
                  <a:gd name="T82" fmla="*/ 73 w 128"/>
                  <a:gd name="T83" fmla="*/ 90 h 119"/>
                  <a:gd name="T84" fmla="*/ 80 w 128"/>
                  <a:gd name="T85" fmla="*/ 87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28" h="119">
                    <a:moveTo>
                      <a:pt x="31" y="112"/>
                    </a:moveTo>
                    <a:lnTo>
                      <a:pt x="31" y="112"/>
                    </a:lnTo>
                    <a:lnTo>
                      <a:pt x="26" y="109"/>
                    </a:lnTo>
                    <a:lnTo>
                      <a:pt x="21" y="105"/>
                    </a:lnTo>
                    <a:lnTo>
                      <a:pt x="13" y="96"/>
                    </a:lnTo>
                    <a:lnTo>
                      <a:pt x="7" y="87"/>
                    </a:lnTo>
                    <a:lnTo>
                      <a:pt x="3" y="76"/>
                    </a:lnTo>
                    <a:lnTo>
                      <a:pt x="0" y="65"/>
                    </a:lnTo>
                    <a:lnTo>
                      <a:pt x="0" y="54"/>
                    </a:lnTo>
                    <a:lnTo>
                      <a:pt x="2" y="43"/>
                    </a:lnTo>
                    <a:lnTo>
                      <a:pt x="4" y="37"/>
                    </a:lnTo>
                    <a:lnTo>
                      <a:pt x="7" y="32"/>
                    </a:lnTo>
                    <a:lnTo>
                      <a:pt x="7" y="32"/>
                    </a:lnTo>
                    <a:lnTo>
                      <a:pt x="11" y="24"/>
                    </a:lnTo>
                    <a:lnTo>
                      <a:pt x="17" y="18"/>
                    </a:lnTo>
                    <a:lnTo>
                      <a:pt x="24" y="12"/>
                    </a:lnTo>
                    <a:lnTo>
                      <a:pt x="31" y="7"/>
                    </a:lnTo>
                    <a:lnTo>
                      <a:pt x="31" y="7"/>
                    </a:lnTo>
                    <a:lnTo>
                      <a:pt x="39" y="4"/>
                    </a:lnTo>
                    <a:lnTo>
                      <a:pt x="47" y="2"/>
                    </a:lnTo>
                    <a:lnTo>
                      <a:pt x="56" y="0"/>
                    </a:lnTo>
                    <a:lnTo>
                      <a:pt x="65" y="0"/>
                    </a:lnTo>
                    <a:lnTo>
                      <a:pt x="73" y="0"/>
                    </a:lnTo>
                    <a:lnTo>
                      <a:pt x="81" y="2"/>
                    </a:lnTo>
                    <a:lnTo>
                      <a:pt x="89" y="4"/>
                    </a:lnTo>
                    <a:lnTo>
                      <a:pt x="97" y="7"/>
                    </a:lnTo>
                    <a:lnTo>
                      <a:pt x="97" y="7"/>
                    </a:lnTo>
                    <a:lnTo>
                      <a:pt x="102" y="10"/>
                    </a:lnTo>
                    <a:lnTo>
                      <a:pt x="107" y="14"/>
                    </a:lnTo>
                    <a:lnTo>
                      <a:pt x="115" y="22"/>
                    </a:lnTo>
                    <a:lnTo>
                      <a:pt x="121" y="31"/>
                    </a:lnTo>
                    <a:lnTo>
                      <a:pt x="126" y="42"/>
                    </a:lnTo>
                    <a:lnTo>
                      <a:pt x="128" y="53"/>
                    </a:lnTo>
                    <a:lnTo>
                      <a:pt x="128" y="64"/>
                    </a:lnTo>
                    <a:lnTo>
                      <a:pt x="126" y="75"/>
                    </a:lnTo>
                    <a:lnTo>
                      <a:pt x="124" y="81"/>
                    </a:lnTo>
                    <a:lnTo>
                      <a:pt x="122" y="86"/>
                    </a:lnTo>
                    <a:lnTo>
                      <a:pt x="122" y="86"/>
                    </a:lnTo>
                    <a:lnTo>
                      <a:pt x="117" y="94"/>
                    </a:lnTo>
                    <a:lnTo>
                      <a:pt x="111" y="100"/>
                    </a:lnTo>
                    <a:lnTo>
                      <a:pt x="105" y="107"/>
                    </a:lnTo>
                    <a:lnTo>
                      <a:pt x="97" y="112"/>
                    </a:lnTo>
                    <a:lnTo>
                      <a:pt x="97" y="112"/>
                    </a:lnTo>
                    <a:lnTo>
                      <a:pt x="89" y="115"/>
                    </a:lnTo>
                    <a:lnTo>
                      <a:pt x="81" y="117"/>
                    </a:lnTo>
                    <a:lnTo>
                      <a:pt x="73" y="119"/>
                    </a:lnTo>
                    <a:lnTo>
                      <a:pt x="65" y="119"/>
                    </a:lnTo>
                    <a:lnTo>
                      <a:pt x="56" y="119"/>
                    </a:lnTo>
                    <a:lnTo>
                      <a:pt x="47" y="117"/>
                    </a:lnTo>
                    <a:lnTo>
                      <a:pt x="39" y="115"/>
                    </a:lnTo>
                    <a:lnTo>
                      <a:pt x="31" y="112"/>
                    </a:lnTo>
                    <a:lnTo>
                      <a:pt x="31" y="112"/>
                    </a:lnTo>
                    <a:close/>
                    <a:moveTo>
                      <a:pt x="80" y="87"/>
                    </a:moveTo>
                    <a:lnTo>
                      <a:pt x="80" y="87"/>
                    </a:lnTo>
                    <a:lnTo>
                      <a:pt x="87" y="82"/>
                    </a:lnTo>
                    <a:lnTo>
                      <a:pt x="91" y="76"/>
                    </a:lnTo>
                    <a:lnTo>
                      <a:pt x="91" y="76"/>
                    </a:lnTo>
                    <a:lnTo>
                      <a:pt x="94" y="68"/>
                    </a:lnTo>
                    <a:lnTo>
                      <a:pt x="96" y="59"/>
                    </a:lnTo>
                    <a:lnTo>
                      <a:pt x="94" y="50"/>
                    </a:lnTo>
                    <a:lnTo>
                      <a:pt x="91" y="42"/>
                    </a:lnTo>
                    <a:lnTo>
                      <a:pt x="91" y="42"/>
                    </a:lnTo>
                    <a:lnTo>
                      <a:pt x="87" y="35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73" y="27"/>
                    </a:lnTo>
                    <a:lnTo>
                      <a:pt x="65" y="26"/>
                    </a:lnTo>
                    <a:lnTo>
                      <a:pt x="57" y="27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2" y="35"/>
                    </a:lnTo>
                    <a:lnTo>
                      <a:pt x="37" y="42"/>
                    </a:lnTo>
                    <a:lnTo>
                      <a:pt x="37" y="42"/>
                    </a:lnTo>
                    <a:lnTo>
                      <a:pt x="34" y="50"/>
                    </a:lnTo>
                    <a:lnTo>
                      <a:pt x="33" y="59"/>
                    </a:lnTo>
                    <a:lnTo>
                      <a:pt x="34" y="68"/>
                    </a:lnTo>
                    <a:lnTo>
                      <a:pt x="37" y="76"/>
                    </a:lnTo>
                    <a:lnTo>
                      <a:pt x="37" y="76"/>
                    </a:lnTo>
                    <a:lnTo>
                      <a:pt x="42" y="82"/>
                    </a:lnTo>
                    <a:lnTo>
                      <a:pt x="48" y="87"/>
                    </a:lnTo>
                    <a:lnTo>
                      <a:pt x="48" y="87"/>
                    </a:lnTo>
                    <a:lnTo>
                      <a:pt x="57" y="90"/>
                    </a:lnTo>
                    <a:lnTo>
                      <a:pt x="65" y="91"/>
                    </a:lnTo>
                    <a:lnTo>
                      <a:pt x="73" y="90"/>
                    </a:lnTo>
                    <a:lnTo>
                      <a:pt x="80" y="87"/>
                    </a:lnTo>
                    <a:lnTo>
                      <a:pt x="80" y="8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14">
                <a:extLst>
                  <a:ext uri="{FF2B5EF4-FFF2-40B4-BE49-F238E27FC236}">
                    <a16:creationId xmlns:a16="http://schemas.microsoft.com/office/drawing/2014/main" id="{5483A089-7DAF-4211-AC85-E75156C7B740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1374441" y="1379538"/>
                <a:ext cx="82550" cy="90487"/>
              </a:xfrm>
              <a:custGeom>
                <a:avLst/>
                <a:gdLst>
                  <a:gd name="T0" fmla="*/ 99 w 104"/>
                  <a:gd name="T1" fmla="*/ 64 h 115"/>
                  <a:gd name="T2" fmla="*/ 103 w 104"/>
                  <a:gd name="T3" fmla="*/ 72 h 115"/>
                  <a:gd name="T4" fmla="*/ 104 w 104"/>
                  <a:gd name="T5" fmla="*/ 81 h 115"/>
                  <a:gd name="T6" fmla="*/ 104 w 104"/>
                  <a:gd name="T7" fmla="*/ 88 h 115"/>
                  <a:gd name="T8" fmla="*/ 98 w 104"/>
                  <a:gd name="T9" fmla="*/ 101 h 115"/>
                  <a:gd name="T10" fmla="*/ 92 w 104"/>
                  <a:gd name="T11" fmla="*/ 106 h 115"/>
                  <a:gd name="T12" fmla="*/ 78 w 104"/>
                  <a:gd name="T13" fmla="*/ 113 h 115"/>
                  <a:gd name="T14" fmla="*/ 59 w 104"/>
                  <a:gd name="T15" fmla="*/ 115 h 115"/>
                  <a:gd name="T16" fmla="*/ 0 w 104"/>
                  <a:gd name="T17" fmla="*/ 0 h 115"/>
                  <a:gd name="T18" fmla="*/ 56 w 104"/>
                  <a:gd name="T19" fmla="*/ 0 h 115"/>
                  <a:gd name="T20" fmla="*/ 72 w 104"/>
                  <a:gd name="T21" fmla="*/ 2 h 115"/>
                  <a:gd name="T22" fmla="*/ 88 w 104"/>
                  <a:gd name="T23" fmla="*/ 8 h 115"/>
                  <a:gd name="T24" fmla="*/ 93 w 104"/>
                  <a:gd name="T25" fmla="*/ 12 h 115"/>
                  <a:gd name="T26" fmla="*/ 99 w 104"/>
                  <a:gd name="T27" fmla="*/ 23 h 115"/>
                  <a:gd name="T28" fmla="*/ 99 w 104"/>
                  <a:gd name="T29" fmla="*/ 30 h 115"/>
                  <a:gd name="T30" fmla="*/ 95 w 104"/>
                  <a:gd name="T31" fmla="*/ 45 h 115"/>
                  <a:gd name="T32" fmla="*/ 90 w 104"/>
                  <a:gd name="T33" fmla="*/ 50 h 115"/>
                  <a:gd name="T34" fmla="*/ 84 w 104"/>
                  <a:gd name="T35" fmla="*/ 54 h 115"/>
                  <a:gd name="T36" fmla="*/ 92 w 104"/>
                  <a:gd name="T37" fmla="*/ 58 h 115"/>
                  <a:gd name="T38" fmla="*/ 99 w 104"/>
                  <a:gd name="T39" fmla="*/ 64 h 115"/>
                  <a:gd name="T40" fmla="*/ 31 w 104"/>
                  <a:gd name="T41" fmla="*/ 46 h 115"/>
                  <a:gd name="T42" fmla="*/ 53 w 104"/>
                  <a:gd name="T43" fmla="*/ 46 h 115"/>
                  <a:gd name="T44" fmla="*/ 63 w 104"/>
                  <a:gd name="T45" fmla="*/ 43 h 115"/>
                  <a:gd name="T46" fmla="*/ 67 w 104"/>
                  <a:gd name="T47" fmla="*/ 34 h 115"/>
                  <a:gd name="T48" fmla="*/ 66 w 104"/>
                  <a:gd name="T49" fmla="*/ 29 h 115"/>
                  <a:gd name="T50" fmla="*/ 59 w 104"/>
                  <a:gd name="T51" fmla="*/ 24 h 115"/>
                  <a:gd name="T52" fmla="*/ 31 w 104"/>
                  <a:gd name="T53" fmla="*/ 23 h 115"/>
                  <a:gd name="T54" fmla="*/ 72 w 104"/>
                  <a:gd name="T55" fmla="*/ 79 h 115"/>
                  <a:gd name="T56" fmla="*/ 71 w 104"/>
                  <a:gd name="T57" fmla="*/ 74 h 115"/>
                  <a:gd name="T58" fmla="*/ 64 w 104"/>
                  <a:gd name="T59" fmla="*/ 68 h 115"/>
                  <a:gd name="T60" fmla="*/ 32 w 104"/>
                  <a:gd name="T61" fmla="*/ 67 h 115"/>
                  <a:gd name="T62" fmla="*/ 58 w 104"/>
                  <a:gd name="T63" fmla="*/ 91 h 115"/>
                  <a:gd name="T64" fmla="*/ 64 w 104"/>
                  <a:gd name="T65" fmla="*/ 90 h 115"/>
                  <a:gd name="T66" fmla="*/ 71 w 104"/>
                  <a:gd name="T67" fmla="*/ 84 h 115"/>
                  <a:gd name="T68" fmla="*/ 72 w 104"/>
                  <a:gd name="T69" fmla="*/ 79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4" h="115">
                    <a:moveTo>
                      <a:pt x="99" y="64"/>
                    </a:moveTo>
                    <a:lnTo>
                      <a:pt x="99" y="64"/>
                    </a:lnTo>
                    <a:lnTo>
                      <a:pt x="101" y="68"/>
                    </a:lnTo>
                    <a:lnTo>
                      <a:pt x="103" y="72"/>
                    </a:lnTo>
                    <a:lnTo>
                      <a:pt x="104" y="77"/>
                    </a:lnTo>
                    <a:lnTo>
                      <a:pt x="104" y="81"/>
                    </a:lnTo>
                    <a:lnTo>
                      <a:pt x="104" y="81"/>
                    </a:lnTo>
                    <a:lnTo>
                      <a:pt x="104" y="88"/>
                    </a:lnTo>
                    <a:lnTo>
                      <a:pt x="101" y="95"/>
                    </a:lnTo>
                    <a:lnTo>
                      <a:pt x="98" y="101"/>
                    </a:lnTo>
                    <a:lnTo>
                      <a:pt x="92" y="106"/>
                    </a:lnTo>
                    <a:lnTo>
                      <a:pt x="92" y="106"/>
                    </a:lnTo>
                    <a:lnTo>
                      <a:pt x="86" y="110"/>
                    </a:lnTo>
                    <a:lnTo>
                      <a:pt x="78" y="113"/>
                    </a:lnTo>
                    <a:lnTo>
                      <a:pt x="69" y="114"/>
                    </a:lnTo>
                    <a:lnTo>
                      <a:pt x="59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4" y="0"/>
                    </a:lnTo>
                    <a:lnTo>
                      <a:pt x="72" y="2"/>
                    </a:lnTo>
                    <a:lnTo>
                      <a:pt x="80" y="4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93" y="12"/>
                    </a:lnTo>
                    <a:lnTo>
                      <a:pt x="96" y="17"/>
                    </a:lnTo>
                    <a:lnTo>
                      <a:pt x="99" y="23"/>
                    </a:lnTo>
                    <a:lnTo>
                      <a:pt x="99" y="30"/>
                    </a:lnTo>
                    <a:lnTo>
                      <a:pt x="99" y="30"/>
                    </a:lnTo>
                    <a:lnTo>
                      <a:pt x="98" y="37"/>
                    </a:lnTo>
                    <a:lnTo>
                      <a:pt x="95" y="45"/>
                    </a:lnTo>
                    <a:lnTo>
                      <a:pt x="95" y="45"/>
                    </a:lnTo>
                    <a:lnTo>
                      <a:pt x="90" y="50"/>
                    </a:lnTo>
                    <a:lnTo>
                      <a:pt x="84" y="54"/>
                    </a:lnTo>
                    <a:lnTo>
                      <a:pt x="84" y="54"/>
                    </a:lnTo>
                    <a:lnTo>
                      <a:pt x="88" y="56"/>
                    </a:lnTo>
                    <a:lnTo>
                      <a:pt x="92" y="58"/>
                    </a:lnTo>
                    <a:lnTo>
                      <a:pt x="96" y="61"/>
                    </a:lnTo>
                    <a:lnTo>
                      <a:pt x="99" y="64"/>
                    </a:lnTo>
                    <a:lnTo>
                      <a:pt x="99" y="64"/>
                    </a:lnTo>
                    <a:close/>
                    <a:moveTo>
                      <a:pt x="31" y="46"/>
                    </a:moveTo>
                    <a:lnTo>
                      <a:pt x="53" y="46"/>
                    </a:lnTo>
                    <a:lnTo>
                      <a:pt x="53" y="46"/>
                    </a:lnTo>
                    <a:lnTo>
                      <a:pt x="59" y="45"/>
                    </a:lnTo>
                    <a:lnTo>
                      <a:pt x="63" y="43"/>
                    </a:lnTo>
                    <a:lnTo>
                      <a:pt x="66" y="39"/>
                    </a:lnTo>
                    <a:lnTo>
                      <a:pt x="67" y="34"/>
                    </a:lnTo>
                    <a:lnTo>
                      <a:pt x="67" y="34"/>
                    </a:lnTo>
                    <a:lnTo>
                      <a:pt x="66" y="29"/>
                    </a:lnTo>
                    <a:lnTo>
                      <a:pt x="63" y="26"/>
                    </a:lnTo>
                    <a:lnTo>
                      <a:pt x="59" y="24"/>
                    </a:lnTo>
                    <a:lnTo>
                      <a:pt x="53" y="23"/>
                    </a:lnTo>
                    <a:lnTo>
                      <a:pt x="31" y="23"/>
                    </a:lnTo>
                    <a:lnTo>
                      <a:pt x="31" y="46"/>
                    </a:lnTo>
                    <a:close/>
                    <a:moveTo>
                      <a:pt x="72" y="79"/>
                    </a:moveTo>
                    <a:lnTo>
                      <a:pt x="72" y="79"/>
                    </a:lnTo>
                    <a:lnTo>
                      <a:pt x="71" y="74"/>
                    </a:lnTo>
                    <a:lnTo>
                      <a:pt x="68" y="70"/>
                    </a:lnTo>
                    <a:lnTo>
                      <a:pt x="64" y="68"/>
                    </a:lnTo>
                    <a:lnTo>
                      <a:pt x="58" y="67"/>
                    </a:lnTo>
                    <a:lnTo>
                      <a:pt x="32" y="67"/>
                    </a:lnTo>
                    <a:lnTo>
                      <a:pt x="32" y="91"/>
                    </a:lnTo>
                    <a:lnTo>
                      <a:pt x="58" y="91"/>
                    </a:lnTo>
                    <a:lnTo>
                      <a:pt x="58" y="91"/>
                    </a:lnTo>
                    <a:lnTo>
                      <a:pt x="64" y="90"/>
                    </a:lnTo>
                    <a:lnTo>
                      <a:pt x="68" y="88"/>
                    </a:lnTo>
                    <a:lnTo>
                      <a:pt x="71" y="84"/>
                    </a:lnTo>
                    <a:lnTo>
                      <a:pt x="72" y="79"/>
                    </a:lnTo>
                    <a:lnTo>
                      <a:pt x="72" y="7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15">
                <a:extLst>
                  <a:ext uri="{FF2B5EF4-FFF2-40B4-BE49-F238E27FC236}">
                    <a16:creationId xmlns:a16="http://schemas.microsoft.com/office/drawing/2014/main" id="{3A6DF4A1-691C-4E35-BCDF-269C0002717F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1474454" y="1379538"/>
                <a:ext cx="115888" cy="90487"/>
              </a:xfrm>
              <a:custGeom>
                <a:avLst/>
                <a:gdLst>
                  <a:gd name="T0" fmla="*/ 91 w 147"/>
                  <a:gd name="T1" fmla="*/ 46 h 115"/>
                  <a:gd name="T2" fmla="*/ 91 w 147"/>
                  <a:gd name="T3" fmla="*/ 46 h 115"/>
                  <a:gd name="T4" fmla="*/ 97 w 147"/>
                  <a:gd name="T5" fmla="*/ 51 h 115"/>
                  <a:gd name="T6" fmla="*/ 100 w 147"/>
                  <a:gd name="T7" fmla="*/ 58 h 115"/>
                  <a:gd name="T8" fmla="*/ 103 w 147"/>
                  <a:gd name="T9" fmla="*/ 66 h 115"/>
                  <a:gd name="T10" fmla="*/ 103 w 147"/>
                  <a:gd name="T11" fmla="*/ 73 h 115"/>
                  <a:gd name="T12" fmla="*/ 103 w 147"/>
                  <a:gd name="T13" fmla="*/ 73 h 115"/>
                  <a:gd name="T14" fmla="*/ 102 w 147"/>
                  <a:gd name="T15" fmla="*/ 82 h 115"/>
                  <a:gd name="T16" fmla="*/ 100 w 147"/>
                  <a:gd name="T17" fmla="*/ 90 h 115"/>
                  <a:gd name="T18" fmla="*/ 96 w 147"/>
                  <a:gd name="T19" fmla="*/ 97 h 115"/>
                  <a:gd name="T20" fmla="*/ 90 w 147"/>
                  <a:gd name="T21" fmla="*/ 104 h 115"/>
                  <a:gd name="T22" fmla="*/ 90 w 147"/>
                  <a:gd name="T23" fmla="*/ 104 h 115"/>
                  <a:gd name="T24" fmla="*/ 82 w 147"/>
                  <a:gd name="T25" fmla="*/ 109 h 115"/>
                  <a:gd name="T26" fmla="*/ 73 w 147"/>
                  <a:gd name="T27" fmla="*/ 113 h 115"/>
                  <a:gd name="T28" fmla="*/ 64 w 147"/>
                  <a:gd name="T29" fmla="*/ 115 h 115"/>
                  <a:gd name="T30" fmla="*/ 55 w 147"/>
                  <a:gd name="T31" fmla="*/ 115 h 115"/>
                  <a:gd name="T32" fmla="*/ 0 w 147"/>
                  <a:gd name="T33" fmla="*/ 115 h 115"/>
                  <a:gd name="T34" fmla="*/ 0 w 147"/>
                  <a:gd name="T35" fmla="*/ 0 h 115"/>
                  <a:gd name="T36" fmla="*/ 32 w 147"/>
                  <a:gd name="T37" fmla="*/ 0 h 115"/>
                  <a:gd name="T38" fmla="*/ 32 w 147"/>
                  <a:gd name="T39" fmla="*/ 36 h 115"/>
                  <a:gd name="T40" fmla="*/ 59 w 147"/>
                  <a:gd name="T41" fmla="*/ 36 h 115"/>
                  <a:gd name="T42" fmla="*/ 59 w 147"/>
                  <a:gd name="T43" fmla="*/ 36 h 115"/>
                  <a:gd name="T44" fmla="*/ 68 w 147"/>
                  <a:gd name="T45" fmla="*/ 37 h 115"/>
                  <a:gd name="T46" fmla="*/ 76 w 147"/>
                  <a:gd name="T47" fmla="*/ 38 h 115"/>
                  <a:gd name="T48" fmla="*/ 84 w 147"/>
                  <a:gd name="T49" fmla="*/ 41 h 115"/>
                  <a:gd name="T50" fmla="*/ 91 w 147"/>
                  <a:gd name="T51" fmla="*/ 46 h 115"/>
                  <a:gd name="T52" fmla="*/ 91 w 147"/>
                  <a:gd name="T53" fmla="*/ 46 h 115"/>
                  <a:gd name="T54" fmla="*/ 66 w 147"/>
                  <a:gd name="T55" fmla="*/ 86 h 115"/>
                  <a:gd name="T56" fmla="*/ 66 w 147"/>
                  <a:gd name="T57" fmla="*/ 86 h 115"/>
                  <a:gd name="T58" fmla="*/ 68 w 147"/>
                  <a:gd name="T59" fmla="*/ 84 h 115"/>
                  <a:gd name="T60" fmla="*/ 69 w 147"/>
                  <a:gd name="T61" fmla="*/ 81 h 115"/>
                  <a:gd name="T62" fmla="*/ 70 w 147"/>
                  <a:gd name="T63" fmla="*/ 77 h 115"/>
                  <a:gd name="T64" fmla="*/ 71 w 147"/>
                  <a:gd name="T65" fmla="*/ 74 h 115"/>
                  <a:gd name="T66" fmla="*/ 71 w 147"/>
                  <a:gd name="T67" fmla="*/ 74 h 115"/>
                  <a:gd name="T68" fmla="*/ 70 w 147"/>
                  <a:gd name="T69" fmla="*/ 71 h 115"/>
                  <a:gd name="T70" fmla="*/ 70 w 147"/>
                  <a:gd name="T71" fmla="*/ 68 h 115"/>
                  <a:gd name="T72" fmla="*/ 68 w 147"/>
                  <a:gd name="T73" fmla="*/ 65 h 115"/>
                  <a:gd name="T74" fmla="*/ 66 w 147"/>
                  <a:gd name="T75" fmla="*/ 63 h 115"/>
                  <a:gd name="T76" fmla="*/ 64 w 147"/>
                  <a:gd name="T77" fmla="*/ 61 h 115"/>
                  <a:gd name="T78" fmla="*/ 61 w 147"/>
                  <a:gd name="T79" fmla="*/ 60 h 115"/>
                  <a:gd name="T80" fmla="*/ 53 w 147"/>
                  <a:gd name="T81" fmla="*/ 59 h 115"/>
                  <a:gd name="T82" fmla="*/ 32 w 147"/>
                  <a:gd name="T83" fmla="*/ 59 h 115"/>
                  <a:gd name="T84" fmla="*/ 32 w 147"/>
                  <a:gd name="T85" fmla="*/ 91 h 115"/>
                  <a:gd name="T86" fmla="*/ 53 w 147"/>
                  <a:gd name="T87" fmla="*/ 91 h 115"/>
                  <a:gd name="T88" fmla="*/ 53 w 147"/>
                  <a:gd name="T89" fmla="*/ 91 h 115"/>
                  <a:gd name="T90" fmla="*/ 56 w 147"/>
                  <a:gd name="T91" fmla="*/ 91 h 115"/>
                  <a:gd name="T92" fmla="*/ 60 w 147"/>
                  <a:gd name="T93" fmla="*/ 90 h 115"/>
                  <a:gd name="T94" fmla="*/ 63 w 147"/>
                  <a:gd name="T95" fmla="*/ 88 h 115"/>
                  <a:gd name="T96" fmla="*/ 66 w 147"/>
                  <a:gd name="T97" fmla="*/ 86 h 115"/>
                  <a:gd name="T98" fmla="*/ 66 w 147"/>
                  <a:gd name="T99" fmla="*/ 86 h 115"/>
                  <a:gd name="T100" fmla="*/ 115 w 147"/>
                  <a:gd name="T101" fmla="*/ 0 h 115"/>
                  <a:gd name="T102" fmla="*/ 147 w 147"/>
                  <a:gd name="T103" fmla="*/ 0 h 115"/>
                  <a:gd name="T104" fmla="*/ 147 w 147"/>
                  <a:gd name="T105" fmla="*/ 115 h 115"/>
                  <a:gd name="T106" fmla="*/ 115 w 147"/>
                  <a:gd name="T107" fmla="*/ 115 h 115"/>
                  <a:gd name="T108" fmla="*/ 115 w 147"/>
                  <a:gd name="T109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47" h="115">
                    <a:moveTo>
                      <a:pt x="91" y="46"/>
                    </a:moveTo>
                    <a:lnTo>
                      <a:pt x="91" y="46"/>
                    </a:lnTo>
                    <a:lnTo>
                      <a:pt x="97" y="51"/>
                    </a:lnTo>
                    <a:lnTo>
                      <a:pt x="100" y="58"/>
                    </a:lnTo>
                    <a:lnTo>
                      <a:pt x="103" y="66"/>
                    </a:lnTo>
                    <a:lnTo>
                      <a:pt x="103" y="73"/>
                    </a:lnTo>
                    <a:lnTo>
                      <a:pt x="103" y="73"/>
                    </a:lnTo>
                    <a:lnTo>
                      <a:pt x="102" y="82"/>
                    </a:lnTo>
                    <a:lnTo>
                      <a:pt x="100" y="90"/>
                    </a:lnTo>
                    <a:lnTo>
                      <a:pt x="96" y="97"/>
                    </a:lnTo>
                    <a:lnTo>
                      <a:pt x="90" y="104"/>
                    </a:lnTo>
                    <a:lnTo>
                      <a:pt x="90" y="104"/>
                    </a:lnTo>
                    <a:lnTo>
                      <a:pt x="82" y="109"/>
                    </a:lnTo>
                    <a:lnTo>
                      <a:pt x="73" y="113"/>
                    </a:lnTo>
                    <a:lnTo>
                      <a:pt x="64" y="115"/>
                    </a:lnTo>
                    <a:lnTo>
                      <a:pt x="55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2" y="0"/>
                    </a:lnTo>
                    <a:lnTo>
                      <a:pt x="32" y="36"/>
                    </a:lnTo>
                    <a:lnTo>
                      <a:pt x="59" y="36"/>
                    </a:lnTo>
                    <a:lnTo>
                      <a:pt x="59" y="36"/>
                    </a:lnTo>
                    <a:lnTo>
                      <a:pt x="68" y="37"/>
                    </a:lnTo>
                    <a:lnTo>
                      <a:pt x="76" y="38"/>
                    </a:lnTo>
                    <a:lnTo>
                      <a:pt x="84" y="41"/>
                    </a:lnTo>
                    <a:lnTo>
                      <a:pt x="91" y="46"/>
                    </a:lnTo>
                    <a:lnTo>
                      <a:pt x="91" y="46"/>
                    </a:lnTo>
                    <a:close/>
                    <a:moveTo>
                      <a:pt x="66" y="86"/>
                    </a:moveTo>
                    <a:lnTo>
                      <a:pt x="66" y="86"/>
                    </a:lnTo>
                    <a:lnTo>
                      <a:pt x="68" y="84"/>
                    </a:lnTo>
                    <a:lnTo>
                      <a:pt x="69" y="81"/>
                    </a:lnTo>
                    <a:lnTo>
                      <a:pt x="70" y="77"/>
                    </a:lnTo>
                    <a:lnTo>
                      <a:pt x="71" y="74"/>
                    </a:lnTo>
                    <a:lnTo>
                      <a:pt x="71" y="74"/>
                    </a:lnTo>
                    <a:lnTo>
                      <a:pt x="70" y="71"/>
                    </a:lnTo>
                    <a:lnTo>
                      <a:pt x="70" y="68"/>
                    </a:lnTo>
                    <a:lnTo>
                      <a:pt x="68" y="65"/>
                    </a:lnTo>
                    <a:lnTo>
                      <a:pt x="66" y="63"/>
                    </a:lnTo>
                    <a:lnTo>
                      <a:pt x="64" y="61"/>
                    </a:lnTo>
                    <a:lnTo>
                      <a:pt x="61" y="60"/>
                    </a:lnTo>
                    <a:lnTo>
                      <a:pt x="53" y="59"/>
                    </a:lnTo>
                    <a:lnTo>
                      <a:pt x="32" y="59"/>
                    </a:lnTo>
                    <a:lnTo>
                      <a:pt x="32" y="91"/>
                    </a:lnTo>
                    <a:lnTo>
                      <a:pt x="53" y="91"/>
                    </a:lnTo>
                    <a:lnTo>
                      <a:pt x="53" y="91"/>
                    </a:lnTo>
                    <a:lnTo>
                      <a:pt x="56" y="91"/>
                    </a:lnTo>
                    <a:lnTo>
                      <a:pt x="60" y="90"/>
                    </a:lnTo>
                    <a:lnTo>
                      <a:pt x="63" y="88"/>
                    </a:lnTo>
                    <a:lnTo>
                      <a:pt x="66" y="86"/>
                    </a:lnTo>
                    <a:lnTo>
                      <a:pt x="66" y="86"/>
                    </a:lnTo>
                    <a:close/>
                    <a:moveTo>
                      <a:pt x="115" y="0"/>
                    </a:moveTo>
                    <a:lnTo>
                      <a:pt x="147" y="0"/>
                    </a:lnTo>
                    <a:lnTo>
                      <a:pt x="147" y="115"/>
                    </a:lnTo>
                    <a:lnTo>
                      <a:pt x="115" y="115"/>
                    </a:lnTo>
                    <a:lnTo>
                      <a:pt x="11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16">
                <a:extLst>
                  <a:ext uri="{FF2B5EF4-FFF2-40B4-BE49-F238E27FC236}">
                    <a16:creationId xmlns:a16="http://schemas.microsoft.com/office/drawing/2014/main" id="{3721C8AB-0548-46E8-8BD9-ECC38EE493C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344154" y="1535113"/>
                <a:ext cx="85725" cy="90487"/>
              </a:xfrm>
              <a:custGeom>
                <a:avLst/>
                <a:gdLst>
                  <a:gd name="T0" fmla="*/ 109 w 109"/>
                  <a:gd name="T1" fmla="*/ 0 h 115"/>
                  <a:gd name="T2" fmla="*/ 109 w 109"/>
                  <a:gd name="T3" fmla="*/ 115 h 115"/>
                  <a:gd name="T4" fmla="*/ 77 w 109"/>
                  <a:gd name="T5" fmla="*/ 115 h 115"/>
                  <a:gd name="T6" fmla="*/ 77 w 109"/>
                  <a:gd name="T7" fmla="*/ 71 h 115"/>
                  <a:gd name="T8" fmla="*/ 32 w 109"/>
                  <a:gd name="T9" fmla="*/ 71 h 115"/>
                  <a:gd name="T10" fmla="*/ 32 w 109"/>
                  <a:gd name="T11" fmla="*/ 115 h 115"/>
                  <a:gd name="T12" fmla="*/ 0 w 109"/>
                  <a:gd name="T13" fmla="*/ 115 h 115"/>
                  <a:gd name="T14" fmla="*/ 0 w 109"/>
                  <a:gd name="T15" fmla="*/ 0 h 115"/>
                  <a:gd name="T16" fmla="*/ 32 w 109"/>
                  <a:gd name="T17" fmla="*/ 0 h 115"/>
                  <a:gd name="T18" fmla="*/ 32 w 109"/>
                  <a:gd name="T19" fmla="*/ 43 h 115"/>
                  <a:gd name="T20" fmla="*/ 77 w 109"/>
                  <a:gd name="T21" fmla="*/ 43 h 115"/>
                  <a:gd name="T22" fmla="*/ 77 w 109"/>
                  <a:gd name="T23" fmla="*/ 0 h 115"/>
                  <a:gd name="T24" fmla="*/ 109 w 109"/>
                  <a:gd name="T25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9" h="115">
                    <a:moveTo>
                      <a:pt x="109" y="0"/>
                    </a:moveTo>
                    <a:lnTo>
                      <a:pt x="109" y="115"/>
                    </a:lnTo>
                    <a:lnTo>
                      <a:pt x="77" y="115"/>
                    </a:lnTo>
                    <a:lnTo>
                      <a:pt x="77" y="71"/>
                    </a:lnTo>
                    <a:lnTo>
                      <a:pt x="32" y="71"/>
                    </a:lnTo>
                    <a:lnTo>
                      <a:pt x="3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2" y="0"/>
                    </a:lnTo>
                    <a:lnTo>
                      <a:pt x="32" y="43"/>
                    </a:lnTo>
                    <a:lnTo>
                      <a:pt x="77" y="43"/>
                    </a:lnTo>
                    <a:lnTo>
                      <a:pt x="77" y="0"/>
                    </a:lnTo>
                    <a:lnTo>
                      <a:pt x="109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17">
                <a:extLst>
                  <a:ext uri="{FF2B5EF4-FFF2-40B4-BE49-F238E27FC236}">
                    <a16:creationId xmlns:a16="http://schemas.microsoft.com/office/drawing/2014/main" id="{931C29DF-56FE-4A6C-9474-BA736E3377CC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447341" y="1533525"/>
                <a:ext cx="101600" cy="95250"/>
              </a:xfrm>
              <a:custGeom>
                <a:avLst/>
                <a:gdLst>
                  <a:gd name="T0" fmla="*/ 31 w 128"/>
                  <a:gd name="T1" fmla="*/ 112 h 120"/>
                  <a:gd name="T2" fmla="*/ 21 w 128"/>
                  <a:gd name="T3" fmla="*/ 105 h 120"/>
                  <a:gd name="T4" fmla="*/ 6 w 128"/>
                  <a:gd name="T5" fmla="*/ 88 h 120"/>
                  <a:gd name="T6" fmla="*/ 0 w 128"/>
                  <a:gd name="T7" fmla="*/ 67 h 120"/>
                  <a:gd name="T8" fmla="*/ 2 w 128"/>
                  <a:gd name="T9" fmla="*/ 43 h 120"/>
                  <a:gd name="T10" fmla="*/ 6 w 128"/>
                  <a:gd name="T11" fmla="*/ 32 h 120"/>
                  <a:gd name="T12" fmla="*/ 11 w 128"/>
                  <a:gd name="T13" fmla="*/ 25 h 120"/>
                  <a:gd name="T14" fmla="*/ 23 w 128"/>
                  <a:gd name="T15" fmla="*/ 12 h 120"/>
                  <a:gd name="T16" fmla="*/ 31 w 128"/>
                  <a:gd name="T17" fmla="*/ 8 h 120"/>
                  <a:gd name="T18" fmla="*/ 46 w 128"/>
                  <a:gd name="T19" fmla="*/ 2 h 120"/>
                  <a:gd name="T20" fmla="*/ 64 w 128"/>
                  <a:gd name="T21" fmla="*/ 0 h 120"/>
                  <a:gd name="T22" fmla="*/ 81 w 128"/>
                  <a:gd name="T23" fmla="*/ 2 h 120"/>
                  <a:gd name="T24" fmla="*/ 97 w 128"/>
                  <a:gd name="T25" fmla="*/ 8 h 120"/>
                  <a:gd name="T26" fmla="*/ 102 w 128"/>
                  <a:gd name="T27" fmla="*/ 11 h 120"/>
                  <a:gd name="T28" fmla="*/ 115 w 128"/>
                  <a:gd name="T29" fmla="*/ 22 h 120"/>
                  <a:gd name="T30" fmla="*/ 125 w 128"/>
                  <a:gd name="T31" fmla="*/ 42 h 120"/>
                  <a:gd name="T32" fmla="*/ 128 w 128"/>
                  <a:gd name="T33" fmla="*/ 65 h 120"/>
                  <a:gd name="T34" fmla="*/ 124 w 128"/>
                  <a:gd name="T35" fmla="*/ 82 h 120"/>
                  <a:gd name="T36" fmla="*/ 121 w 128"/>
                  <a:gd name="T37" fmla="*/ 87 h 120"/>
                  <a:gd name="T38" fmla="*/ 111 w 128"/>
                  <a:gd name="T39" fmla="*/ 101 h 120"/>
                  <a:gd name="T40" fmla="*/ 97 w 128"/>
                  <a:gd name="T41" fmla="*/ 112 h 120"/>
                  <a:gd name="T42" fmla="*/ 89 w 128"/>
                  <a:gd name="T43" fmla="*/ 115 h 120"/>
                  <a:gd name="T44" fmla="*/ 72 w 128"/>
                  <a:gd name="T45" fmla="*/ 119 h 120"/>
                  <a:gd name="T46" fmla="*/ 55 w 128"/>
                  <a:gd name="T47" fmla="*/ 119 h 120"/>
                  <a:gd name="T48" fmla="*/ 38 w 128"/>
                  <a:gd name="T49" fmla="*/ 115 h 120"/>
                  <a:gd name="T50" fmla="*/ 31 w 128"/>
                  <a:gd name="T51" fmla="*/ 112 h 120"/>
                  <a:gd name="T52" fmla="*/ 80 w 128"/>
                  <a:gd name="T53" fmla="*/ 89 h 120"/>
                  <a:gd name="T54" fmla="*/ 91 w 128"/>
                  <a:gd name="T55" fmla="*/ 77 h 120"/>
                  <a:gd name="T56" fmla="*/ 94 w 128"/>
                  <a:gd name="T57" fmla="*/ 69 h 120"/>
                  <a:gd name="T58" fmla="*/ 94 w 128"/>
                  <a:gd name="T59" fmla="*/ 52 h 120"/>
                  <a:gd name="T60" fmla="*/ 91 w 128"/>
                  <a:gd name="T61" fmla="*/ 42 h 120"/>
                  <a:gd name="T62" fmla="*/ 80 w 128"/>
                  <a:gd name="T63" fmla="*/ 31 h 120"/>
                  <a:gd name="T64" fmla="*/ 72 w 128"/>
                  <a:gd name="T65" fmla="*/ 28 h 120"/>
                  <a:gd name="T66" fmla="*/ 55 w 128"/>
                  <a:gd name="T67" fmla="*/ 28 h 120"/>
                  <a:gd name="T68" fmla="*/ 47 w 128"/>
                  <a:gd name="T69" fmla="*/ 31 h 120"/>
                  <a:gd name="T70" fmla="*/ 36 w 128"/>
                  <a:gd name="T71" fmla="*/ 42 h 120"/>
                  <a:gd name="T72" fmla="*/ 33 w 128"/>
                  <a:gd name="T73" fmla="*/ 52 h 120"/>
                  <a:gd name="T74" fmla="*/ 33 w 128"/>
                  <a:gd name="T75" fmla="*/ 69 h 120"/>
                  <a:gd name="T76" fmla="*/ 36 w 128"/>
                  <a:gd name="T77" fmla="*/ 77 h 120"/>
                  <a:gd name="T78" fmla="*/ 47 w 128"/>
                  <a:gd name="T79" fmla="*/ 89 h 120"/>
                  <a:gd name="T80" fmla="*/ 55 w 128"/>
                  <a:gd name="T81" fmla="*/ 92 h 120"/>
                  <a:gd name="T82" fmla="*/ 72 w 128"/>
                  <a:gd name="T83" fmla="*/ 92 h 120"/>
                  <a:gd name="T84" fmla="*/ 80 w 128"/>
                  <a:gd name="T85" fmla="*/ 89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28" h="120">
                    <a:moveTo>
                      <a:pt x="31" y="112"/>
                    </a:moveTo>
                    <a:lnTo>
                      <a:pt x="31" y="112"/>
                    </a:lnTo>
                    <a:lnTo>
                      <a:pt x="25" y="109"/>
                    </a:lnTo>
                    <a:lnTo>
                      <a:pt x="21" y="105"/>
                    </a:lnTo>
                    <a:lnTo>
                      <a:pt x="13" y="97"/>
                    </a:lnTo>
                    <a:lnTo>
                      <a:pt x="6" y="88"/>
                    </a:lnTo>
                    <a:lnTo>
                      <a:pt x="2" y="78"/>
                    </a:lnTo>
                    <a:lnTo>
                      <a:pt x="0" y="67"/>
                    </a:lnTo>
                    <a:lnTo>
                      <a:pt x="0" y="55"/>
                    </a:lnTo>
                    <a:lnTo>
                      <a:pt x="2" y="43"/>
                    </a:lnTo>
                    <a:lnTo>
                      <a:pt x="4" y="38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11" y="25"/>
                    </a:lnTo>
                    <a:lnTo>
                      <a:pt x="16" y="18"/>
                    </a:lnTo>
                    <a:lnTo>
                      <a:pt x="23" y="12"/>
                    </a:lnTo>
                    <a:lnTo>
                      <a:pt x="31" y="8"/>
                    </a:lnTo>
                    <a:lnTo>
                      <a:pt x="31" y="8"/>
                    </a:lnTo>
                    <a:lnTo>
                      <a:pt x="38" y="4"/>
                    </a:lnTo>
                    <a:lnTo>
                      <a:pt x="46" y="2"/>
                    </a:lnTo>
                    <a:lnTo>
                      <a:pt x="55" y="0"/>
                    </a:lnTo>
                    <a:lnTo>
                      <a:pt x="64" y="0"/>
                    </a:lnTo>
                    <a:lnTo>
                      <a:pt x="72" y="0"/>
                    </a:lnTo>
                    <a:lnTo>
                      <a:pt x="81" y="2"/>
                    </a:lnTo>
                    <a:lnTo>
                      <a:pt x="89" y="4"/>
                    </a:lnTo>
                    <a:lnTo>
                      <a:pt x="97" y="8"/>
                    </a:lnTo>
                    <a:lnTo>
                      <a:pt x="97" y="8"/>
                    </a:lnTo>
                    <a:lnTo>
                      <a:pt x="102" y="11"/>
                    </a:lnTo>
                    <a:lnTo>
                      <a:pt x="106" y="14"/>
                    </a:lnTo>
                    <a:lnTo>
                      <a:pt x="115" y="22"/>
                    </a:lnTo>
                    <a:lnTo>
                      <a:pt x="121" y="32"/>
                    </a:lnTo>
                    <a:lnTo>
                      <a:pt x="125" y="42"/>
                    </a:lnTo>
                    <a:lnTo>
                      <a:pt x="127" y="54"/>
                    </a:lnTo>
                    <a:lnTo>
                      <a:pt x="128" y="65"/>
                    </a:lnTo>
                    <a:lnTo>
                      <a:pt x="126" y="76"/>
                    </a:lnTo>
                    <a:lnTo>
                      <a:pt x="124" y="82"/>
                    </a:lnTo>
                    <a:lnTo>
                      <a:pt x="121" y="87"/>
                    </a:lnTo>
                    <a:lnTo>
                      <a:pt x="121" y="87"/>
                    </a:lnTo>
                    <a:lnTo>
                      <a:pt x="116" y="95"/>
                    </a:lnTo>
                    <a:lnTo>
                      <a:pt x="111" y="101"/>
                    </a:lnTo>
                    <a:lnTo>
                      <a:pt x="104" y="107"/>
                    </a:lnTo>
                    <a:lnTo>
                      <a:pt x="97" y="112"/>
                    </a:lnTo>
                    <a:lnTo>
                      <a:pt x="97" y="112"/>
                    </a:lnTo>
                    <a:lnTo>
                      <a:pt x="89" y="115"/>
                    </a:lnTo>
                    <a:lnTo>
                      <a:pt x="81" y="118"/>
                    </a:lnTo>
                    <a:lnTo>
                      <a:pt x="72" y="119"/>
                    </a:lnTo>
                    <a:lnTo>
                      <a:pt x="64" y="120"/>
                    </a:lnTo>
                    <a:lnTo>
                      <a:pt x="55" y="119"/>
                    </a:lnTo>
                    <a:lnTo>
                      <a:pt x="46" y="118"/>
                    </a:lnTo>
                    <a:lnTo>
                      <a:pt x="38" y="115"/>
                    </a:lnTo>
                    <a:lnTo>
                      <a:pt x="31" y="112"/>
                    </a:lnTo>
                    <a:lnTo>
                      <a:pt x="31" y="112"/>
                    </a:lnTo>
                    <a:close/>
                    <a:moveTo>
                      <a:pt x="80" y="89"/>
                    </a:moveTo>
                    <a:lnTo>
                      <a:pt x="80" y="89"/>
                    </a:lnTo>
                    <a:lnTo>
                      <a:pt x="86" y="84"/>
                    </a:lnTo>
                    <a:lnTo>
                      <a:pt x="91" y="77"/>
                    </a:lnTo>
                    <a:lnTo>
                      <a:pt x="91" y="77"/>
                    </a:lnTo>
                    <a:lnTo>
                      <a:pt x="94" y="69"/>
                    </a:lnTo>
                    <a:lnTo>
                      <a:pt x="95" y="60"/>
                    </a:lnTo>
                    <a:lnTo>
                      <a:pt x="94" y="52"/>
                    </a:lnTo>
                    <a:lnTo>
                      <a:pt x="91" y="42"/>
                    </a:lnTo>
                    <a:lnTo>
                      <a:pt x="91" y="42"/>
                    </a:lnTo>
                    <a:lnTo>
                      <a:pt x="86" y="36"/>
                    </a:lnTo>
                    <a:lnTo>
                      <a:pt x="80" y="31"/>
                    </a:lnTo>
                    <a:lnTo>
                      <a:pt x="80" y="31"/>
                    </a:lnTo>
                    <a:lnTo>
                      <a:pt x="72" y="28"/>
                    </a:lnTo>
                    <a:lnTo>
                      <a:pt x="64" y="27"/>
                    </a:lnTo>
                    <a:lnTo>
                      <a:pt x="55" y="28"/>
                    </a:lnTo>
                    <a:lnTo>
                      <a:pt x="47" y="31"/>
                    </a:lnTo>
                    <a:lnTo>
                      <a:pt x="47" y="31"/>
                    </a:lnTo>
                    <a:lnTo>
                      <a:pt x="41" y="36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3" y="52"/>
                    </a:lnTo>
                    <a:lnTo>
                      <a:pt x="32" y="60"/>
                    </a:lnTo>
                    <a:lnTo>
                      <a:pt x="33" y="69"/>
                    </a:lnTo>
                    <a:lnTo>
                      <a:pt x="36" y="77"/>
                    </a:lnTo>
                    <a:lnTo>
                      <a:pt x="36" y="77"/>
                    </a:lnTo>
                    <a:lnTo>
                      <a:pt x="41" y="84"/>
                    </a:lnTo>
                    <a:lnTo>
                      <a:pt x="47" y="89"/>
                    </a:lnTo>
                    <a:lnTo>
                      <a:pt x="47" y="89"/>
                    </a:lnTo>
                    <a:lnTo>
                      <a:pt x="55" y="92"/>
                    </a:lnTo>
                    <a:lnTo>
                      <a:pt x="64" y="93"/>
                    </a:lnTo>
                    <a:lnTo>
                      <a:pt x="72" y="92"/>
                    </a:lnTo>
                    <a:lnTo>
                      <a:pt x="80" y="89"/>
                    </a:lnTo>
                    <a:lnTo>
                      <a:pt x="80" y="8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18">
                <a:extLst>
                  <a:ext uri="{FF2B5EF4-FFF2-40B4-BE49-F238E27FC236}">
                    <a16:creationId xmlns:a16="http://schemas.microsoft.com/office/drawing/2014/main" id="{AB786BB1-67D2-4CC8-9E72-1BE5815EE07D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564816" y="1535113"/>
                <a:ext cx="84138" cy="90487"/>
              </a:xfrm>
              <a:custGeom>
                <a:avLst/>
                <a:gdLst>
                  <a:gd name="T0" fmla="*/ 99 w 105"/>
                  <a:gd name="T1" fmla="*/ 66 h 115"/>
                  <a:gd name="T2" fmla="*/ 103 w 105"/>
                  <a:gd name="T3" fmla="*/ 74 h 115"/>
                  <a:gd name="T4" fmla="*/ 105 w 105"/>
                  <a:gd name="T5" fmla="*/ 83 h 115"/>
                  <a:gd name="T6" fmla="*/ 104 w 105"/>
                  <a:gd name="T7" fmla="*/ 90 h 115"/>
                  <a:gd name="T8" fmla="*/ 98 w 105"/>
                  <a:gd name="T9" fmla="*/ 102 h 115"/>
                  <a:gd name="T10" fmla="*/ 93 w 105"/>
                  <a:gd name="T11" fmla="*/ 107 h 115"/>
                  <a:gd name="T12" fmla="*/ 77 w 105"/>
                  <a:gd name="T13" fmla="*/ 114 h 115"/>
                  <a:gd name="T14" fmla="*/ 59 w 105"/>
                  <a:gd name="T15" fmla="*/ 115 h 115"/>
                  <a:gd name="T16" fmla="*/ 0 w 105"/>
                  <a:gd name="T17" fmla="*/ 0 h 115"/>
                  <a:gd name="T18" fmla="*/ 56 w 105"/>
                  <a:gd name="T19" fmla="*/ 0 h 115"/>
                  <a:gd name="T20" fmla="*/ 73 w 105"/>
                  <a:gd name="T21" fmla="*/ 2 h 115"/>
                  <a:gd name="T22" fmla="*/ 88 w 105"/>
                  <a:gd name="T23" fmla="*/ 8 h 115"/>
                  <a:gd name="T24" fmla="*/ 93 w 105"/>
                  <a:gd name="T25" fmla="*/ 12 h 115"/>
                  <a:gd name="T26" fmla="*/ 99 w 105"/>
                  <a:gd name="T27" fmla="*/ 24 h 115"/>
                  <a:gd name="T28" fmla="*/ 99 w 105"/>
                  <a:gd name="T29" fmla="*/ 30 h 115"/>
                  <a:gd name="T30" fmla="*/ 95 w 105"/>
                  <a:gd name="T31" fmla="*/ 45 h 115"/>
                  <a:gd name="T32" fmla="*/ 90 w 105"/>
                  <a:gd name="T33" fmla="*/ 52 h 115"/>
                  <a:gd name="T34" fmla="*/ 84 w 105"/>
                  <a:gd name="T35" fmla="*/ 56 h 115"/>
                  <a:gd name="T36" fmla="*/ 92 w 105"/>
                  <a:gd name="T37" fmla="*/ 60 h 115"/>
                  <a:gd name="T38" fmla="*/ 99 w 105"/>
                  <a:gd name="T39" fmla="*/ 66 h 115"/>
                  <a:gd name="T40" fmla="*/ 32 w 105"/>
                  <a:gd name="T41" fmla="*/ 46 h 115"/>
                  <a:gd name="T42" fmla="*/ 53 w 105"/>
                  <a:gd name="T43" fmla="*/ 46 h 115"/>
                  <a:gd name="T44" fmla="*/ 63 w 105"/>
                  <a:gd name="T45" fmla="*/ 43 h 115"/>
                  <a:gd name="T46" fmla="*/ 67 w 105"/>
                  <a:gd name="T47" fmla="*/ 35 h 115"/>
                  <a:gd name="T48" fmla="*/ 66 w 105"/>
                  <a:gd name="T49" fmla="*/ 30 h 115"/>
                  <a:gd name="T50" fmla="*/ 59 w 105"/>
                  <a:gd name="T51" fmla="*/ 24 h 115"/>
                  <a:gd name="T52" fmla="*/ 32 w 105"/>
                  <a:gd name="T53" fmla="*/ 23 h 115"/>
                  <a:gd name="T54" fmla="*/ 72 w 105"/>
                  <a:gd name="T55" fmla="*/ 80 h 115"/>
                  <a:gd name="T56" fmla="*/ 71 w 105"/>
                  <a:gd name="T57" fmla="*/ 75 h 115"/>
                  <a:gd name="T58" fmla="*/ 64 w 105"/>
                  <a:gd name="T59" fmla="*/ 69 h 115"/>
                  <a:gd name="T60" fmla="*/ 32 w 105"/>
                  <a:gd name="T61" fmla="*/ 69 h 115"/>
                  <a:gd name="T62" fmla="*/ 58 w 105"/>
                  <a:gd name="T63" fmla="*/ 92 h 115"/>
                  <a:gd name="T64" fmla="*/ 64 w 105"/>
                  <a:gd name="T65" fmla="*/ 91 h 115"/>
                  <a:gd name="T66" fmla="*/ 71 w 105"/>
                  <a:gd name="T67" fmla="*/ 85 h 115"/>
                  <a:gd name="T68" fmla="*/ 72 w 105"/>
                  <a:gd name="T69" fmla="*/ 8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5" h="115">
                    <a:moveTo>
                      <a:pt x="99" y="66"/>
                    </a:moveTo>
                    <a:lnTo>
                      <a:pt x="99" y="66"/>
                    </a:lnTo>
                    <a:lnTo>
                      <a:pt x="102" y="70"/>
                    </a:lnTo>
                    <a:lnTo>
                      <a:pt x="103" y="74"/>
                    </a:lnTo>
                    <a:lnTo>
                      <a:pt x="104" y="78"/>
                    </a:lnTo>
                    <a:lnTo>
                      <a:pt x="105" y="83"/>
                    </a:lnTo>
                    <a:lnTo>
                      <a:pt x="105" y="83"/>
                    </a:lnTo>
                    <a:lnTo>
                      <a:pt x="104" y="90"/>
                    </a:lnTo>
                    <a:lnTo>
                      <a:pt x="102" y="96"/>
                    </a:lnTo>
                    <a:lnTo>
                      <a:pt x="98" y="102"/>
                    </a:lnTo>
                    <a:lnTo>
                      <a:pt x="93" y="107"/>
                    </a:lnTo>
                    <a:lnTo>
                      <a:pt x="93" y="107"/>
                    </a:lnTo>
                    <a:lnTo>
                      <a:pt x="85" y="111"/>
                    </a:lnTo>
                    <a:lnTo>
                      <a:pt x="77" y="114"/>
                    </a:lnTo>
                    <a:lnTo>
                      <a:pt x="68" y="115"/>
                    </a:lnTo>
                    <a:lnTo>
                      <a:pt x="59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5" y="1"/>
                    </a:lnTo>
                    <a:lnTo>
                      <a:pt x="73" y="2"/>
                    </a:lnTo>
                    <a:lnTo>
                      <a:pt x="81" y="4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93" y="12"/>
                    </a:lnTo>
                    <a:lnTo>
                      <a:pt x="97" y="18"/>
                    </a:lnTo>
                    <a:lnTo>
                      <a:pt x="99" y="24"/>
                    </a:lnTo>
                    <a:lnTo>
                      <a:pt x="99" y="30"/>
                    </a:lnTo>
                    <a:lnTo>
                      <a:pt x="99" y="30"/>
                    </a:lnTo>
                    <a:lnTo>
                      <a:pt x="98" y="38"/>
                    </a:lnTo>
                    <a:lnTo>
                      <a:pt x="95" y="45"/>
                    </a:lnTo>
                    <a:lnTo>
                      <a:pt x="95" y="45"/>
                    </a:lnTo>
                    <a:lnTo>
                      <a:pt x="90" y="52"/>
                    </a:lnTo>
                    <a:lnTo>
                      <a:pt x="84" y="56"/>
                    </a:lnTo>
                    <a:lnTo>
                      <a:pt x="84" y="56"/>
                    </a:lnTo>
                    <a:lnTo>
                      <a:pt x="88" y="57"/>
                    </a:lnTo>
                    <a:lnTo>
                      <a:pt x="92" y="60"/>
                    </a:lnTo>
                    <a:lnTo>
                      <a:pt x="96" y="62"/>
                    </a:lnTo>
                    <a:lnTo>
                      <a:pt x="99" y="66"/>
                    </a:lnTo>
                    <a:lnTo>
                      <a:pt x="99" y="66"/>
                    </a:lnTo>
                    <a:close/>
                    <a:moveTo>
                      <a:pt x="32" y="46"/>
                    </a:moveTo>
                    <a:lnTo>
                      <a:pt x="53" y="46"/>
                    </a:lnTo>
                    <a:lnTo>
                      <a:pt x="53" y="46"/>
                    </a:lnTo>
                    <a:lnTo>
                      <a:pt x="59" y="45"/>
                    </a:lnTo>
                    <a:lnTo>
                      <a:pt x="63" y="43"/>
                    </a:lnTo>
                    <a:lnTo>
                      <a:pt x="66" y="40"/>
                    </a:lnTo>
                    <a:lnTo>
                      <a:pt x="67" y="35"/>
                    </a:lnTo>
                    <a:lnTo>
                      <a:pt x="67" y="35"/>
                    </a:lnTo>
                    <a:lnTo>
                      <a:pt x="66" y="30"/>
                    </a:lnTo>
                    <a:lnTo>
                      <a:pt x="63" y="26"/>
                    </a:lnTo>
                    <a:lnTo>
                      <a:pt x="59" y="24"/>
                    </a:lnTo>
                    <a:lnTo>
                      <a:pt x="53" y="23"/>
                    </a:lnTo>
                    <a:lnTo>
                      <a:pt x="32" y="23"/>
                    </a:lnTo>
                    <a:lnTo>
                      <a:pt x="32" y="46"/>
                    </a:lnTo>
                    <a:close/>
                    <a:moveTo>
                      <a:pt x="72" y="80"/>
                    </a:moveTo>
                    <a:lnTo>
                      <a:pt x="72" y="80"/>
                    </a:lnTo>
                    <a:lnTo>
                      <a:pt x="71" y="75"/>
                    </a:lnTo>
                    <a:lnTo>
                      <a:pt x="69" y="72"/>
                    </a:lnTo>
                    <a:lnTo>
                      <a:pt x="64" y="69"/>
                    </a:lnTo>
                    <a:lnTo>
                      <a:pt x="58" y="69"/>
                    </a:lnTo>
                    <a:lnTo>
                      <a:pt x="32" y="69"/>
                    </a:lnTo>
                    <a:lnTo>
                      <a:pt x="32" y="92"/>
                    </a:lnTo>
                    <a:lnTo>
                      <a:pt x="58" y="92"/>
                    </a:lnTo>
                    <a:lnTo>
                      <a:pt x="58" y="92"/>
                    </a:lnTo>
                    <a:lnTo>
                      <a:pt x="64" y="91"/>
                    </a:lnTo>
                    <a:lnTo>
                      <a:pt x="69" y="89"/>
                    </a:lnTo>
                    <a:lnTo>
                      <a:pt x="71" y="85"/>
                    </a:lnTo>
                    <a:lnTo>
                      <a:pt x="72" y="80"/>
                    </a:lnTo>
                    <a:lnTo>
                      <a:pt x="72" y="8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19">
                <a:extLst>
                  <a:ext uri="{FF2B5EF4-FFF2-40B4-BE49-F238E27FC236}">
                    <a16:creationId xmlns:a16="http://schemas.microsoft.com/office/drawing/2014/main" id="{5B407BC1-1EBF-4B66-A6BC-3D35AE958F69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664829" y="1535113"/>
                <a:ext cx="115888" cy="90487"/>
              </a:xfrm>
              <a:custGeom>
                <a:avLst/>
                <a:gdLst>
                  <a:gd name="T0" fmla="*/ 92 w 147"/>
                  <a:gd name="T1" fmla="*/ 46 h 115"/>
                  <a:gd name="T2" fmla="*/ 92 w 147"/>
                  <a:gd name="T3" fmla="*/ 46 h 115"/>
                  <a:gd name="T4" fmla="*/ 97 w 147"/>
                  <a:gd name="T5" fmla="*/ 53 h 115"/>
                  <a:gd name="T6" fmla="*/ 101 w 147"/>
                  <a:gd name="T7" fmla="*/ 60 h 115"/>
                  <a:gd name="T8" fmla="*/ 103 w 147"/>
                  <a:gd name="T9" fmla="*/ 67 h 115"/>
                  <a:gd name="T10" fmla="*/ 103 w 147"/>
                  <a:gd name="T11" fmla="*/ 75 h 115"/>
                  <a:gd name="T12" fmla="*/ 103 w 147"/>
                  <a:gd name="T13" fmla="*/ 75 h 115"/>
                  <a:gd name="T14" fmla="*/ 103 w 147"/>
                  <a:gd name="T15" fmla="*/ 83 h 115"/>
                  <a:gd name="T16" fmla="*/ 100 w 147"/>
                  <a:gd name="T17" fmla="*/ 91 h 115"/>
                  <a:gd name="T18" fmla="*/ 96 w 147"/>
                  <a:gd name="T19" fmla="*/ 99 h 115"/>
                  <a:gd name="T20" fmla="*/ 90 w 147"/>
                  <a:gd name="T21" fmla="*/ 105 h 115"/>
                  <a:gd name="T22" fmla="*/ 90 w 147"/>
                  <a:gd name="T23" fmla="*/ 105 h 115"/>
                  <a:gd name="T24" fmla="*/ 82 w 147"/>
                  <a:gd name="T25" fmla="*/ 110 h 115"/>
                  <a:gd name="T26" fmla="*/ 74 w 147"/>
                  <a:gd name="T27" fmla="*/ 113 h 115"/>
                  <a:gd name="T28" fmla="*/ 65 w 147"/>
                  <a:gd name="T29" fmla="*/ 115 h 115"/>
                  <a:gd name="T30" fmla="*/ 55 w 147"/>
                  <a:gd name="T31" fmla="*/ 115 h 115"/>
                  <a:gd name="T32" fmla="*/ 0 w 147"/>
                  <a:gd name="T33" fmla="*/ 115 h 115"/>
                  <a:gd name="T34" fmla="*/ 0 w 147"/>
                  <a:gd name="T35" fmla="*/ 1 h 115"/>
                  <a:gd name="T36" fmla="*/ 32 w 147"/>
                  <a:gd name="T37" fmla="*/ 1 h 115"/>
                  <a:gd name="T38" fmla="*/ 32 w 147"/>
                  <a:gd name="T39" fmla="*/ 37 h 115"/>
                  <a:gd name="T40" fmla="*/ 59 w 147"/>
                  <a:gd name="T41" fmla="*/ 37 h 115"/>
                  <a:gd name="T42" fmla="*/ 59 w 147"/>
                  <a:gd name="T43" fmla="*/ 37 h 115"/>
                  <a:gd name="T44" fmla="*/ 68 w 147"/>
                  <a:gd name="T45" fmla="*/ 37 h 115"/>
                  <a:gd name="T46" fmla="*/ 76 w 147"/>
                  <a:gd name="T47" fmla="*/ 39 h 115"/>
                  <a:gd name="T48" fmla="*/ 84 w 147"/>
                  <a:gd name="T49" fmla="*/ 42 h 115"/>
                  <a:gd name="T50" fmla="*/ 92 w 147"/>
                  <a:gd name="T51" fmla="*/ 46 h 115"/>
                  <a:gd name="T52" fmla="*/ 92 w 147"/>
                  <a:gd name="T53" fmla="*/ 46 h 115"/>
                  <a:gd name="T54" fmla="*/ 66 w 147"/>
                  <a:gd name="T55" fmla="*/ 88 h 115"/>
                  <a:gd name="T56" fmla="*/ 66 w 147"/>
                  <a:gd name="T57" fmla="*/ 88 h 115"/>
                  <a:gd name="T58" fmla="*/ 68 w 147"/>
                  <a:gd name="T59" fmla="*/ 85 h 115"/>
                  <a:gd name="T60" fmla="*/ 70 w 147"/>
                  <a:gd name="T61" fmla="*/ 82 h 115"/>
                  <a:gd name="T62" fmla="*/ 71 w 147"/>
                  <a:gd name="T63" fmla="*/ 79 h 115"/>
                  <a:gd name="T64" fmla="*/ 71 w 147"/>
                  <a:gd name="T65" fmla="*/ 76 h 115"/>
                  <a:gd name="T66" fmla="*/ 71 w 147"/>
                  <a:gd name="T67" fmla="*/ 76 h 115"/>
                  <a:gd name="T68" fmla="*/ 71 w 147"/>
                  <a:gd name="T69" fmla="*/ 72 h 115"/>
                  <a:gd name="T70" fmla="*/ 70 w 147"/>
                  <a:gd name="T71" fmla="*/ 69 h 115"/>
                  <a:gd name="T72" fmla="*/ 68 w 147"/>
                  <a:gd name="T73" fmla="*/ 67 h 115"/>
                  <a:gd name="T74" fmla="*/ 66 w 147"/>
                  <a:gd name="T75" fmla="*/ 64 h 115"/>
                  <a:gd name="T76" fmla="*/ 64 w 147"/>
                  <a:gd name="T77" fmla="*/ 63 h 115"/>
                  <a:gd name="T78" fmla="*/ 61 w 147"/>
                  <a:gd name="T79" fmla="*/ 62 h 115"/>
                  <a:gd name="T80" fmla="*/ 53 w 147"/>
                  <a:gd name="T81" fmla="*/ 61 h 115"/>
                  <a:gd name="T82" fmla="*/ 32 w 147"/>
                  <a:gd name="T83" fmla="*/ 61 h 115"/>
                  <a:gd name="T84" fmla="*/ 32 w 147"/>
                  <a:gd name="T85" fmla="*/ 92 h 115"/>
                  <a:gd name="T86" fmla="*/ 53 w 147"/>
                  <a:gd name="T87" fmla="*/ 92 h 115"/>
                  <a:gd name="T88" fmla="*/ 53 w 147"/>
                  <a:gd name="T89" fmla="*/ 92 h 115"/>
                  <a:gd name="T90" fmla="*/ 57 w 147"/>
                  <a:gd name="T91" fmla="*/ 92 h 115"/>
                  <a:gd name="T92" fmla="*/ 60 w 147"/>
                  <a:gd name="T93" fmla="*/ 91 h 115"/>
                  <a:gd name="T94" fmla="*/ 63 w 147"/>
                  <a:gd name="T95" fmla="*/ 90 h 115"/>
                  <a:gd name="T96" fmla="*/ 66 w 147"/>
                  <a:gd name="T97" fmla="*/ 88 h 115"/>
                  <a:gd name="T98" fmla="*/ 66 w 147"/>
                  <a:gd name="T99" fmla="*/ 88 h 115"/>
                  <a:gd name="T100" fmla="*/ 116 w 147"/>
                  <a:gd name="T101" fmla="*/ 0 h 115"/>
                  <a:gd name="T102" fmla="*/ 147 w 147"/>
                  <a:gd name="T103" fmla="*/ 0 h 115"/>
                  <a:gd name="T104" fmla="*/ 147 w 147"/>
                  <a:gd name="T105" fmla="*/ 115 h 115"/>
                  <a:gd name="T106" fmla="*/ 116 w 147"/>
                  <a:gd name="T107" fmla="*/ 115 h 115"/>
                  <a:gd name="T108" fmla="*/ 116 w 147"/>
                  <a:gd name="T109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47" h="115">
                    <a:moveTo>
                      <a:pt x="92" y="46"/>
                    </a:moveTo>
                    <a:lnTo>
                      <a:pt x="92" y="46"/>
                    </a:lnTo>
                    <a:lnTo>
                      <a:pt x="97" y="53"/>
                    </a:lnTo>
                    <a:lnTo>
                      <a:pt x="101" y="60"/>
                    </a:lnTo>
                    <a:lnTo>
                      <a:pt x="103" y="67"/>
                    </a:lnTo>
                    <a:lnTo>
                      <a:pt x="103" y="75"/>
                    </a:lnTo>
                    <a:lnTo>
                      <a:pt x="103" y="75"/>
                    </a:lnTo>
                    <a:lnTo>
                      <a:pt x="103" y="83"/>
                    </a:lnTo>
                    <a:lnTo>
                      <a:pt x="100" y="91"/>
                    </a:lnTo>
                    <a:lnTo>
                      <a:pt x="96" y="99"/>
                    </a:lnTo>
                    <a:lnTo>
                      <a:pt x="90" y="105"/>
                    </a:lnTo>
                    <a:lnTo>
                      <a:pt x="90" y="105"/>
                    </a:lnTo>
                    <a:lnTo>
                      <a:pt x="82" y="110"/>
                    </a:lnTo>
                    <a:lnTo>
                      <a:pt x="74" y="113"/>
                    </a:lnTo>
                    <a:lnTo>
                      <a:pt x="65" y="115"/>
                    </a:lnTo>
                    <a:lnTo>
                      <a:pt x="55" y="115"/>
                    </a:lnTo>
                    <a:lnTo>
                      <a:pt x="0" y="115"/>
                    </a:lnTo>
                    <a:lnTo>
                      <a:pt x="0" y="1"/>
                    </a:lnTo>
                    <a:lnTo>
                      <a:pt x="32" y="1"/>
                    </a:lnTo>
                    <a:lnTo>
                      <a:pt x="32" y="37"/>
                    </a:lnTo>
                    <a:lnTo>
                      <a:pt x="59" y="37"/>
                    </a:lnTo>
                    <a:lnTo>
                      <a:pt x="59" y="37"/>
                    </a:lnTo>
                    <a:lnTo>
                      <a:pt x="68" y="37"/>
                    </a:lnTo>
                    <a:lnTo>
                      <a:pt x="76" y="39"/>
                    </a:lnTo>
                    <a:lnTo>
                      <a:pt x="84" y="42"/>
                    </a:lnTo>
                    <a:lnTo>
                      <a:pt x="92" y="46"/>
                    </a:lnTo>
                    <a:lnTo>
                      <a:pt x="92" y="46"/>
                    </a:lnTo>
                    <a:close/>
                    <a:moveTo>
                      <a:pt x="66" y="88"/>
                    </a:moveTo>
                    <a:lnTo>
                      <a:pt x="66" y="88"/>
                    </a:lnTo>
                    <a:lnTo>
                      <a:pt x="68" y="85"/>
                    </a:lnTo>
                    <a:lnTo>
                      <a:pt x="70" y="82"/>
                    </a:lnTo>
                    <a:lnTo>
                      <a:pt x="71" y="79"/>
                    </a:lnTo>
                    <a:lnTo>
                      <a:pt x="71" y="76"/>
                    </a:lnTo>
                    <a:lnTo>
                      <a:pt x="71" y="76"/>
                    </a:lnTo>
                    <a:lnTo>
                      <a:pt x="71" y="72"/>
                    </a:lnTo>
                    <a:lnTo>
                      <a:pt x="70" y="69"/>
                    </a:lnTo>
                    <a:lnTo>
                      <a:pt x="68" y="67"/>
                    </a:lnTo>
                    <a:lnTo>
                      <a:pt x="66" y="64"/>
                    </a:lnTo>
                    <a:lnTo>
                      <a:pt x="64" y="63"/>
                    </a:lnTo>
                    <a:lnTo>
                      <a:pt x="61" y="62"/>
                    </a:lnTo>
                    <a:lnTo>
                      <a:pt x="53" y="61"/>
                    </a:lnTo>
                    <a:lnTo>
                      <a:pt x="32" y="61"/>
                    </a:lnTo>
                    <a:lnTo>
                      <a:pt x="32" y="92"/>
                    </a:lnTo>
                    <a:lnTo>
                      <a:pt x="53" y="92"/>
                    </a:lnTo>
                    <a:lnTo>
                      <a:pt x="53" y="92"/>
                    </a:lnTo>
                    <a:lnTo>
                      <a:pt x="57" y="92"/>
                    </a:lnTo>
                    <a:lnTo>
                      <a:pt x="60" y="91"/>
                    </a:lnTo>
                    <a:lnTo>
                      <a:pt x="63" y="90"/>
                    </a:lnTo>
                    <a:lnTo>
                      <a:pt x="66" y="88"/>
                    </a:lnTo>
                    <a:lnTo>
                      <a:pt x="66" y="88"/>
                    </a:lnTo>
                    <a:close/>
                    <a:moveTo>
                      <a:pt x="116" y="0"/>
                    </a:moveTo>
                    <a:lnTo>
                      <a:pt x="147" y="0"/>
                    </a:lnTo>
                    <a:lnTo>
                      <a:pt x="147" y="115"/>
                    </a:lnTo>
                    <a:lnTo>
                      <a:pt x="116" y="115"/>
                    </a:lnTo>
                    <a:lnTo>
                      <a:pt x="116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20">
                <a:extLst>
                  <a:ext uri="{FF2B5EF4-FFF2-40B4-BE49-F238E27FC236}">
                    <a16:creationId xmlns:a16="http://schemas.microsoft.com/office/drawing/2014/main" id="{8A649021-099A-4011-806E-413FF5E93A4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802941" y="1535113"/>
                <a:ext cx="74613" cy="90487"/>
              </a:xfrm>
              <a:custGeom>
                <a:avLst/>
                <a:gdLst>
                  <a:gd name="T0" fmla="*/ 92 w 92"/>
                  <a:gd name="T1" fmla="*/ 90 h 115"/>
                  <a:gd name="T2" fmla="*/ 92 w 92"/>
                  <a:gd name="T3" fmla="*/ 115 h 115"/>
                  <a:gd name="T4" fmla="*/ 0 w 92"/>
                  <a:gd name="T5" fmla="*/ 115 h 115"/>
                  <a:gd name="T6" fmla="*/ 0 w 92"/>
                  <a:gd name="T7" fmla="*/ 0 h 115"/>
                  <a:gd name="T8" fmla="*/ 90 w 92"/>
                  <a:gd name="T9" fmla="*/ 0 h 115"/>
                  <a:gd name="T10" fmla="*/ 90 w 92"/>
                  <a:gd name="T11" fmla="*/ 25 h 115"/>
                  <a:gd name="T12" fmla="*/ 32 w 92"/>
                  <a:gd name="T13" fmla="*/ 25 h 115"/>
                  <a:gd name="T14" fmla="*/ 32 w 92"/>
                  <a:gd name="T15" fmla="*/ 44 h 115"/>
                  <a:gd name="T16" fmla="*/ 83 w 92"/>
                  <a:gd name="T17" fmla="*/ 44 h 115"/>
                  <a:gd name="T18" fmla="*/ 83 w 92"/>
                  <a:gd name="T19" fmla="*/ 69 h 115"/>
                  <a:gd name="T20" fmla="*/ 32 w 92"/>
                  <a:gd name="T21" fmla="*/ 69 h 115"/>
                  <a:gd name="T22" fmla="*/ 32 w 92"/>
                  <a:gd name="T23" fmla="*/ 90 h 115"/>
                  <a:gd name="T24" fmla="*/ 92 w 92"/>
                  <a:gd name="T25" fmla="*/ 9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2" h="115">
                    <a:moveTo>
                      <a:pt x="92" y="90"/>
                    </a:moveTo>
                    <a:lnTo>
                      <a:pt x="9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25"/>
                    </a:lnTo>
                    <a:lnTo>
                      <a:pt x="32" y="25"/>
                    </a:lnTo>
                    <a:lnTo>
                      <a:pt x="32" y="44"/>
                    </a:lnTo>
                    <a:lnTo>
                      <a:pt x="83" y="44"/>
                    </a:lnTo>
                    <a:lnTo>
                      <a:pt x="83" y="69"/>
                    </a:lnTo>
                    <a:lnTo>
                      <a:pt x="32" y="69"/>
                    </a:lnTo>
                    <a:lnTo>
                      <a:pt x="32" y="90"/>
                    </a:lnTo>
                    <a:lnTo>
                      <a:pt x="92" y="9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21">
                <a:extLst>
                  <a:ext uri="{FF2B5EF4-FFF2-40B4-BE49-F238E27FC236}">
                    <a16:creationId xmlns:a16="http://schemas.microsoft.com/office/drawing/2014/main" id="{AE1325D4-AA5B-4E3F-A7FA-A8306BF7776A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934704" y="1535113"/>
                <a:ext cx="82550" cy="90487"/>
              </a:xfrm>
              <a:custGeom>
                <a:avLst/>
                <a:gdLst>
                  <a:gd name="T0" fmla="*/ 79 w 104"/>
                  <a:gd name="T1" fmla="*/ 5 h 115"/>
                  <a:gd name="T2" fmla="*/ 79 w 104"/>
                  <a:gd name="T3" fmla="*/ 5 h 115"/>
                  <a:gd name="T4" fmla="*/ 85 w 104"/>
                  <a:gd name="T5" fmla="*/ 8 h 115"/>
                  <a:gd name="T6" fmla="*/ 90 w 104"/>
                  <a:gd name="T7" fmla="*/ 12 h 115"/>
                  <a:gd name="T8" fmla="*/ 94 w 104"/>
                  <a:gd name="T9" fmla="*/ 16 h 115"/>
                  <a:gd name="T10" fmla="*/ 98 w 104"/>
                  <a:gd name="T11" fmla="*/ 20 h 115"/>
                  <a:gd name="T12" fmla="*/ 98 w 104"/>
                  <a:gd name="T13" fmla="*/ 20 h 115"/>
                  <a:gd name="T14" fmla="*/ 101 w 104"/>
                  <a:gd name="T15" fmla="*/ 27 h 115"/>
                  <a:gd name="T16" fmla="*/ 104 w 104"/>
                  <a:gd name="T17" fmla="*/ 35 h 115"/>
                  <a:gd name="T18" fmla="*/ 104 w 104"/>
                  <a:gd name="T19" fmla="*/ 43 h 115"/>
                  <a:gd name="T20" fmla="*/ 104 w 104"/>
                  <a:gd name="T21" fmla="*/ 51 h 115"/>
                  <a:gd name="T22" fmla="*/ 102 w 104"/>
                  <a:gd name="T23" fmla="*/ 59 h 115"/>
                  <a:gd name="T24" fmla="*/ 98 w 104"/>
                  <a:gd name="T25" fmla="*/ 66 h 115"/>
                  <a:gd name="T26" fmla="*/ 93 w 104"/>
                  <a:gd name="T27" fmla="*/ 72 h 115"/>
                  <a:gd name="T28" fmla="*/ 87 w 104"/>
                  <a:gd name="T29" fmla="*/ 77 h 115"/>
                  <a:gd name="T30" fmla="*/ 87 w 104"/>
                  <a:gd name="T31" fmla="*/ 77 h 115"/>
                  <a:gd name="T32" fmla="*/ 79 w 104"/>
                  <a:gd name="T33" fmla="*/ 81 h 115"/>
                  <a:gd name="T34" fmla="*/ 79 w 104"/>
                  <a:gd name="T35" fmla="*/ 81 h 115"/>
                  <a:gd name="T36" fmla="*/ 72 w 104"/>
                  <a:gd name="T37" fmla="*/ 83 h 115"/>
                  <a:gd name="T38" fmla="*/ 66 w 104"/>
                  <a:gd name="T39" fmla="*/ 85 h 115"/>
                  <a:gd name="T40" fmla="*/ 59 w 104"/>
                  <a:gd name="T41" fmla="*/ 85 h 115"/>
                  <a:gd name="T42" fmla="*/ 52 w 104"/>
                  <a:gd name="T43" fmla="*/ 86 h 115"/>
                  <a:gd name="T44" fmla="*/ 32 w 104"/>
                  <a:gd name="T45" fmla="*/ 86 h 115"/>
                  <a:gd name="T46" fmla="*/ 32 w 104"/>
                  <a:gd name="T47" fmla="*/ 115 h 115"/>
                  <a:gd name="T48" fmla="*/ 0 w 104"/>
                  <a:gd name="T49" fmla="*/ 115 h 115"/>
                  <a:gd name="T50" fmla="*/ 0 w 104"/>
                  <a:gd name="T51" fmla="*/ 0 h 115"/>
                  <a:gd name="T52" fmla="*/ 52 w 104"/>
                  <a:gd name="T53" fmla="*/ 0 h 115"/>
                  <a:gd name="T54" fmla="*/ 52 w 104"/>
                  <a:gd name="T55" fmla="*/ 0 h 115"/>
                  <a:gd name="T56" fmla="*/ 59 w 104"/>
                  <a:gd name="T57" fmla="*/ 1 h 115"/>
                  <a:gd name="T58" fmla="*/ 66 w 104"/>
                  <a:gd name="T59" fmla="*/ 2 h 115"/>
                  <a:gd name="T60" fmla="*/ 73 w 104"/>
                  <a:gd name="T61" fmla="*/ 3 h 115"/>
                  <a:gd name="T62" fmla="*/ 79 w 104"/>
                  <a:gd name="T63" fmla="*/ 5 h 115"/>
                  <a:gd name="T64" fmla="*/ 79 w 104"/>
                  <a:gd name="T65" fmla="*/ 5 h 115"/>
                  <a:gd name="T66" fmla="*/ 65 w 104"/>
                  <a:gd name="T67" fmla="*/ 56 h 115"/>
                  <a:gd name="T68" fmla="*/ 65 w 104"/>
                  <a:gd name="T69" fmla="*/ 56 h 115"/>
                  <a:gd name="T70" fmla="*/ 67 w 104"/>
                  <a:gd name="T71" fmla="*/ 53 h 115"/>
                  <a:gd name="T72" fmla="*/ 69 w 104"/>
                  <a:gd name="T73" fmla="*/ 50 h 115"/>
                  <a:gd name="T74" fmla="*/ 70 w 104"/>
                  <a:gd name="T75" fmla="*/ 46 h 115"/>
                  <a:gd name="T76" fmla="*/ 70 w 104"/>
                  <a:gd name="T77" fmla="*/ 43 h 115"/>
                  <a:gd name="T78" fmla="*/ 70 w 104"/>
                  <a:gd name="T79" fmla="*/ 43 h 115"/>
                  <a:gd name="T80" fmla="*/ 70 w 104"/>
                  <a:gd name="T81" fmla="*/ 39 h 115"/>
                  <a:gd name="T82" fmla="*/ 69 w 104"/>
                  <a:gd name="T83" fmla="*/ 36 h 115"/>
                  <a:gd name="T84" fmla="*/ 67 w 104"/>
                  <a:gd name="T85" fmla="*/ 33 h 115"/>
                  <a:gd name="T86" fmla="*/ 65 w 104"/>
                  <a:gd name="T87" fmla="*/ 30 h 115"/>
                  <a:gd name="T88" fmla="*/ 65 w 104"/>
                  <a:gd name="T89" fmla="*/ 30 h 115"/>
                  <a:gd name="T90" fmla="*/ 62 w 104"/>
                  <a:gd name="T91" fmla="*/ 28 h 115"/>
                  <a:gd name="T92" fmla="*/ 58 w 104"/>
                  <a:gd name="T93" fmla="*/ 27 h 115"/>
                  <a:gd name="T94" fmla="*/ 54 w 104"/>
                  <a:gd name="T95" fmla="*/ 26 h 115"/>
                  <a:gd name="T96" fmla="*/ 50 w 104"/>
                  <a:gd name="T97" fmla="*/ 26 h 115"/>
                  <a:gd name="T98" fmla="*/ 32 w 104"/>
                  <a:gd name="T99" fmla="*/ 26 h 115"/>
                  <a:gd name="T100" fmla="*/ 32 w 104"/>
                  <a:gd name="T101" fmla="*/ 60 h 115"/>
                  <a:gd name="T102" fmla="*/ 50 w 104"/>
                  <a:gd name="T103" fmla="*/ 60 h 115"/>
                  <a:gd name="T104" fmla="*/ 50 w 104"/>
                  <a:gd name="T105" fmla="*/ 60 h 115"/>
                  <a:gd name="T106" fmla="*/ 54 w 104"/>
                  <a:gd name="T107" fmla="*/ 60 h 115"/>
                  <a:gd name="T108" fmla="*/ 58 w 104"/>
                  <a:gd name="T109" fmla="*/ 59 h 115"/>
                  <a:gd name="T110" fmla="*/ 62 w 104"/>
                  <a:gd name="T111" fmla="*/ 58 h 115"/>
                  <a:gd name="T112" fmla="*/ 65 w 104"/>
                  <a:gd name="T113" fmla="*/ 56 h 115"/>
                  <a:gd name="T114" fmla="*/ 65 w 104"/>
                  <a:gd name="T115" fmla="*/ 56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04" h="115">
                    <a:moveTo>
                      <a:pt x="79" y="5"/>
                    </a:moveTo>
                    <a:lnTo>
                      <a:pt x="79" y="5"/>
                    </a:lnTo>
                    <a:lnTo>
                      <a:pt x="85" y="8"/>
                    </a:lnTo>
                    <a:lnTo>
                      <a:pt x="90" y="12"/>
                    </a:lnTo>
                    <a:lnTo>
                      <a:pt x="94" y="16"/>
                    </a:lnTo>
                    <a:lnTo>
                      <a:pt x="98" y="20"/>
                    </a:lnTo>
                    <a:lnTo>
                      <a:pt x="98" y="20"/>
                    </a:lnTo>
                    <a:lnTo>
                      <a:pt x="101" y="27"/>
                    </a:lnTo>
                    <a:lnTo>
                      <a:pt x="104" y="35"/>
                    </a:lnTo>
                    <a:lnTo>
                      <a:pt x="104" y="43"/>
                    </a:lnTo>
                    <a:lnTo>
                      <a:pt x="104" y="51"/>
                    </a:lnTo>
                    <a:lnTo>
                      <a:pt x="102" y="59"/>
                    </a:lnTo>
                    <a:lnTo>
                      <a:pt x="98" y="66"/>
                    </a:lnTo>
                    <a:lnTo>
                      <a:pt x="93" y="72"/>
                    </a:lnTo>
                    <a:lnTo>
                      <a:pt x="87" y="77"/>
                    </a:lnTo>
                    <a:lnTo>
                      <a:pt x="87" y="77"/>
                    </a:lnTo>
                    <a:lnTo>
                      <a:pt x="79" y="81"/>
                    </a:lnTo>
                    <a:lnTo>
                      <a:pt x="79" y="81"/>
                    </a:lnTo>
                    <a:lnTo>
                      <a:pt x="72" y="83"/>
                    </a:lnTo>
                    <a:lnTo>
                      <a:pt x="66" y="85"/>
                    </a:lnTo>
                    <a:lnTo>
                      <a:pt x="59" y="85"/>
                    </a:lnTo>
                    <a:lnTo>
                      <a:pt x="52" y="86"/>
                    </a:lnTo>
                    <a:lnTo>
                      <a:pt x="32" y="86"/>
                    </a:lnTo>
                    <a:lnTo>
                      <a:pt x="3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52" y="0"/>
                    </a:lnTo>
                    <a:lnTo>
                      <a:pt x="52" y="0"/>
                    </a:lnTo>
                    <a:lnTo>
                      <a:pt x="59" y="1"/>
                    </a:lnTo>
                    <a:lnTo>
                      <a:pt x="66" y="2"/>
                    </a:lnTo>
                    <a:lnTo>
                      <a:pt x="73" y="3"/>
                    </a:lnTo>
                    <a:lnTo>
                      <a:pt x="79" y="5"/>
                    </a:lnTo>
                    <a:lnTo>
                      <a:pt x="79" y="5"/>
                    </a:lnTo>
                    <a:close/>
                    <a:moveTo>
                      <a:pt x="65" y="56"/>
                    </a:moveTo>
                    <a:lnTo>
                      <a:pt x="65" y="56"/>
                    </a:lnTo>
                    <a:lnTo>
                      <a:pt x="67" y="53"/>
                    </a:lnTo>
                    <a:lnTo>
                      <a:pt x="69" y="50"/>
                    </a:lnTo>
                    <a:lnTo>
                      <a:pt x="70" y="46"/>
                    </a:lnTo>
                    <a:lnTo>
                      <a:pt x="70" y="43"/>
                    </a:lnTo>
                    <a:lnTo>
                      <a:pt x="70" y="43"/>
                    </a:lnTo>
                    <a:lnTo>
                      <a:pt x="70" y="39"/>
                    </a:lnTo>
                    <a:lnTo>
                      <a:pt x="69" y="36"/>
                    </a:lnTo>
                    <a:lnTo>
                      <a:pt x="67" y="33"/>
                    </a:lnTo>
                    <a:lnTo>
                      <a:pt x="65" y="30"/>
                    </a:lnTo>
                    <a:lnTo>
                      <a:pt x="65" y="30"/>
                    </a:lnTo>
                    <a:lnTo>
                      <a:pt x="62" y="28"/>
                    </a:lnTo>
                    <a:lnTo>
                      <a:pt x="58" y="27"/>
                    </a:lnTo>
                    <a:lnTo>
                      <a:pt x="54" y="26"/>
                    </a:lnTo>
                    <a:lnTo>
                      <a:pt x="50" y="26"/>
                    </a:lnTo>
                    <a:lnTo>
                      <a:pt x="32" y="26"/>
                    </a:lnTo>
                    <a:lnTo>
                      <a:pt x="32" y="60"/>
                    </a:lnTo>
                    <a:lnTo>
                      <a:pt x="50" y="60"/>
                    </a:lnTo>
                    <a:lnTo>
                      <a:pt x="50" y="60"/>
                    </a:lnTo>
                    <a:lnTo>
                      <a:pt x="54" y="60"/>
                    </a:lnTo>
                    <a:lnTo>
                      <a:pt x="58" y="59"/>
                    </a:lnTo>
                    <a:lnTo>
                      <a:pt x="62" y="58"/>
                    </a:lnTo>
                    <a:lnTo>
                      <a:pt x="65" y="56"/>
                    </a:lnTo>
                    <a:lnTo>
                      <a:pt x="65" y="5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22">
                <a:extLst>
                  <a:ext uri="{FF2B5EF4-FFF2-40B4-BE49-F238E27FC236}">
                    <a16:creationId xmlns:a16="http://schemas.microsoft.com/office/drawing/2014/main" id="{E44F2CDE-E6BD-432D-9862-A49F2FEC17B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029954" y="1535113"/>
                <a:ext cx="74613" cy="90487"/>
              </a:xfrm>
              <a:custGeom>
                <a:avLst/>
                <a:gdLst>
                  <a:gd name="T0" fmla="*/ 93 w 93"/>
                  <a:gd name="T1" fmla="*/ 90 h 115"/>
                  <a:gd name="T2" fmla="*/ 93 w 93"/>
                  <a:gd name="T3" fmla="*/ 115 h 115"/>
                  <a:gd name="T4" fmla="*/ 0 w 93"/>
                  <a:gd name="T5" fmla="*/ 115 h 115"/>
                  <a:gd name="T6" fmla="*/ 0 w 93"/>
                  <a:gd name="T7" fmla="*/ 0 h 115"/>
                  <a:gd name="T8" fmla="*/ 91 w 93"/>
                  <a:gd name="T9" fmla="*/ 0 h 115"/>
                  <a:gd name="T10" fmla="*/ 91 w 93"/>
                  <a:gd name="T11" fmla="*/ 25 h 115"/>
                  <a:gd name="T12" fmla="*/ 32 w 93"/>
                  <a:gd name="T13" fmla="*/ 25 h 115"/>
                  <a:gd name="T14" fmla="*/ 32 w 93"/>
                  <a:gd name="T15" fmla="*/ 44 h 115"/>
                  <a:gd name="T16" fmla="*/ 83 w 93"/>
                  <a:gd name="T17" fmla="*/ 44 h 115"/>
                  <a:gd name="T18" fmla="*/ 83 w 93"/>
                  <a:gd name="T19" fmla="*/ 69 h 115"/>
                  <a:gd name="T20" fmla="*/ 32 w 93"/>
                  <a:gd name="T21" fmla="*/ 69 h 115"/>
                  <a:gd name="T22" fmla="*/ 32 w 93"/>
                  <a:gd name="T23" fmla="*/ 90 h 115"/>
                  <a:gd name="T24" fmla="*/ 93 w 93"/>
                  <a:gd name="T25" fmla="*/ 9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3" h="115">
                    <a:moveTo>
                      <a:pt x="93" y="90"/>
                    </a:moveTo>
                    <a:lnTo>
                      <a:pt x="93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91" y="0"/>
                    </a:lnTo>
                    <a:lnTo>
                      <a:pt x="91" y="25"/>
                    </a:lnTo>
                    <a:lnTo>
                      <a:pt x="32" y="25"/>
                    </a:lnTo>
                    <a:lnTo>
                      <a:pt x="32" y="44"/>
                    </a:lnTo>
                    <a:lnTo>
                      <a:pt x="83" y="44"/>
                    </a:lnTo>
                    <a:lnTo>
                      <a:pt x="83" y="69"/>
                    </a:lnTo>
                    <a:lnTo>
                      <a:pt x="32" y="69"/>
                    </a:lnTo>
                    <a:lnTo>
                      <a:pt x="32" y="90"/>
                    </a:lnTo>
                    <a:lnTo>
                      <a:pt x="93" y="9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23">
                <a:extLst>
                  <a:ext uri="{FF2B5EF4-FFF2-40B4-BE49-F238E27FC236}">
                    <a16:creationId xmlns:a16="http://schemas.microsoft.com/office/drawing/2014/main" id="{AEBE3FD9-55FE-4AB6-927C-5CCFB0D4F42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122029" y="1535113"/>
                <a:ext cx="122238" cy="90487"/>
              </a:xfrm>
              <a:custGeom>
                <a:avLst/>
                <a:gdLst>
                  <a:gd name="T0" fmla="*/ 155 w 155"/>
                  <a:gd name="T1" fmla="*/ 0 h 115"/>
                  <a:gd name="T2" fmla="*/ 155 w 155"/>
                  <a:gd name="T3" fmla="*/ 115 h 115"/>
                  <a:gd name="T4" fmla="*/ 0 w 155"/>
                  <a:gd name="T5" fmla="*/ 115 h 115"/>
                  <a:gd name="T6" fmla="*/ 0 w 155"/>
                  <a:gd name="T7" fmla="*/ 0 h 115"/>
                  <a:gd name="T8" fmla="*/ 31 w 155"/>
                  <a:gd name="T9" fmla="*/ 0 h 115"/>
                  <a:gd name="T10" fmla="*/ 31 w 155"/>
                  <a:gd name="T11" fmla="*/ 90 h 115"/>
                  <a:gd name="T12" fmla="*/ 61 w 155"/>
                  <a:gd name="T13" fmla="*/ 90 h 115"/>
                  <a:gd name="T14" fmla="*/ 61 w 155"/>
                  <a:gd name="T15" fmla="*/ 0 h 115"/>
                  <a:gd name="T16" fmla="*/ 93 w 155"/>
                  <a:gd name="T17" fmla="*/ 0 h 115"/>
                  <a:gd name="T18" fmla="*/ 93 w 155"/>
                  <a:gd name="T19" fmla="*/ 90 h 115"/>
                  <a:gd name="T20" fmla="*/ 123 w 155"/>
                  <a:gd name="T21" fmla="*/ 90 h 115"/>
                  <a:gd name="T22" fmla="*/ 123 w 155"/>
                  <a:gd name="T23" fmla="*/ 0 h 115"/>
                  <a:gd name="T24" fmla="*/ 155 w 155"/>
                  <a:gd name="T25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5" h="115">
                    <a:moveTo>
                      <a:pt x="155" y="0"/>
                    </a:moveTo>
                    <a:lnTo>
                      <a:pt x="155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1" y="0"/>
                    </a:lnTo>
                    <a:lnTo>
                      <a:pt x="31" y="90"/>
                    </a:lnTo>
                    <a:lnTo>
                      <a:pt x="61" y="90"/>
                    </a:lnTo>
                    <a:lnTo>
                      <a:pt x="61" y="0"/>
                    </a:lnTo>
                    <a:lnTo>
                      <a:pt x="93" y="0"/>
                    </a:lnTo>
                    <a:lnTo>
                      <a:pt x="93" y="90"/>
                    </a:lnTo>
                    <a:lnTo>
                      <a:pt x="123" y="90"/>
                    </a:lnTo>
                    <a:lnTo>
                      <a:pt x="123" y="0"/>
                    </a:lnTo>
                    <a:lnTo>
                      <a:pt x="15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24">
                <a:extLst>
                  <a:ext uri="{FF2B5EF4-FFF2-40B4-BE49-F238E27FC236}">
                    <a16:creationId xmlns:a16="http://schemas.microsoft.com/office/drawing/2014/main" id="{089AD152-A1C4-477C-AE09-8389F0EFBBE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268079" y="1535113"/>
                <a:ext cx="71438" cy="90487"/>
              </a:xfrm>
              <a:custGeom>
                <a:avLst/>
                <a:gdLst>
                  <a:gd name="T0" fmla="*/ 92 w 92"/>
                  <a:gd name="T1" fmla="*/ 90 h 115"/>
                  <a:gd name="T2" fmla="*/ 92 w 92"/>
                  <a:gd name="T3" fmla="*/ 115 h 115"/>
                  <a:gd name="T4" fmla="*/ 0 w 92"/>
                  <a:gd name="T5" fmla="*/ 115 h 115"/>
                  <a:gd name="T6" fmla="*/ 0 w 92"/>
                  <a:gd name="T7" fmla="*/ 0 h 115"/>
                  <a:gd name="T8" fmla="*/ 90 w 92"/>
                  <a:gd name="T9" fmla="*/ 0 h 115"/>
                  <a:gd name="T10" fmla="*/ 90 w 92"/>
                  <a:gd name="T11" fmla="*/ 25 h 115"/>
                  <a:gd name="T12" fmla="*/ 32 w 92"/>
                  <a:gd name="T13" fmla="*/ 25 h 115"/>
                  <a:gd name="T14" fmla="*/ 32 w 92"/>
                  <a:gd name="T15" fmla="*/ 44 h 115"/>
                  <a:gd name="T16" fmla="*/ 83 w 92"/>
                  <a:gd name="T17" fmla="*/ 44 h 115"/>
                  <a:gd name="T18" fmla="*/ 83 w 92"/>
                  <a:gd name="T19" fmla="*/ 69 h 115"/>
                  <a:gd name="T20" fmla="*/ 32 w 92"/>
                  <a:gd name="T21" fmla="*/ 69 h 115"/>
                  <a:gd name="T22" fmla="*/ 32 w 92"/>
                  <a:gd name="T23" fmla="*/ 90 h 115"/>
                  <a:gd name="T24" fmla="*/ 92 w 92"/>
                  <a:gd name="T25" fmla="*/ 9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2" h="115">
                    <a:moveTo>
                      <a:pt x="92" y="90"/>
                    </a:moveTo>
                    <a:lnTo>
                      <a:pt x="9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25"/>
                    </a:lnTo>
                    <a:lnTo>
                      <a:pt x="32" y="25"/>
                    </a:lnTo>
                    <a:lnTo>
                      <a:pt x="32" y="44"/>
                    </a:lnTo>
                    <a:lnTo>
                      <a:pt x="83" y="44"/>
                    </a:lnTo>
                    <a:lnTo>
                      <a:pt x="83" y="69"/>
                    </a:lnTo>
                    <a:lnTo>
                      <a:pt x="32" y="69"/>
                    </a:lnTo>
                    <a:lnTo>
                      <a:pt x="32" y="90"/>
                    </a:lnTo>
                    <a:lnTo>
                      <a:pt x="92" y="9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25">
                <a:extLst>
                  <a:ext uri="{FF2B5EF4-FFF2-40B4-BE49-F238E27FC236}">
                    <a16:creationId xmlns:a16="http://schemas.microsoft.com/office/drawing/2014/main" id="{E46EBC47-F73C-4DBD-BF5F-9DEF4B1A498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358566" y="1535113"/>
                <a:ext cx="85725" cy="90487"/>
              </a:xfrm>
              <a:custGeom>
                <a:avLst/>
                <a:gdLst>
                  <a:gd name="T0" fmla="*/ 109 w 109"/>
                  <a:gd name="T1" fmla="*/ 0 h 115"/>
                  <a:gd name="T2" fmla="*/ 109 w 109"/>
                  <a:gd name="T3" fmla="*/ 115 h 115"/>
                  <a:gd name="T4" fmla="*/ 77 w 109"/>
                  <a:gd name="T5" fmla="*/ 115 h 115"/>
                  <a:gd name="T6" fmla="*/ 77 w 109"/>
                  <a:gd name="T7" fmla="*/ 71 h 115"/>
                  <a:gd name="T8" fmla="*/ 32 w 109"/>
                  <a:gd name="T9" fmla="*/ 71 h 115"/>
                  <a:gd name="T10" fmla="*/ 32 w 109"/>
                  <a:gd name="T11" fmla="*/ 115 h 115"/>
                  <a:gd name="T12" fmla="*/ 0 w 109"/>
                  <a:gd name="T13" fmla="*/ 115 h 115"/>
                  <a:gd name="T14" fmla="*/ 0 w 109"/>
                  <a:gd name="T15" fmla="*/ 0 h 115"/>
                  <a:gd name="T16" fmla="*/ 32 w 109"/>
                  <a:gd name="T17" fmla="*/ 0 h 115"/>
                  <a:gd name="T18" fmla="*/ 32 w 109"/>
                  <a:gd name="T19" fmla="*/ 43 h 115"/>
                  <a:gd name="T20" fmla="*/ 77 w 109"/>
                  <a:gd name="T21" fmla="*/ 43 h 115"/>
                  <a:gd name="T22" fmla="*/ 77 w 109"/>
                  <a:gd name="T23" fmla="*/ 0 h 115"/>
                  <a:gd name="T24" fmla="*/ 109 w 109"/>
                  <a:gd name="T25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9" h="115">
                    <a:moveTo>
                      <a:pt x="109" y="0"/>
                    </a:moveTo>
                    <a:lnTo>
                      <a:pt x="109" y="115"/>
                    </a:lnTo>
                    <a:lnTo>
                      <a:pt x="77" y="115"/>
                    </a:lnTo>
                    <a:lnTo>
                      <a:pt x="77" y="71"/>
                    </a:lnTo>
                    <a:lnTo>
                      <a:pt x="32" y="71"/>
                    </a:lnTo>
                    <a:lnTo>
                      <a:pt x="3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2" y="0"/>
                    </a:lnTo>
                    <a:lnTo>
                      <a:pt x="32" y="43"/>
                    </a:lnTo>
                    <a:lnTo>
                      <a:pt x="77" y="43"/>
                    </a:lnTo>
                    <a:lnTo>
                      <a:pt x="77" y="0"/>
                    </a:lnTo>
                    <a:lnTo>
                      <a:pt x="109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26">
                <a:extLst>
                  <a:ext uri="{FF2B5EF4-FFF2-40B4-BE49-F238E27FC236}">
                    <a16:creationId xmlns:a16="http://schemas.microsoft.com/office/drawing/2014/main" id="{34D2A087-87B5-4288-8491-803F3012F6B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466516" y="1535113"/>
                <a:ext cx="87313" cy="90487"/>
              </a:xfrm>
              <a:custGeom>
                <a:avLst/>
                <a:gdLst>
                  <a:gd name="T0" fmla="*/ 0 w 110"/>
                  <a:gd name="T1" fmla="*/ 0 h 115"/>
                  <a:gd name="T2" fmla="*/ 32 w 110"/>
                  <a:gd name="T3" fmla="*/ 0 h 115"/>
                  <a:gd name="T4" fmla="*/ 32 w 110"/>
                  <a:gd name="T5" fmla="*/ 68 h 115"/>
                  <a:gd name="T6" fmla="*/ 80 w 110"/>
                  <a:gd name="T7" fmla="*/ 0 h 115"/>
                  <a:gd name="T8" fmla="*/ 110 w 110"/>
                  <a:gd name="T9" fmla="*/ 0 h 115"/>
                  <a:gd name="T10" fmla="*/ 110 w 110"/>
                  <a:gd name="T11" fmla="*/ 115 h 115"/>
                  <a:gd name="T12" fmla="*/ 78 w 110"/>
                  <a:gd name="T13" fmla="*/ 115 h 115"/>
                  <a:gd name="T14" fmla="*/ 78 w 110"/>
                  <a:gd name="T15" fmla="*/ 48 h 115"/>
                  <a:gd name="T16" fmla="*/ 30 w 110"/>
                  <a:gd name="T17" fmla="*/ 115 h 115"/>
                  <a:gd name="T18" fmla="*/ 0 w 110"/>
                  <a:gd name="T19" fmla="*/ 115 h 115"/>
                  <a:gd name="T20" fmla="*/ 0 w 110"/>
                  <a:gd name="T21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0" h="115">
                    <a:moveTo>
                      <a:pt x="0" y="0"/>
                    </a:moveTo>
                    <a:lnTo>
                      <a:pt x="32" y="0"/>
                    </a:lnTo>
                    <a:lnTo>
                      <a:pt x="32" y="68"/>
                    </a:lnTo>
                    <a:lnTo>
                      <a:pt x="80" y="0"/>
                    </a:lnTo>
                    <a:lnTo>
                      <a:pt x="110" y="0"/>
                    </a:lnTo>
                    <a:lnTo>
                      <a:pt x="110" y="115"/>
                    </a:lnTo>
                    <a:lnTo>
                      <a:pt x="78" y="115"/>
                    </a:lnTo>
                    <a:lnTo>
                      <a:pt x="78" y="48"/>
                    </a:lnTo>
                    <a:lnTo>
                      <a:pt x="30" y="115"/>
                    </a:lnTo>
                    <a:lnTo>
                      <a:pt x="0" y="11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27">
                <a:extLst>
                  <a:ext uri="{FF2B5EF4-FFF2-40B4-BE49-F238E27FC236}">
                    <a16:creationId xmlns:a16="http://schemas.microsoft.com/office/drawing/2014/main" id="{094DB65A-AE26-40BB-A6B3-46370CF081BD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1571291" y="1535113"/>
                <a:ext cx="80963" cy="90487"/>
              </a:xfrm>
              <a:custGeom>
                <a:avLst/>
                <a:gdLst>
                  <a:gd name="T0" fmla="*/ 103 w 103"/>
                  <a:gd name="T1" fmla="*/ 0 h 115"/>
                  <a:gd name="T2" fmla="*/ 103 w 103"/>
                  <a:gd name="T3" fmla="*/ 115 h 115"/>
                  <a:gd name="T4" fmla="*/ 71 w 103"/>
                  <a:gd name="T5" fmla="*/ 115 h 115"/>
                  <a:gd name="T6" fmla="*/ 71 w 103"/>
                  <a:gd name="T7" fmla="*/ 87 h 115"/>
                  <a:gd name="T8" fmla="*/ 54 w 103"/>
                  <a:gd name="T9" fmla="*/ 87 h 115"/>
                  <a:gd name="T10" fmla="*/ 34 w 103"/>
                  <a:gd name="T11" fmla="*/ 115 h 115"/>
                  <a:gd name="T12" fmla="*/ 0 w 103"/>
                  <a:gd name="T13" fmla="*/ 115 h 115"/>
                  <a:gd name="T14" fmla="*/ 23 w 103"/>
                  <a:gd name="T15" fmla="*/ 82 h 115"/>
                  <a:gd name="T16" fmla="*/ 23 w 103"/>
                  <a:gd name="T17" fmla="*/ 82 h 115"/>
                  <a:gd name="T18" fmla="*/ 18 w 103"/>
                  <a:gd name="T19" fmla="*/ 79 h 115"/>
                  <a:gd name="T20" fmla="*/ 13 w 103"/>
                  <a:gd name="T21" fmla="*/ 76 h 115"/>
                  <a:gd name="T22" fmla="*/ 9 w 103"/>
                  <a:gd name="T23" fmla="*/ 72 h 115"/>
                  <a:gd name="T24" fmla="*/ 6 w 103"/>
                  <a:gd name="T25" fmla="*/ 67 h 115"/>
                  <a:gd name="T26" fmla="*/ 6 w 103"/>
                  <a:gd name="T27" fmla="*/ 67 h 115"/>
                  <a:gd name="T28" fmla="*/ 3 w 103"/>
                  <a:gd name="T29" fmla="*/ 62 h 115"/>
                  <a:gd name="T30" fmla="*/ 1 w 103"/>
                  <a:gd name="T31" fmla="*/ 57 h 115"/>
                  <a:gd name="T32" fmla="*/ 0 w 103"/>
                  <a:gd name="T33" fmla="*/ 51 h 115"/>
                  <a:gd name="T34" fmla="*/ 0 w 103"/>
                  <a:gd name="T35" fmla="*/ 44 h 115"/>
                  <a:gd name="T36" fmla="*/ 0 w 103"/>
                  <a:gd name="T37" fmla="*/ 44 h 115"/>
                  <a:gd name="T38" fmla="*/ 0 w 103"/>
                  <a:gd name="T39" fmla="*/ 38 h 115"/>
                  <a:gd name="T40" fmla="*/ 1 w 103"/>
                  <a:gd name="T41" fmla="*/ 32 h 115"/>
                  <a:gd name="T42" fmla="*/ 3 w 103"/>
                  <a:gd name="T43" fmla="*/ 26 h 115"/>
                  <a:gd name="T44" fmla="*/ 6 w 103"/>
                  <a:gd name="T45" fmla="*/ 21 h 115"/>
                  <a:gd name="T46" fmla="*/ 6 w 103"/>
                  <a:gd name="T47" fmla="*/ 21 h 115"/>
                  <a:gd name="T48" fmla="*/ 10 w 103"/>
                  <a:gd name="T49" fmla="*/ 16 h 115"/>
                  <a:gd name="T50" fmla="*/ 14 w 103"/>
                  <a:gd name="T51" fmla="*/ 12 h 115"/>
                  <a:gd name="T52" fmla="*/ 19 w 103"/>
                  <a:gd name="T53" fmla="*/ 8 h 115"/>
                  <a:gd name="T54" fmla="*/ 24 w 103"/>
                  <a:gd name="T55" fmla="*/ 6 h 115"/>
                  <a:gd name="T56" fmla="*/ 24 w 103"/>
                  <a:gd name="T57" fmla="*/ 6 h 115"/>
                  <a:gd name="T58" fmla="*/ 30 w 103"/>
                  <a:gd name="T59" fmla="*/ 3 h 115"/>
                  <a:gd name="T60" fmla="*/ 37 w 103"/>
                  <a:gd name="T61" fmla="*/ 2 h 115"/>
                  <a:gd name="T62" fmla="*/ 45 w 103"/>
                  <a:gd name="T63" fmla="*/ 1 h 115"/>
                  <a:gd name="T64" fmla="*/ 52 w 103"/>
                  <a:gd name="T65" fmla="*/ 1 h 115"/>
                  <a:gd name="T66" fmla="*/ 103 w 103"/>
                  <a:gd name="T67" fmla="*/ 0 h 115"/>
                  <a:gd name="T68" fmla="*/ 32 w 103"/>
                  <a:gd name="T69" fmla="*/ 43 h 115"/>
                  <a:gd name="T70" fmla="*/ 32 w 103"/>
                  <a:gd name="T71" fmla="*/ 43 h 115"/>
                  <a:gd name="T72" fmla="*/ 33 w 103"/>
                  <a:gd name="T73" fmla="*/ 48 h 115"/>
                  <a:gd name="T74" fmla="*/ 34 w 103"/>
                  <a:gd name="T75" fmla="*/ 51 h 115"/>
                  <a:gd name="T76" fmla="*/ 35 w 103"/>
                  <a:gd name="T77" fmla="*/ 54 h 115"/>
                  <a:gd name="T78" fmla="*/ 37 w 103"/>
                  <a:gd name="T79" fmla="*/ 57 h 115"/>
                  <a:gd name="T80" fmla="*/ 37 w 103"/>
                  <a:gd name="T81" fmla="*/ 57 h 115"/>
                  <a:gd name="T82" fmla="*/ 42 w 103"/>
                  <a:gd name="T83" fmla="*/ 59 h 115"/>
                  <a:gd name="T84" fmla="*/ 45 w 103"/>
                  <a:gd name="T85" fmla="*/ 61 h 115"/>
                  <a:gd name="T86" fmla="*/ 49 w 103"/>
                  <a:gd name="T87" fmla="*/ 62 h 115"/>
                  <a:gd name="T88" fmla="*/ 52 w 103"/>
                  <a:gd name="T89" fmla="*/ 62 h 115"/>
                  <a:gd name="T90" fmla="*/ 72 w 103"/>
                  <a:gd name="T91" fmla="*/ 62 h 115"/>
                  <a:gd name="T92" fmla="*/ 72 w 103"/>
                  <a:gd name="T93" fmla="*/ 26 h 115"/>
                  <a:gd name="T94" fmla="*/ 53 w 103"/>
                  <a:gd name="T95" fmla="*/ 26 h 115"/>
                  <a:gd name="T96" fmla="*/ 53 w 103"/>
                  <a:gd name="T97" fmla="*/ 26 h 115"/>
                  <a:gd name="T98" fmla="*/ 48 w 103"/>
                  <a:gd name="T99" fmla="*/ 26 h 115"/>
                  <a:gd name="T100" fmla="*/ 44 w 103"/>
                  <a:gd name="T101" fmla="*/ 27 h 115"/>
                  <a:gd name="T102" fmla="*/ 41 w 103"/>
                  <a:gd name="T103" fmla="*/ 28 h 115"/>
                  <a:gd name="T104" fmla="*/ 37 w 103"/>
                  <a:gd name="T105" fmla="*/ 30 h 115"/>
                  <a:gd name="T106" fmla="*/ 35 w 103"/>
                  <a:gd name="T107" fmla="*/ 32 h 115"/>
                  <a:gd name="T108" fmla="*/ 34 w 103"/>
                  <a:gd name="T109" fmla="*/ 35 h 115"/>
                  <a:gd name="T110" fmla="*/ 33 w 103"/>
                  <a:gd name="T111" fmla="*/ 39 h 115"/>
                  <a:gd name="T112" fmla="*/ 32 w 103"/>
                  <a:gd name="T113" fmla="*/ 43 h 115"/>
                  <a:gd name="T114" fmla="*/ 32 w 103"/>
                  <a:gd name="T115" fmla="*/ 43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03" h="115">
                    <a:moveTo>
                      <a:pt x="103" y="0"/>
                    </a:moveTo>
                    <a:lnTo>
                      <a:pt x="103" y="115"/>
                    </a:lnTo>
                    <a:lnTo>
                      <a:pt x="71" y="115"/>
                    </a:lnTo>
                    <a:lnTo>
                      <a:pt x="71" y="87"/>
                    </a:lnTo>
                    <a:lnTo>
                      <a:pt x="54" y="87"/>
                    </a:lnTo>
                    <a:lnTo>
                      <a:pt x="34" y="115"/>
                    </a:lnTo>
                    <a:lnTo>
                      <a:pt x="0" y="115"/>
                    </a:lnTo>
                    <a:lnTo>
                      <a:pt x="23" y="82"/>
                    </a:lnTo>
                    <a:lnTo>
                      <a:pt x="23" y="82"/>
                    </a:lnTo>
                    <a:lnTo>
                      <a:pt x="18" y="79"/>
                    </a:lnTo>
                    <a:lnTo>
                      <a:pt x="13" y="76"/>
                    </a:lnTo>
                    <a:lnTo>
                      <a:pt x="9" y="72"/>
                    </a:lnTo>
                    <a:lnTo>
                      <a:pt x="6" y="67"/>
                    </a:lnTo>
                    <a:lnTo>
                      <a:pt x="6" y="67"/>
                    </a:lnTo>
                    <a:lnTo>
                      <a:pt x="3" y="62"/>
                    </a:lnTo>
                    <a:lnTo>
                      <a:pt x="1" y="57"/>
                    </a:lnTo>
                    <a:lnTo>
                      <a:pt x="0" y="51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38"/>
                    </a:lnTo>
                    <a:lnTo>
                      <a:pt x="1" y="32"/>
                    </a:lnTo>
                    <a:lnTo>
                      <a:pt x="3" y="26"/>
                    </a:lnTo>
                    <a:lnTo>
                      <a:pt x="6" y="21"/>
                    </a:lnTo>
                    <a:lnTo>
                      <a:pt x="6" y="21"/>
                    </a:lnTo>
                    <a:lnTo>
                      <a:pt x="10" y="16"/>
                    </a:lnTo>
                    <a:lnTo>
                      <a:pt x="14" y="12"/>
                    </a:lnTo>
                    <a:lnTo>
                      <a:pt x="19" y="8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30" y="3"/>
                    </a:lnTo>
                    <a:lnTo>
                      <a:pt x="37" y="2"/>
                    </a:lnTo>
                    <a:lnTo>
                      <a:pt x="45" y="1"/>
                    </a:lnTo>
                    <a:lnTo>
                      <a:pt x="52" y="1"/>
                    </a:lnTo>
                    <a:lnTo>
                      <a:pt x="103" y="0"/>
                    </a:lnTo>
                    <a:close/>
                    <a:moveTo>
                      <a:pt x="32" y="43"/>
                    </a:moveTo>
                    <a:lnTo>
                      <a:pt x="32" y="43"/>
                    </a:lnTo>
                    <a:lnTo>
                      <a:pt x="33" y="48"/>
                    </a:lnTo>
                    <a:lnTo>
                      <a:pt x="34" y="51"/>
                    </a:lnTo>
                    <a:lnTo>
                      <a:pt x="35" y="54"/>
                    </a:lnTo>
                    <a:lnTo>
                      <a:pt x="37" y="57"/>
                    </a:lnTo>
                    <a:lnTo>
                      <a:pt x="37" y="57"/>
                    </a:lnTo>
                    <a:lnTo>
                      <a:pt x="42" y="59"/>
                    </a:lnTo>
                    <a:lnTo>
                      <a:pt x="45" y="61"/>
                    </a:lnTo>
                    <a:lnTo>
                      <a:pt x="49" y="62"/>
                    </a:lnTo>
                    <a:lnTo>
                      <a:pt x="52" y="62"/>
                    </a:lnTo>
                    <a:lnTo>
                      <a:pt x="72" y="62"/>
                    </a:lnTo>
                    <a:lnTo>
                      <a:pt x="72" y="26"/>
                    </a:lnTo>
                    <a:lnTo>
                      <a:pt x="53" y="26"/>
                    </a:lnTo>
                    <a:lnTo>
                      <a:pt x="53" y="26"/>
                    </a:lnTo>
                    <a:lnTo>
                      <a:pt x="48" y="26"/>
                    </a:lnTo>
                    <a:lnTo>
                      <a:pt x="44" y="27"/>
                    </a:lnTo>
                    <a:lnTo>
                      <a:pt x="41" y="28"/>
                    </a:lnTo>
                    <a:lnTo>
                      <a:pt x="37" y="30"/>
                    </a:lnTo>
                    <a:lnTo>
                      <a:pt x="35" y="32"/>
                    </a:lnTo>
                    <a:lnTo>
                      <a:pt x="34" y="35"/>
                    </a:lnTo>
                    <a:lnTo>
                      <a:pt x="33" y="39"/>
                    </a:lnTo>
                    <a:lnTo>
                      <a:pt x="32" y="43"/>
                    </a:lnTo>
                    <a:lnTo>
                      <a:pt x="32" y="4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3BF84F8C-6E73-4395-917E-4D81DF24BBBC}"/>
                </a:ext>
              </a:extLst>
            </p:cNvPr>
            <p:cNvGrpSpPr/>
            <p:nvPr userDrawn="1"/>
          </p:nvGrpSpPr>
          <p:grpSpPr>
            <a:xfrm>
              <a:off x="10332720" y="658368"/>
              <a:ext cx="670092" cy="617763"/>
              <a:chOff x="10301291" y="611188"/>
              <a:chExt cx="731838" cy="674687"/>
            </a:xfrm>
          </p:grpSpPr>
          <p:sp>
            <p:nvSpPr>
              <p:cNvPr id="37" name="Freeform 28">
                <a:extLst>
                  <a:ext uri="{FF2B5EF4-FFF2-40B4-BE49-F238E27FC236}">
                    <a16:creationId xmlns:a16="http://schemas.microsoft.com/office/drawing/2014/main" id="{72F6F55D-D945-4D9B-861D-83A2C85613A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301291" y="611188"/>
                <a:ext cx="731838" cy="674687"/>
              </a:xfrm>
              <a:custGeom>
                <a:avLst/>
                <a:gdLst>
                  <a:gd name="T0" fmla="*/ 922 w 922"/>
                  <a:gd name="T1" fmla="*/ 0 h 850"/>
                  <a:gd name="T2" fmla="*/ 922 w 922"/>
                  <a:gd name="T3" fmla="*/ 850 h 850"/>
                  <a:gd name="T4" fmla="*/ 0 w 922"/>
                  <a:gd name="T5" fmla="*/ 850 h 850"/>
                  <a:gd name="T6" fmla="*/ 922 w 922"/>
                  <a:gd name="T7" fmla="*/ 0 h 8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22" h="850">
                    <a:moveTo>
                      <a:pt x="922" y="0"/>
                    </a:moveTo>
                    <a:lnTo>
                      <a:pt x="922" y="850"/>
                    </a:lnTo>
                    <a:lnTo>
                      <a:pt x="0" y="850"/>
                    </a:lnTo>
                    <a:lnTo>
                      <a:pt x="922" y="0"/>
                    </a:lnTo>
                    <a:close/>
                  </a:path>
                </a:pathLst>
              </a:custGeom>
              <a:solidFill>
                <a:srgbClr val="46AC4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29">
                <a:extLst>
                  <a:ext uri="{FF2B5EF4-FFF2-40B4-BE49-F238E27FC236}">
                    <a16:creationId xmlns:a16="http://schemas.microsoft.com/office/drawing/2014/main" id="{2543D496-E274-4DFF-B12B-D3278B905B6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877554" y="611188"/>
                <a:ext cx="155575" cy="674687"/>
              </a:xfrm>
              <a:custGeom>
                <a:avLst/>
                <a:gdLst>
                  <a:gd name="T0" fmla="*/ 196 w 196"/>
                  <a:gd name="T1" fmla="*/ 0 h 850"/>
                  <a:gd name="T2" fmla="*/ 196 w 196"/>
                  <a:gd name="T3" fmla="*/ 850 h 850"/>
                  <a:gd name="T4" fmla="*/ 0 w 196"/>
                  <a:gd name="T5" fmla="*/ 850 h 850"/>
                  <a:gd name="T6" fmla="*/ 0 w 196"/>
                  <a:gd name="T7" fmla="*/ 181 h 850"/>
                  <a:gd name="T8" fmla="*/ 196 w 196"/>
                  <a:gd name="T9" fmla="*/ 0 h 8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6" h="850">
                    <a:moveTo>
                      <a:pt x="196" y="0"/>
                    </a:moveTo>
                    <a:lnTo>
                      <a:pt x="196" y="850"/>
                    </a:lnTo>
                    <a:lnTo>
                      <a:pt x="0" y="850"/>
                    </a:lnTo>
                    <a:lnTo>
                      <a:pt x="0" y="181"/>
                    </a:lnTo>
                    <a:lnTo>
                      <a:pt x="196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30">
                <a:extLst>
                  <a:ext uri="{FF2B5EF4-FFF2-40B4-BE49-F238E27FC236}">
                    <a16:creationId xmlns:a16="http://schemas.microsoft.com/office/drawing/2014/main" id="{EB2185AA-47F9-44C2-A00F-B328E67E0F11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301291" y="625475"/>
                <a:ext cx="493713" cy="660400"/>
              </a:xfrm>
              <a:custGeom>
                <a:avLst/>
                <a:gdLst>
                  <a:gd name="T0" fmla="*/ 339 w 622"/>
                  <a:gd name="T1" fmla="*/ 302 h 833"/>
                  <a:gd name="T2" fmla="*/ 366 w 622"/>
                  <a:gd name="T3" fmla="*/ 303 h 833"/>
                  <a:gd name="T4" fmla="*/ 419 w 622"/>
                  <a:gd name="T5" fmla="*/ 309 h 833"/>
                  <a:gd name="T6" fmla="*/ 447 w 622"/>
                  <a:gd name="T7" fmla="*/ 315 h 833"/>
                  <a:gd name="T8" fmla="*/ 493 w 622"/>
                  <a:gd name="T9" fmla="*/ 332 h 833"/>
                  <a:gd name="T10" fmla="*/ 536 w 622"/>
                  <a:gd name="T11" fmla="*/ 358 h 833"/>
                  <a:gd name="T12" fmla="*/ 546 w 622"/>
                  <a:gd name="T13" fmla="*/ 366 h 833"/>
                  <a:gd name="T14" fmla="*/ 564 w 622"/>
                  <a:gd name="T15" fmla="*/ 383 h 833"/>
                  <a:gd name="T16" fmla="*/ 580 w 622"/>
                  <a:gd name="T17" fmla="*/ 404 h 833"/>
                  <a:gd name="T18" fmla="*/ 594 w 622"/>
                  <a:gd name="T19" fmla="*/ 428 h 833"/>
                  <a:gd name="T20" fmla="*/ 600 w 622"/>
                  <a:gd name="T21" fmla="*/ 440 h 833"/>
                  <a:gd name="T22" fmla="*/ 609 w 622"/>
                  <a:gd name="T23" fmla="*/ 468 h 833"/>
                  <a:gd name="T24" fmla="*/ 616 w 622"/>
                  <a:gd name="T25" fmla="*/ 500 h 833"/>
                  <a:gd name="T26" fmla="*/ 620 w 622"/>
                  <a:gd name="T27" fmla="*/ 532 h 833"/>
                  <a:gd name="T28" fmla="*/ 622 w 622"/>
                  <a:gd name="T29" fmla="*/ 568 h 833"/>
                  <a:gd name="T30" fmla="*/ 621 w 622"/>
                  <a:gd name="T31" fmla="*/ 586 h 833"/>
                  <a:gd name="T32" fmla="*/ 619 w 622"/>
                  <a:gd name="T33" fmla="*/ 620 h 833"/>
                  <a:gd name="T34" fmla="*/ 613 w 622"/>
                  <a:gd name="T35" fmla="*/ 653 h 833"/>
                  <a:gd name="T36" fmla="*/ 605 w 622"/>
                  <a:gd name="T37" fmla="*/ 682 h 833"/>
                  <a:gd name="T38" fmla="*/ 600 w 622"/>
                  <a:gd name="T39" fmla="*/ 695 h 833"/>
                  <a:gd name="T40" fmla="*/ 587 w 622"/>
                  <a:gd name="T41" fmla="*/ 720 h 833"/>
                  <a:gd name="T42" fmla="*/ 573 w 622"/>
                  <a:gd name="T43" fmla="*/ 742 h 833"/>
                  <a:gd name="T44" fmla="*/ 555 w 622"/>
                  <a:gd name="T45" fmla="*/ 761 h 833"/>
                  <a:gd name="T46" fmla="*/ 536 w 622"/>
                  <a:gd name="T47" fmla="*/ 779 h 833"/>
                  <a:gd name="T48" fmla="*/ 515 w 622"/>
                  <a:gd name="T49" fmla="*/ 792 h 833"/>
                  <a:gd name="T50" fmla="*/ 470 w 622"/>
                  <a:gd name="T51" fmla="*/ 813 h 833"/>
                  <a:gd name="T52" fmla="*/ 447 w 622"/>
                  <a:gd name="T53" fmla="*/ 820 h 833"/>
                  <a:gd name="T54" fmla="*/ 392 w 622"/>
                  <a:gd name="T55" fmla="*/ 830 h 833"/>
                  <a:gd name="T56" fmla="*/ 338 w 622"/>
                  <a:gd name="T57" fmla="*/ 833 h 833"/>
                  <a:gd name="T58" fmla="*/ 0 w 622"/>
                  <a:gd name="T59" fmla="*/ 0 h 833"/>
                  <a:gd name="T60" fmla="*/ 558 w 622"/>
                  <a:gd name="T61" fmla="*/ 187 h 833"/>
                  <a:gd name="T62" fmla="*/ 187 w 622"/>
                  <a:gd name="T63" fmla="*/ 302 h 833"/>
                  <a:gd name="T64" fmla="*/ 338 w 622"/>
                  <a:gd name="T65" fmla="*/ 661 h 833"/>
                  <a:gd name="T66" fmla="*/ 349 w 622"/>
                  <a:gd name="T67" fmla="*/ 660 h 833"/>
                  <a:gd name="T68" fmla="*/ 368 w 622"/>
                  <a:gd name="T69" fmla="*/ 658 h 833"/>
                  <a:gd name="T70" fmla="*/ 384 w 622"/>
                  <a:gd name="T71" fmla="*/ 652 h 833"/>
                  <a:gd name="T72" fmla="*/ 397 w 622"/>
                  <a:gd name="T73" fmla="*/ 644 h 833"/>
                  <a:gd name="T74" fmla="*/ 408 w 622"/>
                  <a:gd name="T75" fmla="*/ 634 h 833"/>
                  <a:gd name="T76" fmla="*/ 416 w 622"/>
                  <a:gd name="T77" fmla="*/ 620 h 833"/>
                  <a:gd name="T78" fmla="*/ 422 w 622"/>
                  <a:gd name="T79" fmla="*/ 604 h 833"/>
                  <a:gd name="T80" fmla="*/ 424 w 622"/>
                  <a:gd name="T81" fmla="*/ 586 h 833"/>
                  <a:gd name="T82" fmla="*/ 425 w 622"/>
                  <a:gd name="T83" fmla="*/ 575 h 833"/>
                  <a:gd name="T84" fmla="*/ 423 w 622"/>
                  <a:gd name="T85" fmla="*/ 556 h 833"/>
                  <a:gd name="T86" fmla="*/ 419 w 622"/>
                  <a:gd name="T87" fmla="*/ 539 h 833"/>
                  <a:gd name="T88" fmla="*/ 413 w 622"/>
                  <a:gd name="T89" fmla="*/ 524 h 833"/>
                  <a:gd name="T90" fmla="*/ 403 w 622"/>
                  <a:gd name="T91" fmla="*/ 512 h 833"/>
                  <a:gd name="T92" fmla="*/ 391 w 622"/>
                  <a:gd name="T93" fmla="*/ 503 h 833"/>
                  <a:gd name="T94" fmla="*/ 376 w 622"/>
                  <a:gd name="T95" fmla="*/ 497 h 833"/>
                  <a:gd name="T96" fmla="*/ 358 w 622"/>
                  <a:gd name="T97" fmla="*/ 493 h 833"/>
                  <a:gd name="T98" fmla="*/ 338 w 622"/>
                  <a:gd name="T99" fmla="*/ 491 h 833"/>
                  <a:gd name="T100" fmla="*/ 187 w 622"/>
                  <a:gd name="T101" fmla="*/ 661 h 8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622" h="833">
                    <a:moveTo>
                      <a:pt x="187" y="302"/>
                    </a:moveTo>
                    <a:lnTo>
                      <a:pt x="339" y="302"/>
                    </a:lnTo>
                    <a:lnTo>
                      <a:pt x="339" y="302"/>
                    </a:lnTo>
                    <a:lnTo>
                      <a:pt x="366" y="303"/>
                    </a:lnTo>
                    <a:lnTo>
                      <a:pt x="393" y="305"/>
                    </a:lnTo>
                    <a:lnTo>
                      <a:pt x="419" y="309"/>
                    </a:lnTo>
                    <a:lnTo>
                      <a:pt x="447" y="315"/>
                    </a:lnTo>
                    <a:lnTo>
                      <a:pt x="447" y="315"/>
                    </a:lnTo>
                    <a:lnTo>
                      <a:pt x="471" y="323"/>
                    </a:lnTo>
                    <a:lnTo>
                      <a:pt x="493" y="332"/>
                    </a:lnTo>
                    <a:lnTo>
                      <a:pt x="515" y="345"/>
                    </a:lnTo>
                    <a:lnTo>
                      <a:pt x="536" y="358"/>
                    </a:lnTo>
                    <a:lnTo>
                      <a:pt x="536" y="358"/>
                    </a:lnTo>
                    <a:lnTo>
                      <a:pt x="546" y="366"/>
                    </a:lnTo>
                    <a:lnTo>
                      <a:pt x="555" y="374"/>
                    </a:lnTo>
                    <a:lnTo>
                      <a:pt x="564" y="383"/>
                    </a:lnTo>
                    <a:lnTo>
                      <a:pt x="573" y="393"/>
                    </a:lnTo>
                    <a:lnTo>
                      <a:pt x="580" y="404"/>
                    </a:lnTo>
                    <a:lnTo>
                      <a:pt x="587" y="415"/>
                    </a:lnTo>
                    <a:lnTo>
                      <a:pt x="594" y="428"/>
                    </a:lnTo>
                    <a:lnTo>
                      <a:pt x="600" y="440"/>
                    </a:lnTo>
                    <a:lnTo>
                      <a:pt x="600" y="440"/>
                    </a:lnTo>
                    <a:lnTo>
                      <a:pt x="605" y="454"/>
                    </a:lnTo>
                    <a:lnTo>
                      <a:pt x="609" y="468"/>
                    </a:lnTo>
                    <a:lnTo>
                      <a:pt x="613" y="484"/>
                    </a:lnTo>
                    <a:lnTo>
                      <a:pt x="616" y="500"/>
                    </a:lnTo>
                    <a:lnTo>
                      <a:pt x="619" y="516"/>
                    </a:lnTo>
                    <a:lnTo>
                      <a:pt x="620" y="532"/>
                    </a:lnTo>
                    <a:lnTo>
                      <a:pt x="621" y="550"/>
                    </a:lnTo>
                    <a:lnTo>
                      <a:pt x="622" y="568"/>
                    </a:lnTo>
                    <a:lnTo>
                      <a:pt x="622" y="568"/>
                    </a:lnTo>
                    <a:lnTo>
                      <a:pt x="621" y="586"/>
                    </a:lnTo>
                    <a:lnTo>
                      <a:pt x="620" y="603"/>
                    </a:lnTo>
                    <a:lnTo>
                      <a:pt x="619" y="620"/>
                    </a:lnTo>
                    <a:lnTo>
                      <a:pt x="616" y="637"/>
                    </a:lnTo>
                    <a:lnTo>
                      <a:pt x="613" y="653"/>
                    </a:lnTo>
                    <a:lnTo>
                      <a:pt x="609" y="668"/>
                    </a:lnTo>
                    <a:lnTo>
                      <a:pt x="605" y="682"/>
                    </a:lnTo>
                    <a:lnTo>
                      <a:pt x="600" y="695"/>
                    </a:lnTo>
                    <a:lnTo>
                      <a:pt x="600" y="695"/>
                    </a:lnTo>
                    <a:lnTo>
                      <a:pt x="594" y="708"/>
                    </a:lnTo>
                    <a:lnTo>
                      <a:pt x="587" y="720"/>
                    </a:lnTo>
                    <a:lnTo>
                      <a:pt x="580" y="732"/>
                    </a:lnTo>
                    <a:lnTo>
                      <a:pt x="573" y="742"/>
                    </a:lnTo>
                    <a:lnTo>
                      <a:pt x="564" y="752"/>
                    </a:lnTo>
                    <a:lnTo>
                      <a:pt x="555" y="761"/>
                    </a:lnTo>
                    <a:lnTo>
                      <a:pt x="546" y="771"/>
                    </a:lnTo>
                    <a:lnTo>
                      <a:pt x="536" y="779"/>
                    </a:lnTo>
                    <a:lnTo>
                      <a:pt x="536" y="779"/>
                    </a:lnTo>
                    <a:lnTo>
                      <a:pt x="515" y="792"/>
                    </a:lnTo>
                    <a:lnTo>
                      <a:pt x="493" y="804"/>
                    </a:lnTo>
                    <a:lnTo>
                      <a:pt x="470" y="813"/>
                    </a:lnTo>
                    <a:lnTo>
                      <a:pt x="447" y="820"/>
                    </a:lnTo>
                    <a:lnTo>
                      <a:pt x="447" y="820"/>
                    </a:lnTo>
                    <a:lnTo>
                      <a:pt x="419" y="826"/>
                    </a:lnTo>
                    <a:lnTo>
                      <a:pt x="392" y="830"/>
                    </a:lnTo>
                    <a:lnTo>
                      <a:pt x="365" y="833"/>
                    </a:lnTo>
                    <a:lnTo>
                      <a:pt x="338" y="833"/>
                    </a:lnTo>
                    <a:lnTo>
                      <a:pt x="0" y="833"/>
                    </a:lnTo>
                    <a:lnTo>
                      <a:pt x="0" y="0"/>
                    </a:lnTo>
                    <a:lnTo>
                      <a:pt x="558" y="0"/>
                    </a:lnTo>
                    <a:lnTo>
                      <a:pt x="558" y="187"/>
                    </a:lnTo>
                    <a:lnTo>
                      <a:pt x="187" y="187"/>
                    </a:lnTo>
                    <a:lnTo>
                      <a:pt x="187" y="302"/>
                    </a:lnTo>
                    <a:close/>
                    <a:moveTo>
                      <a:pt x="187" y="661"/>
                    </a:moveTo>
                    <a:lnTo>
                      <a:pt x="338" y="661"/>
                    </a:lnTo>
                    <a:lnTo>
                      <a:pt x="338" y="661"/>
                    </a:lnTo>
                    <a:lnTo>
                      <a:pt x="349" y="660"/>
                    </a:lnTo>
                    <a:lnTo>
                      <a:pt x="358" y="659"/>
                    </a:lnTo>
                    <a:lnTo>
                      <a:pt x="368" y="658"/>
                    </a:lnTo>
                    <a:lnTo>
                      <a:pt x="376" y="655"/>
                    </a:lnTo>
                    <a:lnTo>
                      <a:pt x="384" y="652"/>
                    </a:lnTo>
                    <a:lnTo>
                      <a:pt x="391" y="649"/>
                    </a:lnTo>
                    <a:lnTo>
                      <a:pt x="397" y="644"/>
                    </a:lnTo>
                    <a:lnTo>
                      <a:pt x="403" y="640"/>
                    </a:lnTo>
                    <a:lnTo>
                      <a:pt x="408" y="634"/>
                    </a:lnTo>
                    <a:lnTo>
                      <a:pt x="413" y="628"/>
                    </a:lnTo>
                    <a:lnTo>
                      <a:pt x="416" y="620"/>
                    </a:lnTo>
                    <a:lnTo>
                      <a:pt x="419" y="612"/>
                    </a:lnTo>
                    <a:lnTo>
                      <a:pt x="422" y="604"/>
                    </a:lnTo>
                    <a:lnTo>
                      <a:pt x="423" y="595"/>
                    </a:lnTo>
                    <a:lnTo>
                      <a:pt x="424" y="586"/>
                    </a:lnTo>
                    <a:lnTo>
                      <a:pt x="425" y="575"/>
                    </a:lnTo>
                    <a:lnTo>
                      <a:pt x="425" y="575"/>
                    </a:lnTo>
                    <a:lnTo>
                      <a:pt x="424" y="565"/>
                    </a:lnTo>
                    <a:lnTo>
                      <a:pt x="423" y="556"/>
                    </a:lnTo>
                    <a:lnTo>
                      <a:pt x="422" y="547"/>
                    </a:lnTo>
                    <a:lnTo>
                      <a:pt x="419" y="539"/>
                    </a:lnTo>
                    <a:lnTo>
                      <a:pt x="416" y="531"/>
                    </a:lnTo>
                    <a:lnTo>
                      <a:pt x="413" y="524"/>
                    </a:lnTo>
                    <a:lnTo>
                      <a:pt x="408" y="518"/>
                    </a:lnTo>
                    <a:lnTo>
                      <a:pt x="403" y="512"/>
                    </a:lnTo>
                    <a:lnTo>
                      <a:pt x="397" y="507"/>
                    </a:lnTo>
                    <a:lnTo>
                      <a:pt x="391" y="503"/>
                    </a:lnTo>
                    <a:lnTo>
                      <a:pt x="384" y="500"/>
                    </a:lnTo>
                    <a:lnTo>
                      <a:pt x="376" y="497"/>
                    </a:lnTo>
                    <a:lnTo>
                      <a:pt x="368" y="494"/>
                    </a:lnTo>
                    <a:lnTo>
                      <a:pt x="358" y="493"/>
                    </a:lnTo>
                    <a:lnTo>
                      <a:pt x="349" y="492"/>
                    </a:lnTo>
                    <a:lnTo>
                      <a:pt x="338" y="491"/>
                    </a:lnTo>
                    <a:lnTo>
                      <a:pt x="187" y="491"/>
                    </a:lnTo>
                    <a:lnTo>
                      <a:pt x="187" y="66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4889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i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7536F8BB-5240-BAC8-FB71-A956871F4CD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81892" y="1269383"/>
            <a:ext cx="5390400" cy="2410388"/>
          </a:xfrm>
        </p:spPr>
        <p:txBody>
          <a:bodyPr/>
          <a:lstStyle>
            <a:lvl1pPr marL="0" indent="0">
              <a:buNone/>
              <a:defRPr sz="1400">
                <a:solidFill>
                  <a:srgbClr val="FF0000"/>
                </a:solidFill>
              </a:defRPr>
            </a:lvl1pPr>
            <a:lvl2pPr marL="200479" indent="0">
              <a:buNone/>
              <a:defRPr sz="1012">
                <a:solidFill>
                  <a:schemeClr val="bg1"/>
                </a:solidFill>
              </a:defRPr>
            </a:lvl2pPr>
            <a:lvl3pPr marL="400959" indent="0">
              <a:buNone/>
              <a:defRPr sz="900">
                <a:solidFill>
                  <a:schemeClr val="bg1"/>
                </a:solidFill>
              </a:defRPr>
            </a:lvl3pPr>
            <a:lvl4pPr marL="601440" indent="0">
              <a:buNone/>
              <a:defRPr sz="788">
                <a:solidFill>
                  <a:schemeClr val="bg1"/>
                </a:solidFill>
              </a:defRPr>
            </a:lvl4pPr>
            <a:lvl5pPr marL="801919" indent="0">
              <a:buNone/>
              <a:defRPr sz="676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DD907917-609A-84BB-CBBA-ABC9F39A534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1892" y="516358"/>
            <a:ext cx="5390400" cy="640800"/>
          </a:xfrm>
        </p:spPr>
        <p:txBody>
          <a:bodyPr anchor="t" anchorCtr="0"/>
          <a:lstStyle>
            <a:lvl1pPr>
              <a:buNone/>
              <a:defRPr b="1">
                <a:solidFill>
                  <a:srgbClr val="FF0000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About company</a:t>
            </a:r>
            <a:endParaRPr lang="ru-RU" dirty="0"/>
          </a:p>
        </p:txBody>
      </p:sp>
      <p:pic>
        <p:nvPicPr>
          <p:cNvPr id="8" name="Рисунок 10">
            <a:extLst>
              <a:ext uri="{FF2B5EF4-FFF2-40B4-BE49-F238E27FC236}">
                <a16:creationId xmlns:a16="http://schemas.microsoft.com/office/drawing/2014/main" id="{9F322841-AE1E-A016-A1D4-8E2C39E388C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8254314" y="3213328"/>
            <a:ext cx="3950353" cy="3644683"/>
          </a:xfrm>
          <a:prstGeom prst="rect">
            <a:avLst/>
          </a:prstGeom>
        </p:spPr>
      </p:pic>
      <p:grpSp>
        <p:nvGrpSpPr>
          <p:cNvPr id="36" name="Group 35">
            <a:extLst>
              <a:ext uri="{FF2B5EF4-FFF2-40B4-BE49-F238E27FC236}">
                <a16:creationId xmlns:a16="http://schemas.microsoft.com/office/drawing/2014/main" id="{6046279C-2A15-479E-B4E0-B3054664A1B4}"/>
              </a:ext>
            </a:extLst>
          </p:cNvPr>
          <p:cNvGrpSpPr/>
          <p:nvPr userDrawn="1"/>
        </p:nvGrpSpPr>
        <p:grpSpPr>
          <a:xfrm>
            <a:off x="10346853" y="658368"/>
            <a:ext cx="1319534" cy="970407"/>
            <a:chOff x="10332720" y="658368"/>
            <a:chExt cx="1319534" cy="970407"/>
          </a:xfrm>
        </p:grpSpPr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3AB775D4-6A89-4203-999C-AC4359E3A6E1}"/>
                </a:ext>
              </a:extLst>
            </p:cNvPr>
            <p:cNvGrpSpPr/>
            <p:nvPr userDrawn="1"/>
          </p:nvGrpSpPr>
          <p:grpSpPr>
            <a:xfrm>
              <a:off x="10344154" y="1376363"/>
              <a:ext cx="1308100" cy="252412"/>
              <a:chOff x="10344154" y="1376363"/>
              <a:chExt cx="1308100" cy="252412"/>
            </a:xfrm>
          </p:grpSpPr>
          <p:sp>
            <p:nvSpPr>
              <p:cNvPr id="73" name="Freeform 5">
                <a:extLst>
                  <a:ext uri="{FF2B5EF4-FFF2-40B4-BE49-F238E27FC236}">
                    <a16:creationId xmlns:a16="http://schemas.microsoft.com/office/drawing/2014/main" id="{D0B7E2F2-9F2C-4D3C-B232-878DF8965B1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344154" y="1379538"/>
                <a:ext cx="85725" cy="90487"/>
              </a:xfrm>
              <a:custGeom>
                <a:avLst/>
                <a:gdLst>
                  <a:gd name="T0" fmla="*/ 109 w 109"/>
                  <a:gd name="T1" fmla="*/ 0 h 115"/>
                  <a:gd name="T2" fmla="*/ 109 w 109"/>
                  <a:gd name="T3" fmla="*/ 115 h 115"/>
                  <a:gd name="T4" fmla="*/ 77 w 109"/>
                  <a:gd name="T5" fmla="*/ 115 h 115"/>
                  <a:gd name="T6" fmla="*/ 77 w 109"/>
                  <a:gd name="T7" fmla="*/ 69 h 115"/>
                  <a:gd name="T8" fmla="*/ 32 w 109"/>
                  <a:gd name="T9" fmla="*/ 69 h 115"/>
                  <a:gd name="T10" fmla="*/ 32 w 109"/>
                  <a:gd name="T11" fmla="*/ 115 h 115"/>
                  <a:gd name="T12" fmla="*/ 0 w 109"/>
                  <a:gd name="T13" fmla="*/ 115 h 115"/>
                  <a:gd name="T14" fmla="*/ 0 w 109"/>
                  <a:gd name="T15" fmla="*/ 0 h 115"/>
                  <a:gd name="T16" fmla="*/ 32 w 109"/>
                  <a:gd name="T17" fmla="*/ 0 h 115"/>
                  <a:gd name="T18" fmla="*/ 32 w 109"/>
                  <a:gd name="T19" fmla="*/ 43 h 115"/>
                  <a:gd name="T20" fmla="*/ 77 w 109"/>
                  <a:gd name="T21" fmla="*/ 43 h 115"/>
                  <a:gd name="T22" fmla="*/ 77 w 109"/>
                  <a:gd name="T23" fmla="*/ 0 h 115"/>
                  <a:gd name="T24" fmla="*/ 109 w 109"/>
                  <a:gd name="T25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9" h="115">
                    <a:moveTo>
                      <a:pt x="109" y="0"/>
                    </a:moveTo>
                    <a:lnTo>
                      <a:pt x="109" y="115"/>
                    </a:lnTo>
                    <a:lnTo>
                      <a:pt x="77" y="115"/>
                    </a:lnTo>
                    <a:lnTo>
                      <a:pt x="77" y="69"/>
                    </a:lnTo>
                    <a:lnTo>
                      <a:pt x="32" y="69"/>
                    </a:lnTo>
                    <a:lnTo>
                      <a:pt x="3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2" y="0"/>
                    </a:lnTo>
                    <a:lnTo>
                      <a:pt x="32" y="43"/>
                    </a:lnTo>
                    <a:lnTo>
                      <a:pt x="77" y="43"/>
                    </a:lnTo>
                    <a:lnTo>
                      <a:pt x="77" y="0"/>
                    </a:lnTo>
                    <a:lnTo>
                      <a:pt x="109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6">
                <a:extLst>
                  <a:ext uri="{FF2B5EF4-FFF2-40B4-BE49-F238E27FC236}">
                    <a16:creationId xmlns:a16="http://schemas.microsoft.com/office/drawing/2014/main" id="{22823F41-9B4C-4667-9395-0D1218871573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447341" y="1377950"/>
                <a:ext cx="101600" cy="93662"/>
              </a:xfrm>
              <a:custGeom>
                <a:avLst/>
                <a:gdLst>
                  <a:gd name="T0" fmla="*/ 31 w 128"/>
                  <a:gd name="T1" fmla="*/ 112 h 119"/>
                  <a:gd name="T2" fmla="*/ 21 w 128"/>
                  <a:gd name="T3" fmla="*/ 105 h 119"/>
                  <a:gd name="T4" fmla="*/ 6 w 128"/>
                  <a:gd name="T5" fmla="*/ 87 h 119"/>
                  <a:gd name="T6" fmla="*/ 0 w 128"/>
                  <a:gd name="T7" fmla="*/ 65 h 119"/>
                  <a:gd name="T8" fmla="*/ 2 w 128"/>
                  <a:gd name="T9" fmla="*/ 43 h 119"/>
                  <a:gd name="T10" fmla="*/ 6 w 128"/>
                  <a:gd name="T11" fmla="*/ 32 h 119"/>
                  <a:gd name="T12" fmla="*/ 11 w 128"/>
                  <a:gd name="T13" fmla="*/ 24 h 119"/>
                  <a:gd name="T14" fmla="*/ 23 w 128"/>
                  <a:gd name="T15" fmla="*/ 12 h 119"/>
                  <a:gd name="T16" fmla="*/ 31 w 128"/>
                  <a:gd name="T17" fmla="*/ 7 h 119"/>
                  <a:gd name="T18" fmla="*/ 46 w 128"/>
                  <a:gd name="T19" fmla="*/ 2 h 119"/>
                  <a:gd name="T20" fmla="*/ 64 w 128"/>
                  <a:gd name="T21" fmla="*/ 0 h 119"/>
                  <a:gd name="T22" fmla="*/ 81 w 128"/>
                  <a:gd name="T23" fmla="*/ 2 h 119"/>
                  <a:gd name="T24" fmla="*/ 97 w 128"/>
                  <a:gd name="T25" fmla="*/ 7 h 119"/>
                  <a:gd name="T26" fmla="*/ 102 w 128"/>
                  <a:gd name="T27" fmla="*/ 10 h 119"/>
                  <a:gd name="T28" fmla="*/ 115 w 128"/>
                  <a:gd name="T29" fmla="*/ 22 h 119"/>
                  <a:gd name="T30" fmla="*/ 125 w 128"/>
                  <a:gd name="T31" fmla="*/ 42 h 119"/>
                  <a:gd name="T32" fmla="*/ 128 w 128"/>
                  <a:gd name="T33" fmla="*/ 64 h 119"/>
                  <a:gd name="T34" fmla="*/ 124 w 128"/>
                  <a:gd name="T35" fmla="*/ 81 h 119"/>
                  <a:gd name="T36" fmla="*/ 121 w 128"/>
                  <a:gd name="T37" fmla="*/ 86 h 119"/>
                  <a:gd name="T38" fmla="*/ 111 w 128"/>
                  <a:gd name="T39" fmla="*/ 100 h 119"/>
                  <a:gd name="T40" fmla="*/ 97 w 128"/>
                  <a:gd name="T41" fmla="*/ 112 h 119"/>
                  <a:gd name="T42" fmla="*/ 89 w 128"/>
                  <a:gd name="T43" fmla="*/ 115 h 119"/>
                  <a:gd name="T44" fmla="*/ 72 w 128"/>
                  <a:gd name="T45" fmla="*/ 119 h 119"/>
                  <a:gd name="T46" fmla="*/ 55 w 128"/>
                  <a:gd name="T47" fmla="*/ 119 h 119"/>
                  <a:gd name="T48" fmla="*/ 38 w 128"/>
                  <a:gd name="T49" fmla="*/ 115 h 119"/>
                  <a:gd name="T50" fmla="*/ 31 w 128"/>
                  <a:gd name="T51" fmla="*/ 112 h 119"/>
                  <a:gd name="T52" fmla="*/ 80 w 128"/>
                  <a:gd name="T53" fmla="*/ 87 h 119"/>
                  <a:gd name="T54" fmla="*/ 91 w 128"/>
                  <a:gd name="T55" fmla="*/ 76 h 119"/>
                  <a:gd name="T56" fmla="*/ 94 w 128"/>
                  <a:gd name="T57" fmla="*/ 68 h 119"/>
                  <a:gd name="T58" fmla="*/ 94 w 128"/>
                  <a:gd name="T59" fmla="*/ 50 h 119"/>
                  <a:gd name="T60" fmla="*/ 91 w 128"/>
                  <a:gd name="T61" fmla="*/ 42 h 119"/>
                  <a:gd name="T62" fmla="*/ 80 w 128"/>
                  <a:gd name="T63" fmla="*/ 30 h 119"/>
                  <a:gd name="T64" fmla="*/ 72 w 128"/>
                  <a:gd name="T65" fmla="*/ 27 h 119"/>
                  <a:gd name="T66" fmla="*/ 55 w 128"/>
                  <a:gd name="T67" fmla="*/ 27 h 119"/>
                  <a:gd name="T68" fmla="*/ 47 w 128"/>
                  <a:gd name="T69" fmla="*/ 30 h 119"/>
                  <a:gd name="T70" fmla="*/ 36 w 128"/>
                  <a:gd name="T71" fmla="*/ 42 h 119"/>
                  <a:gd name="T72" fmla="*/ 33 w 128"/>
                  <a:gd name="T73" fmla="*/ 50 h 119"/>
                  <a:gd name="T74" fmla="*/ 33 w 128"/>
                  <a:gd name="T75" fmla="*/ 68 h 119"/>
                  <a:gd name="T76" fmla="*/ 36 w 128"/>
                  <a:gd name="T77" fmla="*/ 76 h 119"/>
                  <a:gd name="T78" fmla="*/ 47 w 128"/>
                  <a:gd name="T79" fmla="*/ 87 h 119"/>
                  <a:gd name="T80" fmla="*/ 55 w 128"/>
                  <a:gd name="T81" fmla="*/ 90 h 119"/>
                  <a:gd name="T82" fmla="*/ 72 w 128"/>
                  <a:gd name="T83" fmla="*/ 90 h 119"/>
                  <a:gd name="T84" fmla="*/ 80 w 128"/>
                  <a:gd name="T85" fmla="*/ 87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28" h="119">
                    <a:moveTo>
                      <a:pt x="31" y="112"/>
                    </a:moveTo>
                    <a:lnTo>
                      <a:pt x="31" y="112"/>
                    </a:lnTo>
                    <a:lnTo>
                      <a:pt x="25" y="109"/>
                    </a:lnTo>
                    <a:lnTo>
                      <a:pt x="21" y="105"/>
                    </a:lnTo>
                    <a:lnTo>
                      <a:pt x="13" y="96"/>
                    </a:lnTo>
                    <a:lnTo>
                      <a:pt x="6" y="87"/>
                    </a:lnTo>
                    <a:lnTo>
                      <a:pt x="2" y="76"/>
                    </a:lnTo>
                    <a:lnTo>
                      <a:pt x="0" y="65"/>
                    </a:lnTo>
                    <a:lnTo>
                      <a:pt x="0" y="54"/>
                    </a:lnTo>
                    <a:lnTo>
                      <a:pt x="2" y="43"/>
                    </a:lnTo>
                    <a:lnTo>
                      <a:pt x="4" y="37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11" y="24"/>
                    </a:lnTo>
                    <a:lnTo>
                      <a:pt x="16" y="18"/>
                    </a:lnTo>
                    <a:lnTo>
                      <a:pt x="23" y="12"/>
                    </a:lnTo>
                    <a:lnTo>
                      <a:pt x="31" y="7"/>
                    </a:lnTo>
                    <a:lnTo>
                      <a:pt x="31" y="7"/>
                    </a:lnTo>
                    <a:lnTo>
                      <a:pt x="38" y="4"/>
                    </a:lnTo>
                    <a:lnTo>
                      <a:pt x="46" y="2"/>
                    </a:lnTo>
                    <a:lnTo>
                      <a:pt x="55" y="0"/>
                    </a:lnTo>
                    <a:lnTo>
                      <a:pt x="64" y="0"/>
                    </a:lnTo>
                    <a:lnTo>
                      <a:pt x="72" y="0"/>
                    </a:lnTo>
                    <a:lnTo>
                      <a:pt x="81" y="2"/>
                    </a:lnTo>
                    <a:lnTo>
                      <a:pt x="89" y="4"/>
                    </a:lnTo>
                    <a:lnTo>
                      <a:pt x="97" y="7"/>
                    </a:lnTo>
                    <a:lnTo>
                      <a:pt x="97" y="7"/>
                    </a:lnTo>
                    <a:lnTo>
                      <a:pt x="102" y="10"/>
                    </a:lnTo>
                    <a:lnTo>
                      <a:pt x="106" y="14"/>
                    </a:lnTo>
                    <a:lnTo>
                      <a:pt x="115" y="22"/>
                    </a:lnTo>
                    <a:lnTo>
                      <a:pt x="121" y="31"/>
                    </a:lnTo>
                    <a:lnTo>
                      <a:pt x="125" y="42"/>
                    </a:lnTo>
                    <a:lnTo>
                      <a:pt x="127" y="53"/>
                    </a:lnTo>
                    <a:lnTo>
                      <a:pt x="128" y="64"/>
                    </a:lnTo>
                    <a:lnTo>
                      <a:pt x="125" y="75"/>
                    </a:lnTo>
                    <a:lnTo>
                      <a:pt x="124" y="81"/>
                    </a:lnTo>
                    <a:lnTo>
                      <a:pt x="121" y="86"/>
                    </a:lnTo>
                    <a:lnTo>
                      <a:pt x="121" y="86"/>
                    </a:lnTo>
                    <a:lnTo>
                      <a:pt x="116" y="94"/>
                    </a:lnTo>
                    <a:lnTo>
                      <a:pt x="111" y="100"/>
                    </a:lnTo>
                    <a:lnTo>
                      <a:pt x="104" y="107"/>
                    </a:lnTo>
                    <a:lnTo>
                      <a:pt x="97" y="112"/>
                    </a:lnTo>
                    <a:lnTo>
                      <a:pt x="97" y="112"/>
                    </a:lnTo>
                    <a:lnTo>
                      <a:pt x="89" y="115"/>
                    </a:lnTo>
                    <a:lnTo>
                      <a:pt x="81" y="117"/>
                    </a:lnTo>
                    <a:lnTo>
                      <a:pt x="72" y="119"/>
                    </a:lnTo>
                    <a:lnTo>
                      <a:pt x="64" y="119"/>
                    </a:lnTo>
                    <a:lnTo>
                      <a:pt x="55" y="119"/>
                    </a:lnTo>
                    <a:lnTo>
                      <a:pt x="46" y="117"/>
                    </a:lnTo>
                    <a:lnTo>
                      <a:pt x="38" y="115"/>
                    </a:lnTo>
                    <a:lnTo>
                      <a:pt x="31" y="112"/>
                    </a:lnTo>
                    <a:lnTo>
                      <a:pt x="31" y="112"/>
                    </a:lnTo>
                    <a:close/>
                    <a:moveTo>
                      <a:pt x="80" y="87"/>
                    </a:moveTo>
                    <a:lnTo>
                      <a:pt x="80" y="87"/>
                    </a:lnTo>
                    <a:lnTo>
                      <a:pt x="86" y="82"/>
                    </a:lnTo>
                    <a:lnTo>
                      <a:pt x="91" y="76"/>
                    </a:lnTo>
                    <a:lnTo>
                      <a:pt x="91" y="76"/>
                    </a:lnTo>
                    <a:lnTo>
                      <a:pt x="94" y="68"/>
                    </a:lnTo>
                    <a:lnTo>
                      <a:pt x="95" y="59"/>
                    </a:lnTo>
                    <a:lnTo>
                      <a:pt x="94" y="50"/>
                    </a:lnTo>
                    <a:lnTo>
                      <a:pt x="91" y="42"/>
                    </a:lnTo>
                    <a:lnTo>
                      <a:pt x="91" y="42"/>
                    </a:lnTo>
                    <a:lnTo>
                      <a:pt x="86" y="35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72" y="27"/>
                    </a:lnTo>
                    <a:lnTo>
                      <a:pt x="64" y="26"/>
                    </a:lnTo>
                    <a:lnTo>
                      <a:pt x="55" y="27"/>
                    </a:lnTo>
                    <a:lnTo>
                      <a:pt x="47" y="30"/>
                    </a:lnTo>
                    <a:lnTo>
                      <a:pt x="47" y="30"/>
                    </a:lnTo>
                    <a:lnTo>
                      <a:pt x="41" y="35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3" y="50"/>
                    </a:lnTo>
                    <a:lnTo>
                      <a:pt x="32" y="59"/>
                    </a:lnTo>
                    <a:lnTo>
                      <a:pt x="33" y="68"/>
                    </a:lnTo>
                    <a:lnTo>
                      <a:pt x="36" y="76"/>
                    </a:lnTo>
                    <a:lnTo>
                      <a:pt x="36" y="76"/>
                    </a:lnTo>
                    <a:lnTo>
                      <a:pt x="41" y="82"/>
                    </a:lnTo>
                    <a:lnTo>
                      <a:pt x="47" y="87"/>
                    </a:lnTo>
                    <a:lnTo>
                      <a:pt x="47" y="87"/>
                    </a:lnTo>
                    <a:lnTo>
                      <a:pt x="55" y="90"/>
                    </a:lnTo>
                    <a:lnTo>
                      <a:pt x="64" y="91"/>
                    </a:lnTo>
                    <a:lnTo>
                      <a:pt x="72" y="90"/>
                    </a:lnTo>
                    <a:lnTo>
                      <a:pt x="80" y="87"/>
                    </a:lnTo>
                    <a:lnTo>
                      <a:pt x="80" y="8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7">
                <a:extLst>
                  <a:ext uri="{FF2B5EF4-FFF2-40B4-BE49-F238E27FC236}">
                    <a16:creationId xmlns:a16="http://schemas.microsoft.com/office/drawing/2014/main" id="{7A6F0416-226B-4FED-9A84-77BCEC0337D9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564816" y="1379538"/>
                <a:ext cx="84138" cy="90487"/>
              </a:xfrm>
              <a:custGeom>
                <a:avLst/>
                <a:gdLst>
                  <a:gd name="T0" fmla="*/ 99 w 105"/>
                  <a:gd name="T1" fmla="*/ 64 h 115"/>
                  <a:gd name="T2" fmla="*/ 103 w 105"/>
                  <a:gd name="T3" fmla="*/ 72 h 115"/>
                  <a:gd name="T4" fmla="*/ 105 w 105"/>
                  <a:gd name="T5" fmla="*/ 81 h 115"/>
                  <a:gd name="T6" fmla="*/ 104 w 105"/>
                  <a:gd name="T7" fmla="*/ 88 h 115"/>
                  <a:gd name="T8" fmla="*/ 98 w 105"/>
                  <a:gd name="T9" fmla="*/ 101 h 115"/>
                  <a:gd name="T10" fmla="*/ 93 w 105"/>
                  <a:gd name="T11" fmla="*/ 106 h 115"/>
                  <a:gd name="T12" fmla="*/ 77 w 105"/>
                  <a:gd name="T13" fmla="*/ 113 h 115"/>
                  <a:gd name="T14" fmla="*/ 59 w 105"/>
                  <a:gd name="T15" fmla="*/ 115 h 115"/>
                  <a:gd name="T16" fmla="*/ 0 w 105"/>
                  <a:gd name="T17" fmla="*/ 0 h 115"/>
                  <a:gd name="T18" fmla="*/ 56 w 105"/>
                  <a:gd name="T19" fmla="*/ 0 h 115"/>
                  <a:gd name="T20" fmla="*/ 73 w 105"/>
                  <a:gd name="T21" fmla="*/ 2 h 115"/>
                  <a:gd name="T22" fmla="*/ 88 w 105"/>
                  <a:gd name="T23" fmla="*/ 8 h 115"/>
                  <a:gd name="T24" fmla="*/ 93 w 105"/>
                  <a:gd name="T25" fmla="*/ 12 h 115"/>
                  <a:gd name="T26" fmla="*/ 99 w 105"/>
                  <a:gd name="T27" fmla="*/ 23 h 115"/>
                  <a:gd name="T28" fmla="*/ 99 w 105"/>
                  <a:gd name="T29" fmla="*/ 30 h 115"/>
                  <a:gd name="T30" fmla="*/ 95 w 105"/>
                  <a:gd name="T31" fmla="*/ 45 h 115"/>
                  <a:gd name="T32" fmla="*/ 90 w 105"/>
                  <a:gd name="T33" fmla="*/ 50 h 115"/>
                  <a:gd name="T34" fmla="*/ 84 w 105"/>
                  <a:gd name="T35" fmla="*/ 54 h 115"/>
                  <a:gd name="T36" fmla="*/ 92 w 105"/>
                  <a:gd name="T37" fmla="*/ 58 h 115"/>
                  <a:gd name="T38" fmla="*/ 99 w 105"/>
                  <a:gd name="T39" fmla="*/ 64 h 115"/>
                  <a:gd name="T40" fmla="*/ 32 w 105"/>
                  <a:gd name="T41" fmla="*/ 46 h 115"/>
                  <a:gd name="T42" fmla="*/ 53 w 105"/>
                  <a:gd name="T43" fmla="*/ 46 h 115"/>
                  <a:gd name="T44" fmla="*/ 63 w 105"/>
                  <a:gd name="T45" fmla="*/ 43 h 115"/>
                  <a:gd name="T46" fmla="*/ 67 w 105"/>
                  <a:gd name="T47" fmla="*/ 34 h 115"/>
                  <a:gd name="T48" fmla="*/ 66 w 105"/>
                  <a:gd name="T49" fmla="*/ 29 h 115"/>
                  <a:gd name="T50" fmla="*/ 59 w 105"/>
                  <a:gd name="T51" fmla="*/ 24 h 115"/>
                  <a:gd name="T52" fmla="*/ 32 w 105"/>
                  <a:gd name="T53" fmla="*/ 23 h 115"/>
                  <a:gd name="T54" fmla="*/ 72 w 105"/>
                  <a:gd name="T55" fmla="*/ 79 h 115"/>
                  <a:gd name="T56" fmla="*/ 71 w 105"/>
                  <a:gd name="T57" fmla="*/ 74 h 115"/>
                  <a:gd name="T58" fmla="*/ 64 w 105"/>
                  <a:gd name="T59" fmla="*/ 68 h 115"/>
                  <a:gd name="T60" fmla="*/ 32 w 105"/>
                  <a:gd name="T61" fmla="*/ 67 h 115"/>
                  <a:gd name="T62" fmla="*/ 58 w 105"/>
                  <a:gd name="T63" fmla="*/ 91 h 115"/>
                  <a:gd name="T64" fmla="*/ 64 w 105"/>
                  <a:gd name="T65" fmla="*/ 90 h 115"/>
                  <a:gd name="T66" fmla="*/ 71 w 105"/>
                  <a:gd name="T67" fmla="*/ 84 h 115"/>
                  <a:gd name="T68" fmla="*/ 72 w 105"/>
                  <a:gd name="T69" fmla="*/ 79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5" h="115">
                    <a:moveTo>
                      <a:pt x="99" y="64"/>
                    </a:moveTo>
                    <a:lnTo>
                      <a:pt x="99" y="64"/>
                    </a:lnTo>
                    <a:lnTo>
                      <a:pt x="102" y="68"/>
                    </a:lnTo>
                    <a:lnTo>
                      <a:pt x="103" y="72"/>
                    </a:lnTo>
                    <a:lnTo>
                      <a:pt x="104" y="77"/>
                    </a:lnTo>
                    <a:lnTo>
                      <a:pt x="105" y="81"/>
                    </a:lnTo>
                    <a:lnTo>
                      <a:pt x="105" y="81"/>
                    </a:lnTo>
                    <a:lnTo>
                      <a:pt x="104" y="88"/>
                    </a:lnTo>
                    <a:lnTo>
                      <a:pt x="102" y="95"/>
                    </a:lnTo>
                    <a:lnTo>
                      <a:pt x="98" y="101"/>
                    </a:lnTo>
                    <a:lnTo>
                      <a:pt x="93" y="106"/>
                    </a:lnTo>
                    <a:lnTo>
                      <a:pt x="93" y="106"/>
                    </a:lnTo>
                    <a:lnTo>
                      <a:pt x="85" y="110"/>
                    </a:lnTo>
                    <a:lnTo>
                      <a:pt x="77" y="113"/>
                    </a:lnTo>
                    <a:lnTo>
                      <a:pt x="68" y="115"/>
                    </a:lnTo>
                    <a:lnTo>
                      <a:pt x="59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5" y="0"/>
                    </a:lnTo>
                    <a:lnTo>
                      <a:pt x="73" y="2"/>
                    </a:lnTo>
                    <a:lnTo>
                      <a:pt x="81" y="4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93" y="12"/>
                    </a:lnTo>
                    <a:lnTo>
                      <a:pt x="97" y="17"/>
                    </a:lnTo>
                    <a:lnTo>
                      <a:pt x="99" y="23"/>
                    </a:lnTo>
                    <a:lnTo>
                      <a:pt x="99" y="30"/>
                    </a:lnTo>
                    <a:lnTo>
                      <a:pt x="99" y="30"/>
                    </a:lnTo>
                    <a:lnTo>
                      <a:pt x="98" y="37"/>
                    </a:lnTo>
                    <a:lnTo>
                      <a:pt x="95" y="45"/>
                    </a:lnTo>
                    <a:lnTo>
                      <a:pt x="95" y="45"/>
                    </a:lnTo>
                    <a:lnTo>
                      <a:pt x="90" y="50"/>
                    </a:lnTo>
                    <a:lnTo>
                      <a:pt x="84" y="54"/>
                    </a:lnTo>
                    <a:lnTo>
                      <a:pt x="84" y="54"/>
                    </a:lnTo>
                    <a:lnTo>
                      <a:pt x="88" y="56"/>
                    </a:lnTo>
                    <a:lnTo>
                      <a:pt x="92" y="58"/>
                    </a:lnTo>
                    <a:lnTo>
                      <a:pt x="96" y="61"/>
                    </a:lnTo>
                    <a:lnTo>
                      <a:pt x="99" y="64"/>
                    </a:lnTo>
                    <a:lnTo>
                      <a:pt x="99" y="64"/>
                    </a:lnTo>
                    <a:close/>
                    <a:moveTo>
                      <a:pt x="32" y="46"/>
                    </a:moveTo>
                    <a:lnTo>
                      <a:pt x="53" y="46"/>
                    </a:lnTo>
                    <a:lnTo>
                      <a:pt x="53" y="46"/>
                    </a:lnTo>
                    <a:lnTo>
                      <a:pt x="59" y="45"/>
                    </a:lnTo>
                    <a:lnTo>
                      <a:pt x="63" y="43"/>
                    </a:lnTo>
                    <a:lnTo>
                      <a:pt x="66" y="39"/>
                    </a:lnTo>
                    <a:lnTo>
                      <a:pt x="67" y="34"/>
                    </a:lnTo>
                    <a:lnTo>
                      <a:pt x="67" y="34"/>
                    </a:lnTo>
                    <a:lnTo>
                      <a:pt x="66" y="29"/>
                    </a:lnTo>
                    <a:lnTo>
                      <a:pt x="63" y="26"/>
                    </a:lnTo>
                    <a:lnTo>
                      <a:pt x="59" y="24"/>
                    </a:lnTo>
                    <a:lnTo>
                      <a:pt x="53" y="23"/>
                    </a:lnTo>
                    <a:lnTo>
                      <a:pt x="32" y="23"/>
                    </a:lnTo>
                    <a:lnTo>
                      <a:pt x="32" y="46"/>
                    </a:lnTo>
                    <a:close/>
                    <a:moveTo>
                      <a:pt x="72" y="79"/>
                    </a:moveTo>
                    <a:lnTo>
                      <a:pt x="72" y="79"/>
                    </a:lnTo>
                    <a:lnTo>
                      <a:pt x="71" y="74"/>
                    </a:lnTo>
                    <a:lnTo>
                      <a:pt x="69" y="70"/>
                    </a:lnTo>
                    <a:lnTo>
                      <a:pt x="64" y="68"/>
                    </a:lnTo>
                    <a:lnTo>
                      <a:pt x="58" y="67"/>
                    </a:lnTo>
                    <a:lnTo>
                      <a:pt x="32" y="67"/>
                    </a:lnTo>
                    <a:lnTo>
                      <a:pt x="32" y="91"/>
                    </a:lnTo>
                    <a:lnTo>
                      <a:pt x="58" y="91"/>
                    </a:lnTo>
                    <a:lnTo>
                      <a:pt x="58" y="91"/>
                    </a:lnTo>
                    <a:lnTo>
                      <a:pt x="64" y="90"/>
                    </a:lnTo>
                    <a:lnTo>
                      <a:pt x="69" y="88"/>
                    </a:lnTo>
                    <a:lnTo>
                      <a:pt x="71" y="84"/>
                    </a:lnTo>
                    <a:lnTo>
                      <a:pt x="72" y="79"/>
                    </a:lnTo>
                    <a:lnTo>
                      <a:pt x="72" y="7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8">
                <a:extLst>
                  <a:ext uri="{FF2B5EF4-FFF2-40B4-BE49-F238E27FC236}">
                    <a16:creationId xmlns:a16="http://schemas.microsoft.com/office/drawing/2014/main" id="{7BF9135A-3A7C-4D0C-83E0-F03CAF9AA1BF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664829" y="1379538"/>
                <a:ext cx="115888" cy="90487"/>
              </a:xfrm>
              <a:custGeom>
                <a:avLst/>
                <a:gdLst>
                  <a:gd name="T0" fmla="*/ 92 w 147"/>
                  <a:gd name="T1" fmla="*/ 46 h 115"/>
                  <a:gd name="T2" fmla="*/ 92 w 147"/>
                  <a:gd name="T3" fmla="*/ 46 h 115"/>
                  <a:gd name="T4" fmla="*/ 97 w 147"/>
                  <a:gd name="T5" fmla="*/ 51 h 115"/>
                  <a:gd name="T6" fmla="*/ 101 w 147"/>
                  <a:gd name="T7" fmla="*/ 58 h 115"/>
                  <a:gd name="T8" fmla="*/ 103 w 147"/>
                  <a:gd name="T9" fmla="*/ 66 h 115"/>
                  <a:gd name="T10" fmla="*/ 103 w 147"/>
                  <a:gd name="T11" fmla="*/ 73 h 115"/>
                  <a:gd name="T12" fmla="*/ 103 w 147"/>
                  <a:gd name="T13" fmla="*/ 73 h 115"/>
                  <a:gd name="T14" fmla="*/ 103 w 147"/>
                  <a:gd name="T15" fmla="*/ 82 h 115"/>
                  <a:gd name="T16" fmla="*/ 100 w 147"/>
                  <a:gd name="T17" fmla="*/ 90 h 115"/>
                  <a:gd name="T18" fmla="*/ 96 w 147"/>
                  <a:gd name="T19" fmla="*/ 97 h 115"/>
                  <a:gd name="T20" fmla="*/ 90 w 147"/>
                  <a:gd name="T21" fmla="*/ 104 h 115"/>
                  <a:gd name="T22" fmla="*/ 90 w 147"/>
                  <a:gd name="T23" fmla="*/ 104 h 115"/>
                  <a:gd name="T24" fmla="*/ 82 w 147"/>
                  <a:gd name="T25" fmla="*/ 109 h 115"/>
                  <a:gd name="T26" fmla="*/ 74 w 147"/>
                  <a:gd name="T27" fmla="*/ 113 h 115"/>
                  <a:gd name="T28" fmla="*/ 65 w 147"/>
                  <a:gd name="T29" fmla="*/ 115 h 115"/>
                  <a:gd name="T30" fmla="*/ 55 w 147"/>
                  <a:gd name="T31" fmla="*/ 115 h 115"/>
                  <a:gd name="T32" fmla="*/ 0 w 147"/>
                  <a:gd name="T33" fmla="*/ 115 h 115"/>
                  <a:gd name="T34" fmla="*/ 0 w 147"/>
                  <a:gd name="T35" fmla="*/ 0 h 115"/>
                  <a:gd name="T36" fmla="*/ 32 w 147"/>
                  <a:gd name="T37" fmla="*/ 0 h 115"/>
                  <a:gd name="T38" fmla="*/ 32 w 147"/>
                  <a:gd name="T39" fmla="*/ 36 h 115"/>
                  <a:gd name="T40" fmla="*/ 59 w 147"/>
                  <a:gd name="T41" fmla="*/ 36 h 115"/>
                  <a:gd name="T42" fmla="*/ 59 w 147"/>
                  <a:gd name="T43" fmla="*/ 36 h 115"/>
                  <a:gd name="T44" fmla="*/ 68 w 147"/>
                  <a:gd name="T45" fmla="*/ 37 h 115"/>
                  <a:gd name="T46" fmla="*/ 76 w 147"/>
                  <a:gd name="T47" fmla="*/ 38 h 115"/>
                  <a:gd name="T48" fmla="*/ 84 w 147"/>
                  <a:gd name="T49" fmla="*/ 41 h 115"/>
                  <a:gd name="T50" fmla="*/ 92 w 147"/>
                  <a:gd name="T51" fmla="*/ 46 h 115"/>
                  <a:gd name="T52" fmla="*/ 92 w 147"/>
                  <a:gd name="T53" fmla="*/ 46 h 115"/>
                  <a:gd name="T54" fmla="*/ 66 w 147"/>
                  <a:gd name="T55" fmla="*/ 86 h 115"/>
                  <a:gd name="T56" fmla="*/ 66 w 147"/>
                  <a:gd name="T57" fmla="*/ 86 h 115"/>
                  <a:gd name="T58" fmla="*/ 68 w 147"/>
                  <a:gd name="T59" fmla="*/ 84 h 115"/>
                  <a:gd name="T60" fmla="*/ 70 w 147"/>
                  <a:gd name="T61" fmla="*/ 81 h 115"/>
                  <a:gd name="T62" fmla="*/ 71 w 147"/>
                  <a:gd name="T63" fmla="*/ 77 h 115"/>
                  <a:gd name="T64" fmla="*/ 71 w 147"/>
                  <a:gd name="T65" fmla="*/ 74 h 115"/>
                  <a:gd name="T66" fmla="*/ 71 w 147"/>
                  <a:gd name="T67" fmla="*/ 74 h 115"/>
                  <a:gd name="T68" fmla="*/ 71 w 147"/>
                  <a:gd name="T69" fmla="*/ 71 h 115"/>
                  <a:gd name="T70" fmla="*/ 70 w 147"/>
                  <a:gd name="T71" fmla="*/ 68 h 115"/>
                  <a:gd name="T72" fmla="*/ 68 w 147"/>
                  <a:gd name="T73" fmla="*/ 65 h 115"/>
                  <a:gd name="T74" fmla="*/ 67 w 147"/>
                  <a:gd name="T75" fmla="*/ 63 h 115"/>
                  <a:gd name="T76" fmla="*/ 64 w 147"/>
                  <a:gd name="T77" fmla="*/ 61 h 115"/>
                  <a:gd name="T78" fmla="*/ 61 w 147"/>
                  <a:gd name="T79" fmla="*/ 60 h 115"/>
                  <a:gd name="T80" fmla="*/ 53 w 147"/>
                  <a:gd name="T81" fmla="*/ 59 h 115"/>
                  <a:gd name="T82" fmla="*/ 32 w 147"/>
                  <a:gd name="T83" fmla="*/ 59 h 115"/>
                  <a:gd name="T84" fmla="*/ 32 w 147"/>
                  <a:gd name="T85" fmla="*/ 91 h 115"/>
                  <a:gd name="T86" fmla="*/ 53 w 147"/>
                  <a:gd name="T87" fmla="*/ 91 h 115"/>
                  <a:gd name="T88" fmla="*/ 53 w 147"/>
                  <a:gd name="T89" fmla="*/ 91 h 115"/>
                  <a:gd name="T90" fmla="*/ 57 w 147"/>
                  <a:gd name="T91" fmla="*/ 91 h 115"/>
                  <a:gd name="T92" fmla="*/ 60 w 147"/>
                  <a:gd name="T93" fmla="*/ 90 h 115"/>
                  <a:gd name="T94" fmla="*/ 63 w 147"/>
                  <a:gd name="T95" fmla="*/ 88 h 115"/>
                  <a:gd name="T96" fmla="*/ 66 w 147"/>
                  <a:gd name="T97" fmla="*/ 86 h 115"/>
                  <a:gd name="T98" fmla="*/ 66 w 147"/>
                  <a:gd name="T99" fmla="*/ 86 h 115"/>
                  <a:gd name="T100" fmla="*/ 116 w 147"/>
                  <a:gd name="T101" fmla="*/ 0 h 115"/>
                  <a:gd name="T102" fmla="*/ 147 w 147"/>
                  <a:gd name="T103" fmla="*/ 0 h 115"/>
                  <a:gd name="T104" fmla="*/ 147 w 147"/>
                  <a:gd name="T105" fmla="*/ 115 h 115"/>
                  <a:gd name="T106" fmla="*/ 116 w 147"/>
                  <a:gd name="T107" fmla="*/ 115 h 115"/>
                  <a:gd name="T108" fmla="*/ 116 w 147"/>
                  <a:gd name="T109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47" h="115">
                    <a:moveTo>
                      <a:pt x="92" y="46"/>
                    </a:moveTo>
                    <a:lnTo>
                      <a:pt x="92" y="46"/>
                    </a:lnTo>
                    <a:lnTo>
                      <a:pt x="97" y="51"/>
                    </a:lnTo>
                    <a:lnTo>
                      <a:pt x="101" y="58"/>
                    </a:lnTo>
                    <a:lnTo>
                      <a:pt x="103" y="66"/>
                    </a:lnTo>
                    <a:lnTo>
                      <a:pt x="103" y="73"/>
                    </a:lnTo>
                    <a:lnTo>
                      <a:pt x="103" y="73"/>
                    </a:lnTo>
                    <a:lnTo>
                      <a:pt x="103" y="82"/>
                    </a:lnTo>
                    <a:lnTo>
                      <a:pt x="100" y="90"/>
                    </a:lnTo>
                    <a:lnTo>
                      <a:pt x="96" y="97"/>
                    </a:lnTo>
                    <a:lnTo>
                      <a:pt x="90" y="104"/>
                    </a:lnTo>
                    <a:lnTo>
                      <a:pt x="90" y="104"/>
                    </a:lnTo>
                    <a:lnTo>
                      <a:pt x="82" y="109"/>
                    </a:lnTo>
                    <a:lnTo>
                      <a:pt x="74" y="113"/>
                    </a:lnTo>
                    <a:lnTo>
                      <a:pt x="65" y="115"/>
                    </a:lnTo>
                    <a:lnTo>
                      <a:pt x="55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2" y="0"/>
                    </a:lnTo>
                    <a:lnTo>
                      <a:pt x="32" y="36"/>
                    </a:lnTo>
                    <a:lnTo>
                      <a:pt x="59" y="36"/>
                    </a:lnTo>
                    <a:lnTo>
                      <a:pt x="59" y="36"/>
                    </a:lnTo>
                    <a:lnTo>
                      <a:pt x="68" y="37"/>
                    </a:lnTo>
                    <a:lnTo>
                      <a:pt x="76" y="38"/>
                    </a:lnTo>
                    <a:lnTo>
                      <a:pt x="84" y="41"/>
                    </a:lnTo>
                    <a:lnTo>
                      <a:pt x="92" y="46"/>
                    </a:lnTo>
                    <a:lnTo>
                      <a:pt x="92" y="46"/>
                    </a:lnTo>
                    <a:close/>
                    <a:moveTo>
                      <a:pt x="66" y="86"/>
                    </a:moveTo>
                    <a:lnTo>
                      <a:pt x="66" y="86"/>
                    </a:lnTo>
                    <a:lnTo>
                      <a:pt x="68" y="84"/>
                    </a:lnTo>
                    <a:lnTo>
                      <a:pt x="70" y="81"/>
                    </a:lnTo>
                    <a:lnTo>
                      <a:pt x="71" y="77"/>
                    </a:lnTo>
                    <a:lnTo>
                      <a:pt x="71" y="74"/>
                    </a:lnTo>
                    <a:lnTo>
                      <a:pt x="71" y="74"/>
                    </a:lnTo>
                    <a:lnTo>
                      <a:pt x="71" y="71"/>
                    </a:lnTo>
                    <a:lnTo>
                      <a:pt x="70" y="68"/>
                    </a:lnTo>
                    <a:lnTo>
                      <a:pt x="68" y="65"/>
                    </a:lnTo>
                    <a:lnTo>
                      <a:pt x="67" y="63"/>
                    </a:lnTo>
                    <a:lnTo>
                      <a:pt x="64" y="61"/>
                    </a:lnTo>
                    <a:lnTo>
                      <a:pt x="61" y="60"/>
                    </a:lnTo>
                    <a:lnTo>
                      <a:pt x="53" y="59"/>
                    </a:lnTo>
                    <a:lnTo>
                      <a:pt x="32" y="59"/>
                    </a:lnTo>
                    <a:lnTo>
                      <a:pt x="32" y="91"/>
                    </a:lnTo>
                    <a:lnTo>
                      <a:pt x="53" y="91"/>
                    </a:lnTo>
                    <a:lnTo>
                      <a:pt x="53" y="91"/>
                    </a:lnTo>
                    <a:lnTo>
                      <a:pt x="57" y="91"/>
                    </a:lnTo>
                    <a:lnTo>
                      <a:pt x="60" y="90"/>
                    </a:lnTo>
                    <a:lnTo>
                      <a:pt x="63" y="88"/>
                    </a:lnTo>
                    <a:lnTo>
                      <a:pt x="66" y="86"/>
                    </a:lnTo>
                    <a:lnTo>
                      <a:pt x="66" y="86"/>
                    </a:lnTo>
                    <a:close/>
                    <a:moveTo>
                      <a:pt x="116" y="0"/>
                    </a:moveTo>
                    <a:lnTo>
                      <a:pt x="147" y="0"/>
                    </a:lnTo>
                    <a:lnTo>
                      <a:pt x="147" y="115"/>
                    </a:lnTo>
                    <a:lnTo>
                      <a:pt x="116" y="115"/>
                    </a:lnTo>
                    <a:lnTo>
                      <a:pt x="116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9">
                <a:extLst>
                  <a:ext uri="{FF2B5EF4-FFF2-40B4-BE49-F238E27FC236}">
                    <a16:creationId xmlns:a16="http://schemas.microsoft.com/office/drawing/2014/main" id="{10424634-EA48-4870-886E-2520013B9B3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802941" y="1379538"/>
                <a:ext cx="74613" cy="90487"/>
              </a:xfrm>
              <a:custGeom>
                <a:avLst/>
                <a:gdLst>
                  <a:gd name="T0" fmla="*/ 92 w 92"/>
                  <a:gd name="T1" fmla="*/ 89 h 115"/>
                  <a:gd name="T2" fmla="*/ 92 w 92"/>
                  <a:gd name="T3" fmla="*/ 115 h 115"/>
                  <a:gd name="T4" fmla="*/ 0 w 92"/>
                  <a:gd name="T5" fmla="*/ 115 h 115"/>
                  <a:gd name="T6" fmla="*/ 0 w 92"/>
                  <a:gd name="T7" fmla="*/ 0 h 115"/>
                  <a:gd name="T8" fmla="*/ 90 w 92"/>
                  <a:gd name="T9" fmla="*/ 0 h 115"/>
                  <a:gd name="T10" fmla="*/ 90 w 92"/>
                  <a:gd name="T11" fmla="*/ 25 h 115"/>
                  <a:gd name="T12" fmla="*/ 32 w 92"/>
                  <a:gd name="T13" fmla="*/ 25 h 115"/>
                  <a:gd name="T14" fmla="*/ 32 w 92"/>
                  <a:gd name="T15" fmla="*/ 44 h 115"/>
                  <a:gd name="T16" fmla="*/ 83 w 92"/>
                  <a:gd name="T17" fmla="*/ 44 h 115"/>
                  <a:gd name="T18" fmla="*/ 83 w 92"/>
                  <a:gd name="T19" fmla="*/ 68 h 115"/>
                  <a:gd name="T20" fmla="*/ 32 w 92"/>
                  <a:gd name="T21" fmla="*/ 68 h 115"/>
                  <a:gd name="T22" fmla="*/ 32 w 92"/>
                  <a:gd name="T23" fmla="*/ 89 h 115"/>
                  <a:gd name="T24" fmla="*/ 92 w 92"/>
                  <a:gd name="T25" fmla="*/ 89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2" h="115">
                    <a:moveTo>
                      <a:pt x="92" y="89"/>
                    </a:moveTo>
                    <a:lnTo>
                      <a:pt x="9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25"/>
                    </a:lnTo>
                    <a:lnTo>
                      <a:pt x="32" y="25"/>
                    </a:lnTo>
                    <a:lnTo>
                      <a:pt x="32" y="44"/>
                    </a:lnTo>
                    <a:lnTo>
                      <a:pt x="83" y="44"/>
                    </a:lnTo>
                    <a:lnTo>
                      <a:pt x="83" y="68"/>
                    </a:lnTo>
                    <a:lnTo>
                      <a:pt x="32" y="68"/>
                    </a:lnTo>
                    <a:lnTo>
                      <a:pt x="32" y="89"/>
                    </a:lnTo>
                    <a:lnTo>
                      <a:pt x="92" y="8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10">
                <a:extLst>
                  <a:ext uri="{FF2B5EF4-FFF2-40B4-BE49-F238E27FC236}">
                    <a16:creationId xmlns:a16="http://schemas.microsoft.com/office/drawing/2014/main" id="{8B103972-8000-4E56-88EB-23DCF1695DE7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934704" y="1379538"/>
                <a:ext cx="82550" cy="90487"/>
              </a:xfrm>
              <a:custGeom>
                <a:avLst/>
                <a:gdLst>
                  <a:gd name="T0" fmla="*/ 99 w 105"/>
                  <a:gd name="T1" fmla="*/ 64 h 115"/>
                  <a:gd name="T2" fmla="*/ 104 w 105"/>
                  <a:gd name="T3" fmla="*/ 72 h 115"/>
                  <a:gd name="T4" fmla="*/ 105 w 105"/>
                  <a:gd name="T5" fmla="*/ 81 h 115"/>
                  <a:gd name="T6" fmla="*/ 104 w 105"/>
                  <a:gd name="T7" fmla="*/ 88 h 115"/>
                  <a:gd name="T8" fmla="*/ 98 w 105"/>
                  <a:gd name="T9" fmla="*/ 101 h 115"/>
                  <a:gd name="T10" fmla="*/ 93 w 105"/>
                  <a:gd name="T11" fmla="*/ 106 h 115"/>
                  <a:gd name="T12" fmla="*/ 78 w 105"/>
                  <a:gd name="T13" fmla="*/ 113 h 115"/>
                  <a:gd name="T14" fmla="*/ 58 w 105"/>
                  <a:gd name="T15" fmla="*/ 115 h 115"/>
                  <a:gd name="T16" fmla="*/ 0 w 105"/>
                  <a:gd name="T17" fmla="*/ 0 h 115"/>
                  <a:gd name="T18" fmla="*/ 55 w 105"/>
                  <a:gd name="T19" fmla="*/ 0 h 115"/>
                  <a:gd name="T20" fmla="*/ 72 w 105"/>
                  <a:gd name="T21" fmla="*/ 2 h 115"/>
                  <a:gd name="T22" fmla="*/ 88 w 105"/>
                  <a:gd name="T23" fmla="*/ 8 h 115"/>
                  <a:gd name="T24" fmla="*/ 93 w 105"/>
                  <a:gd name="T25" fmla="*/ 12 h 115"/>
                  <a:gd name="T26" fmla="*/ 99 w 105"/>
                  <a:gd name="T27" fmla="*/ 23 h 115"/>
                  <a:gd name="T28" fmla="*/ 100 w 105"/>
                  <a:gd name="T29" fmla="*/ 30 h 115"/>
                  <a:gd name="T30" fmla="*/ 96 w 105"/>
                  <a:gd name="T31" fmla="*/ 45 h 115"/>
                  <a:gd name="T32" fmla="*/ 91 w 105"/>
                  <a:gd name="T33" fmla="*/ 50 h 115"/>
                  <a:gd name="T34" fmla="*/ 84 w 105"/>
                  <a:gd name="T35" fmla="*/ 54 h 115"/>
                  <a:gd name="T36" fmla="*/ 93 w 105"/>
                  <a:gd name="T37" fmla="*/ 58 h 115"/>
                  <a:gd name="T38" fmla="*/ 99 w 105"/>
                  <a:gd name="T39" fmla="*/ 64 h 115"/>
                  <a:gd name="T40" fmla="*/ 32 w 105"/>
                  <a:gd name="T41" fmla="*/ 46 h 115"/>
                  <a:gd name="T42" fmla="*/ 52 w 105"/>
                  <a:gd name="T43" fmla="*/ 46 h 115"/>
                  <a:gd name="T44" fmla="*/ 63 w 105"/>
                  <a:gd name="T45" fmla="*/ 43 h 115"/>
                  <a:gd name="T46" fmla="*/ 66 w 105"/>
                  <a:gd name="T47" fmla="*/ 34 h 115"/>
                  <a:gd name="T48" fmla="*/ 65 w 105"/>
                  <a:gd name="T49" fmla="*/ 29 h 115"/>
                  <a:gd name="T50" fmla="*/ 58 w 105"/>
                  <a:gd name="T51" fmla="*/ 24 h 115"/>
                  <a:gd name="T52" fmla="*/ 32 w 105"/>
                  <a:gd name="T53" fmla="*/ 23 h 115"/>
                  <a:gd name="T54" fmla="*/ 71 w 105"/>
                  <a:gd name="T55" fmla="*/ 79 h 115"/>
                  <a:gd name="T56" fmla="*/ 70 w 105"/>
                  <a:gd name="T57" fmla="*/ 74 h 115"/>
                  <a:gd name="T58" fmla="*/ 63 w 105"/>
                  <a:gd name="T59" fmla="*/ 68 h 115"/>
                  <a:gd name="T60" fmla="*/ 32 w 105"/>
                  <a:gd name="T61" fmla="*/ 67 h 115"/>
                  <a:gd name="T62" fmla="*/ 57 w 105"/>
                  <a:gd name="T63" fmla="*/ 91 h 115"/>
                  <a:gd name="T64" fmla="*/ 63 w 105"/>
                  <a:gd name="T65" fmla="*/ 90 h 115"/>
                  <a:gd name="T66" fmla="*/ 70 w 105"/>
                  <a:gd name="T67" fmla="*/ 84 h 115"/>
                  <a:gd name="T68" fmla="*/ 71 w 105"/>
                  <a:gd name="T69" fmla="*/ 79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5" h="115">
                    <a:moveTo>
                      <a:pt x="99" y="64"/>
                    </a:moveTo>
                    <a:lnTo>
                      <a:pt x="99" y="64"/>
                    </a:lnTo>
                    <a:lnTo>
                      <a:pt x="102" y="68"/>
                    </a:lnTo>
                    <a:lnTo>
                      <a:pt x="104" y="72"/>
                    </a:lnTo>
                    <a:lnTo>
                      <a:pt x="105" y="77"/>
                    </a:lnTo>
                    <a:lnTo>
                      <a:pt x="105" y="81"/>
                    </a:lnTo>
                    <a:lnTo>
                      <a:pt x="105" y="81"/>
                    </a:lnTo>
                    <a:lnTo>
                      <a:pt x="104" y="88"/>
                    </a:lnTo>
                    <a:lnTo>
                      <a:pt x="102" y="95"/>
                    </a:lnTo>
                    <a:lnTo>
                      <a:pt x="98" y="101"/>
                    </a:lnTo>
                    <a:lnTo>
                      <a:pt x="93" y="106"/>
                    </a:lnTo>
                    <a:lnTo>
                      <a:pt x="93" y="106"/>
                    </a:lnTo>
                    <a:lnTo>
                      <a:pt x="86" y="110"/>
                    </a:lnTo>
                    <a:lnTo>
                      <a:pt x="78" y="113"/>
                    </a:lnTo>
                    <a:lnTo>
                      <a:pt x="69" y="114"/>
                    </a:lnTo>
                    <a:lnTo>
                      <a:pt x="58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55" y="0"/>
                    </a:lnTo>
                    <a:lnTo>
                      <a:pt x="55" y="0"/>
                    </a:lnTo>
                    <a:lnTo>
                      <a:pt x="64" y="0"/>
                    </a:lnTo>
                    <a:lnTo>
                      <a:pt x="72" y="2"/>
                    </a:lnTo>
                    <a:lnTo>
                      <a:pt x="81" y="4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93" y="12"/>
                    </a:lnTo>
                    <a:lnTo>
                      <a:pt x="97" y="17"/>
                    </a:lnTo>
                    <a:lnTo>
                      <a:pt x="99" y="23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99" y="37"/>
                    </a:lnTo>
                    <a:lnTo>
                      <a:pt x="96" y="45"/>
                    </a:lnTo>
                    <a:lnTo>
                      <a:pt x="96" y="45"/>
                    </a:lnTo>
                    <a:lnTo>
                      <a:pt x="91" y="50"/>
                    </a:lnTo>
                    <a:lnTo>
                      <a:pt x="84" y="54"/>
                    </a:lnTo>
                    <a:lnTo>
                      <a:pt x="84" y="54"/>
                    </a:lnTo>
                    <a:lnTo>
                      <a:pt x="88" y="56"/>
                    </a:lnTo>
                    <a:lnTo>
                      <a:pt x="93" y="58"/>
                    </a:lnTo>
                    <a:lnTo>
                      <a:pt x="96" y="61"/>
                    </a:lnTo>
                    <a:lnTo>
                      <a:pt x="99" y="64"/>
                    </a:lnTo>
                    <a:lnTo>
                      <a:pt x="99" y="64"/>
                    </a:lnTo>
                    <a:close/>
                    <a:moveTo>
                      <a:pt x="32" y="46"/>
                    </a:moveTo>
                    <a:lnTo>
                      <a:pt x="52" y="46"/>
                    </a:lnTo>
                    <a:lnTo>
                      <a:pt x="52" y="46"/>
                    </a:lnTo>
                    <a:lnTo>
                      <a:pt x="58" y="45"/>
                    </a:lnTo>
                    <a:lnTo>
                      <a:pt x="63" y="43"/>
                    </a:lnTo>
                    <a:lnTo>
                      <a:pt x="65" y="39"/>
                    </a:lnTo>
                    <a:lnTo>
                      <a:pt x="66" y="34"/>
                    </a:lnTo>
                    <a:lnTo>
                      <a:pt x="66" y="34"/>
                    </a:lnTo>
                    <a:lnTo>
                      <a:pt x="65" y="29"/>
                    </a:lnTo>
                    <a:lnTo>
                      <a:pt x="63" y="26"/>
                    </a:lnTo>
                    <a:lnTo>
                      <a:pt x="58" y="24"/>
                    </a:lnTo>
                    <a:lnTo>
                      <a:pt x="52" y="23"/>
                    </a:lnTo>
                    <a:lnTo>
                      <a:pt x="32" y="23"/>
                    </a:lnTo>
                    <a:lnTo>
                      <a:pt x="32" y="46"/>
                    </a:lnTo>
                    <a:close/>
                    <a:moveTo>
                      <a:pt x="71" y="79"/>
                    </a:moveTo>
                    <a:lnTo>
                      <a:pt x="71" y="79"/>
                    </a:lnTo>
                    <a:lnTo>
                      <a:pt x="70" y="74"/>
                    </a:lnTo>
                    <a:lnTo>
                      <a:pt x="68" y="70"/>
                    </a:lnTo>
                    <a:lnTo>
                      <a:pt x="63" y="68"/>
                    </a:lnTo>
                    <a:lnTo>
                      <a:pt x="57" y="67"/>
                    </a:lnTo>
                    <a:lnTo>
                      <a:pt x="32" y="67"/>
                    </a:lnTo>
                    <a:lnTo>
                      <a:pt x="32" y="91"/>
                    </a:lnTo>
                    <a:lnTo>
                      <a:pt x="57" y="91"/>
                    </a:lnTo>
                    <a:lnTo>
                      <a:pt x="57" y="91"/>
                    </a:lnTo>
                    <a:lnTo>
                      <a:pt x="63" y="90"/>
                    </a:lnTo>
                    <a:lnTo>
                      <a:pt x="68" y="88"/>
                    </a:lnTo>
                    <a:lnTo>
                      <a:pt x="70" y="84"/>
                    </a:lnTo>
                    <a:lnTo>
                      <a:pt x="71" y="79"/>
                    </a:lnTo>
                    <a:lnTo>
                      <a:pt x="71" y="7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11">
                <a:extLst>
                  <a:ext uri="{FF2B5EF4-FFF2-40B4-BE49-F238E27FC236}">
                    <a16:creationId xmlns:a16="http://schemas.microsoft.com/office/drawing/2014/main" id="{5015CA8F-F08E-4B9F-9747-ACFF975EF146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1033129" y="1379538"/>
                <a:ext cx="119063" cy="90487"/>
              </a:xfrm>
              <a:custGeom>
                <a:avLst/>
                <a:gdLst>
                  <a:gd name="T0" fmla="*/ 92 w 148"/>
                  <a:gd name="T1" fmla="*/ 46 h 115"/>
                  <a:gd name="T2" fmla="*/ 92 w 148"/>
                  <a:gd name="T3" fmla="*/ 46 h 115"/>
                  <a:gd name="T4" fmla="*/ 97 w 148"/>
                  <a:gd name="T5" fmla="*/ 51 h 115"/>
                  <a:gd name="T6" fmla="*/ 101 w 148"/>
                  <a:gd name="T7" fmla="*/ 58 h 115"/>
                  <a:gd name="T8" fmla="*/ 103 w 148"/>
                  <a:gd name="T9" fmla="*/ 66 h 115"/>
                  <a:gd name="T10" fmla="*/ 103 w 148"/>
                  <a:gd name="T11" fmla="*/ 73 h 115"/>
                  <a:gd name="T12" fmla="*/ 103 w 148"/>
                  <a:gd name="T13" fmla="*/ 73 h 115"/>
                  <a:gd name="T14" fmla="*/ 103 w 148"/>
                  <a:gd name="T15" fmla="*/ 82 h 115"/>
                  <a:gd name="T16" fmla="*/ 100 w 148"/>
                  <a:gd name="T17" fmla="*/ 90 h 115"/>
                  <a:gd name="T18" fmla="*/ 96 w 148"/>
                  <a:gd name="T19" fmla="*/ 97 h 115"/>
                  <a:gd name="T20" fmla="*/ 91 w 148"/>
                  <a:gd name="T21" fmla="*/ 104 h 115"/>
                  <a:gd name="T22" fmla="*/ 91 w 148"/>
                  <a:gd name="T23" fmla="*/ 104 h 115"/>
                  <a:gd name="T24" fmla="*/ 83 w 148"/>
                  <a:gd name="T25" fmla="*/ 109 h 115"/>
                  <a:gd name="T26" fmla="*/ 73 w 148"/>
                  <a:gd name="T27" fmla="*/ 113 h 115"/>
                  <a:gd name="T28" fmla="*/ 64 w 148"/>
                  <a:gd name="T29" fmla="*/ 115 h 115"/>
                  <a:gd name="T30" fmla="*/ 54 w 148"/>
                  <a:gd name="T31" fmla="*/ 115 h 115"/>
                  <a:gd name="T32" fmla="*/ 0 w 148"/>
                  <a:gd name="T33" fmla="*/ 115 h 115"/>
                  <a:gd name="T34" fmla="*/ 0 w 148"/>
                  <a:gd name="T35" fmla="*/ 0 h 115"/>
                  <a:gd name="T36" fmla="*/ 32 w 148"/>
                  <a:gd name="T37" fmla="*/ 0 h 115"/>
                  <a:gd name="T38" fmla="*/ 32 w 148"/>
                  <a:gd name="T39" fmla="*/ 36 h 115"/>
                  <a:gd name="T40" fmla="*/ 59 w 148"/>
                  <a:gd name="T41" fmla="*/ 36 h 115"/>
                  <a:gd name="T42" fmla="*/ 59 w 148"/>
                  <a:gd name="T43" fmla="*/ 36 h 115"/>
                  <a:gd name="T44" fmla="*/ 67 w 148"/>
                  <a:gd name="T45" fmla="*/ 37 h 115"/>
                  <a:gd name="T46" fmla="*/ 76 w 148"/>
                  <a:gd name="T47" fmla="*/ 38 h 115"/>
                  <a:gd name="T48" fmla="*/ 85 w 148"/>
                  <a:gd name="T49" fmla="*/ 41 h 115"/>
                  <a:gd name="T50" fmla="*/ 92 w 148"/>
                  <a:gd name="T51" fmla="*/ 46 h 115"/>
                  <a:gd name="T52" fmla="*/ 92 w 148"/>
                  <a:gd name="T53" fmla="*/ 46 h 115"/>
                  <a:gd name="T54" fmla="*/ 65 w 148"/>
                  <a:gd name="T55" fmla="*/ 86 h 115"/>
                  <a:gd name="T56" fmla="*/ 65 w 148"/>
                  <a:gd name="T57" fmla="*/ 86 h 115"/>
                  <a:gd name="T58" fmla="*/ 67 w 148"/>
                  <a:gd name="T59" fmla="*/ 84 h 115"/>
                  <a:gd name="T60" fmla="*/ 69 w 148"/>
                  <a:gd name="T61" fmla="*/ 81 h 115"/>
                  <a:gd name="T62" fmla="*/ 70 w 148"/>
                  <a:gd name="T63" fmla="*/ 77 h 115"/>
                  <a:gd name="T64" fmla="*/ 70 w 148"/>
                  <a:gd name="T65" fmla="*/ 74 h 115"/>
                  <a:gd name="T66" fmla="*/ 70 w 148"/>
                  <a:gd name="T67" fmla="*/ 74 h 115"/>
                  <a:gd name="T68" fmla="*/ 70 w 148"/>
                  <a:gd name="T69" fmla="*/ 71 h 115"/>
                  <a:gd name="T70" fmla="*/ 69 w 148"/>
                  <a:gd name="T71" fmla="*/ 68 h 115"/>
                  <a:gd name="T72" fmla="*/ 68 w 148"/>
                  <a:gd name="T73" fmla="*/ 65 h 115"/>
                  <a:gd name="T74" fmla="*/ 66 w 148"/>
                  <a:gd name="T75" fmla="*/ 63 h 115"/>
                  <a:gd name="T76" fmla="*/ 63 w 148"/>
                  <a:gd name="T77" fmla="*/ 61 h 115"/>
                  <a:gd name="T78" fmla="*/ 60 w 148"/>
                  <a:gd name="T79" fmla="*/ 60 h 115"/>
                  <a:gd name="T80" fmla="*/ 52 w 148"/>
                  <a:gd name="T81" fmla="*/ 59 h 115"/>
                  <a:gd name="T82" fmla="*/ 33 w 148"/>
                  <a:gd name="T83" fmla="*/ 59 h 115"/>
                  <a:gd name="T84" fmla="*/ 33 w 148"/>
                  <a:gd name="T85" fmla="*/ 91 h 115"/>
                  <a:gd name="T86" fmla="*/ 52 w 148"/>
                  <a:gd name="T87" fmla="*/ 91 h 115"/>
                  <a:gd name="T88" fmla="*/ 52 w 148"/>
                  <a:gd name="T89" fmla="*/ 91 h 115"/>
                  <a:gd name="T90" fmla="*/ 56 w 148"/>
                  <a:gd name="T91" fmla="*/ 91 h 115"/>
                  <a:gd name="T92" fmla="*/ 59 w 148"/>
                  <a:gd name="T93" fmla="*/ 90 h 115"/>
                  <a:gd name="T94" fmla="*/ 62 w 148"/>
                  <a:gd name="T95" fmla="*/ 88 h 115"/>
                  <a:gd name="T96" fmla="*/ 65 w 148"/>
                  <a:gd name="T97" fmla="*/ 86 h 115"/>
                  <a:gd name="T98" fmla="*/ 65 w 148"/>
                  <a:gd name="T99" fmla="*/ 86 h 115"/>
                  <a:gd name="T100" fmla="*/ 116 w 148"/>
                  <a:gd name="T101" fmla="*/ 0 h 115"/>
                  <a:gd name="T102" fmla="*/ 148 w 148"/>
                  <a:gd name="T103" fmla="*/ 0 h 115"/>
                  <a:gd name="T104" fmla="*/ 148 w 148"/>
                  <a:gd name="T105" fmla="*/ 115 h 115"/>
                  <a:gd name="T106" fmla="*/ 116 w 148"/>
                  <a:gd name="T107" fmla="*/ 115 h 115"/>
                  <a:gd name="T108" fmla="*/ 116 w 148"/>
                  <a:gd name="T109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48" h="115">
                    <a:moveTo>
                      <a:pt x="92" y="46"/>
                    </a:moveTo>
                    <a:lnTo>
                      <a:pt x="92" y="46"/>
                    </a:lnTo>
                    <a:lnTo>
                      <a:pt x="97" y="51"/>
                    </a:lnTo>
                    <a:lnTo>
                      <a:pt x="101" y="58"/>
                    </a:lnTo>
                    <a:lnTo>
                      <a:pt x="103" y="66"/>
                    </a:lnTo>
                    <a:lnTo>
                      <a:pt x="103" y="73"/>
                    </a:lnTo>
                    <a:lnTo>
                      <a:pt x="103" y="73"/>
                    </a:lnTo>
                    <a:lnTo>
                      <a:pt x="103" y="82"/>
                    </a:lnTo>
                    <a:lnTo>
                      <a:pt x="100" y="90"/>
                    </a:lnTo>
                    <a:lnTo>
                      <a:pt x="96" y="97"/>
                    </a:lnTo>
                    <a:lnTo>
                      <a:pt x="91" y="104"/>
                    </a:lnTo>
                    <a:lnTo>
                      <a:pt x="91" y="104"/>
                    </a:lnTo>
                    <a:lnTo>
                      <a:pt x="83" y="109"/>
                    </a:lnTo>
                    <a:lnTo>
                      <a:pt x="73" y="113"/>
                    </a:lnTo>
                    <a:lnTo>
                      <a:pt x="64" y="115"/>
                    </a:lnTo>
                    <a:lnTo>
                      <a:pt x="54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2" y="0"/>
                    </a:lnTo>
                    <a:lnTo>
                      <a:pt x="32" y="36"/>
                    </a:lnTo>
                    <a:lnTo>
                      <a:pt x="59" y="36"/>
                    </a:lnTo>
                    <a:lnTo>
                      <a:pt x="59" y="36"/>
                    </a:lnTo>
                    <a:lnTo>
                      <a:pt x="67" y="37"/>
                    </a:lnTo>
                    <a:lnTo>
                      <a:pt x="76" y="38"/>
                    </a:lnTo>
                    <a:lnTo>
                      <a:pt x="85" y="41"/>
                    </a:lnTo>
                    <a:lnTo>
                      <a:pt x="92" y="46"/>
                    </a:lnTo>
                    <a:lnTo>
                      <a:pt x="92" y="46"/>
                    </a:lnTo>
                    <a:close/>
                    <a:moveTo>
                      <a:pt x="65" y="86"/>
                    </a:moveTo>
                    <a:lnTo>
                      <a:pt x="65" y="86"/>
                    </a:lnTo>
                    <a:lnTo>
                      <a:pt x="67" y="84"/>
                    </a:lnTo>
                    <a:lnTo>
                      <a:pt x="69" y="81"/>
                    </a:lnTo>
                    <a:lnTo>
                      <a:pt x="70" y="77"/>
                    </a:lnTo>
                    <a:lnTo>
                      <a:pt x="70" y="74"/>
                    </a:lnTo>
                    <a:lnTo>
                      <a:pt x="70" y="74"/>
                    </a:lnTo>
                    <a:lnTo>
                      <a:pt x="70" y="71"/>
                    </a:lnTo>
                    <a:lnTo>
                      <a:pt x="69" y="68"/>
                    </a:lnTo>
                    <a:lnTo>
                      <a:pt x="68" y="65"/>
                    </a:lnTo>
                    <a:lnTo>
                      <a:pt x="66" y="63"/>
                    </a:lnTo>
                    <a:lnTo>
                      <a:pt x="63" y="61"/>
                    </a:lnTo>
                    <a:lnTo>
                      <a:pt x="60" y="60"/>
                    </a:lnTo>
                    <a:lnTo>
                      <a:pt x="52" y="59"/>
                    </a:lnTo>
                    <a:lnTo>
                      <a:pt x="33" y="59"/>
                    </a:lnTo>
                    <a:lnTo>
                      <a:pt x="33" y="91"/>
                    </a:lnTo>
                    <a:lnTo>
                      <a:pt x="52" y="91"/>
                    </a:lnTo>
                    <a:lnTo>
                      <a:pt x="52" y="91"/>
                    </a:lnTo>
                    <a:lnTo>
                      <a:pt x="56" y="91"/>
                    </a:lnTo>
                    <a:lnTo>
                      <a:pt x="59" y="90"/>
                    </a:lnTo>
                    <a:lnTo>
                      <a:pt x="62" y="88"/>
                    </a:lnTo>
                    <a:lnTo>
                      <a:pt x="65" y="86"/>
                    </a:lnTo>
                    <a:lnTo>
                      <a:pt x="65" y="86"/>
                    </a:lnTo>
                    <a:close/>
                    <a:moveTo>
                      <a:pt x="116" y="0"/>
                    </a:moveTo>
                    <a:lnTo>
                      <a:pt x="148" y="0"/>
                    </a:lnTo>
                    <a:lnTo>
                      <a:pt x="148" y="115"/>
                    </a:lnTo>
                    <a:lnTo>
                      <a:pt x="116" y="115"/>
                    </a:lnTo>
                    <a:lnTo>
                      <a:pt x="116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12">
                <a:extLst>
                  <a:ext uri="{FF2B5EF4-FFF2-40B4-BE49-F238E27FC236}">
                    <a16:creationId xmlns:a16="http://schemas.microsoft.com/office/drawing/2014/main" id="{96E3C9B5-CC98-406A-8F49-5203B97A543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166479" y="1376363"/>
                <a:ext cx="79375" cy="95250"/>
              </a:xfrm>
              <a:custGeom>
                <a:avLst/>
                <a:gdLst>
                  <a:gd name="T0" fmla="*/ 96 w 101"/>
                  <a:gd name="T1" fmla="*/ 68 h 120"/>
                  <a:gd name="T2" fmla="*/ 100 w 101"/>
                  <a:gd name="T3" fmla="*/ 76 h 120"/>
                  <a:gd name="T4" fmla="*/ 101 w 101"/>
                  <a:gd name="T5" fmla="*/ 85 h 120"/>
                  <a:gd name="T6" fmla="*/ 101 w 101"/>
                  <a:gd name="T7" fmla="*/ 90 h 120"/>
                  <a:gd name="T8" fmla="*/ 97 w 101"/>
                  <a:gd name="T9" fmla="*/ 99 h 120"/>
                  <a:gd name="T10" fmla="*/ 94 w 101"/>
                  <a:gd name="T11" fmla="*/ 104 h 120"/>
                  <a:gd name="T12" fmla="*/ 85 w 101"/>
                  <a:gd name="T13" fmla="*/ 111 h 120"/>
                  <a:gd name="T14" fmla="*/ 75 w 101"/>
                  <a:gd name="T15" fmla="*/ 116 h 120"/>
                  <a:gd name="T16" fmla="*/ 61 w 101"/>
                  <a:gd name="T17" fmla="*/ 119 h 120"/>
                  <a:gd name="T18" fmla="*/ 48 w 101"/>
                  <a:gd name="T19" fmla="*/ 120 h 120"/>
                  <a:gd name="T20" fmla="*/ 23 w 101"/>
                  <a:gd name="T21" fmla="*/ 118 h 120"/>
                  <a:gd name="T22" fmla="*/ 12 w 101"/>
                  <a:gd name="T23" fmla="*/ 114 h 120"/>
                  <a:gd name="T24" fmla="*/ 10 w 101"/>
                  <a:gd name="T25" fmla="*/ 86 h 120"/>
                  <a:gd name="T26" fmla="*/ 18 w 101"/>
                  <a:gd name="T27" fmla="*/ 89 h 120"/>
                  <a:gd name="T28" fmla="*/ 26 w 101"/>
                  <a:gd name="T29" fmla="*/ 92 h 120"/>
                  <a:gd name="T30" fmla="*/ 44 w 101"/>
                  <a:gd name="T31" fmla="*/ 94 h 120"/>
                  <a:gd name="T32" fmla="*/ 53 w 101"/>
                  <a:gd name="T33" fmla="*/ 93 h 120"/>
                  <a:gd name="T34" fmla="*/ 62 w 101"/>
                  <a:gd name="T35" fmla="*/ 90 h 120"/>
                  <a:gd name="T36" fmla="*/ 67 w 101"/>
                  <a:gd name="T37" fmla="*/ 86 h 120"/>
                  <a:gd name="T38" fmla="*/ 69 w 101"/>
                  <a:gd name="T39" fmla="*/ 80 h 120"/>
                  <a:gd name="T40" fmla="*/ 68 w 101"/>
                  <a:gd name="T41" fmla="*/ 78 h 120"/>
                  <a:gd name="T42" fmla="*/ 66 w 101"/>
                  <a:gd name="T43" fmla="*/ 74 h 120"/>
                  <a:gd name="T44" fmla="*/ 64 w 101"/>
                  <a:gd name="T45" fmla="*/ 73 h 120"/>
                  <a:gd name="T46" fmla="*/ 53 w 101"/>
                  <a:gd name="T47" fmla="*/ 70 h 120"/>
                  <a:gd name="T48" fmla="*/ 23 w 101"/>
                  <a:gd name="T49" fmla="*/ 47 h 120"/>
                  <a:gd name="T50" fmla="*/ 50 w 101"/>
                  <a:gd name="T51" fmla="*/ 47 h 120"/>
                  <a:gd name="T52" fmla="*/ 60 w 101"/>
                  <a:gd name="T53" fmla="*/ 44 h 120"/>
                  <a:gd name="T54" fmla="*/ 63 w 101"/>
                  <a:gd name="T55" fmla="*/ 41 h 120"/>
                  <a:gd name="T56" fmla="*/ 64 w 101"/>
                  <a:gd name="T57" fmla="*/ 37 h 120"/>
                  <a:gd name="T58" fmla="*/ 62 w 101"/>
                  <a:gd name="T59" fmla="*/ 32 h 120"/>
                  <a:gd name="T60" fmla="*/ 58 w 101"/>
                  <a:gd name="T61" fmla="*/ 29 h 120"/>
                  <a:gd name="T62" fmla="*/ 51 w 101"/>
                  <a:gd name="T63" fmla="*/ 26 h 120"/>
                  <a:gd name="T64" fmla="*/ 44 w 101"/>
                  <a:gd name="T65" fmla="*/ 26 h 120"/>
                  <a:gd name="T66" fmla="*/ 28 w 101"/>
                  <a:gd name="T67" fmla="*/ 28 h 120"/>
                  <a:gd name="T68" fmla="*/ 20 w 101"/>
                  <a:gd name="T69" fmla="*/ 30 h 120"/>
                  <a:gd name="T70" fmla="*/ 3 w 101"/>
                  <a:gd name="T71" fmla="*/ 9 h 120"/>
                  <a:gd name="T72" fmla="*/ 13 w 101"/>
                  <a:gd name="T73" fmla="*/ 5 h 120"/>
                  <a:gd name="T74" fmla="*/ 33 w 101"/>
                  <a:gd name="T75" fmla="*/ 1 h 120"/>
                  <a:gd name="T76" fmla="*/ 44 w 101"/>
                  <a:gd name="T77" fmla="*/ 0 h 120"/>
                  <a:gd name="T78" fmla="*/ 70 w 101"/>
                  <a:gd name="T79" fmla="*/ 4 h 120"/>
                  <a:gd name="T80" fmla="*/ 75 w 101"/>
                  <a:gd name="T81" fmla="*/ 6 h 120"/>
                  <a:gd name="T82" fmla="*/ 85 w 101"/>
                  <a:gd name="T83" fmla="*/ 12 h 120"/>
                  <a:gd name="T84" fmla="*/ 89 w 101"/>
                  <a:gd name="T85" fmla="*/ 16 h 120"/>
                  <a:gd name="T86" fmla="*/ 95 w 101"/>
                  <a:gd name="T87" fmla="*/ 24 h 120"/>
                  <a:gd name="T88" fmla="*/ 96 w 101"/>
                  <a:gd name="T89" fmla="*/ 34 h 120"/>
                  <a:gd name="T90" fmla="*/ 95 w 101"/>
                  <a:gd name="T91" fmla="*/ 41 h 120"/>
                  <a:gd name="T92" fmla="*/ 92 w 101"/>
                  <a:gd name="T93" fmla="*/ 48 h 120"/>
                  <a:gd name="T94" fmla="*/ 81 w 101"/>
                  <a:gd name="T95" fmla="*/ 58 h 120"/>
                  <a:gd name="T96" fmla="*/ 85 w 101"/>
                  <a:gd name="T97" fmla="*/ 59 h 120"/>
                  <a:gd name="T98" fmla="*/ 93 w 101"/>
                  <a:gd name="T99" fmla="*/ 65 h 120"/>
                  <a:gd name="T100" fmla="*/ 96 w 101"/>
                  <a:gd name="T101" fmla="*/ 68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01" h="120">
                    <a:moveTo>
                      <a:pt x="96" y="68"/>
                    </a:moveTo>
                    <a:lnTo>
                      <a:pt x="96" y="68"/>
                    </a:lnTo>
                    <a:lnTo>
                      <a:pt x="98" y="72"/>
                    </a:lnTo>
                    <a:lnTo>
                      <a:pt x="100" y="76"/>
                    </a:lnTo>
                    <a:lnTo>
                      <a:pt x="101" y="80"/>
                    </a:lnTo>
                    <a:lnTo>
                      <a:pt x="101" y="85"/>
                    </a:lnTo>
                    <a:lnTo>
                      <a:pt x="101" y="85"/>
                    </a:lnTo>
                    <a:lnTo>
                      <a:pt x="101" y="90"/>
                    </a:lnTo>
                    <a:lnTo>
                      <a:pt x="99" y="95"/>
                    </a:lnTo>
                    <a:lnTo>
                      <a:pt x="97" y="99"/>
                    </a:lnTo>
                    <a:lnTo>
                      <a:pt x="94" y="104"/>
                    </a:lnTo>
                    <a:lnTo>
                      <a:pt x="94" y="104"/>
                    </a:lnTo>
                    <a:lnTo>
                      <a:pt x="90" y="108"/>
                    </a:lnTo>
                    <a:lnTo>
                      <a:pt x="85" y="111"/>
                    </a:lnTo>
                    <a:lnTo>
                      <a:pt x="80" y="114"/>
                    </a:lnTo>
                    <a:lnTo>
                      <a:pt x="75" y="116"/>
                    </a:lnTo>
                    <a:lnTo>
                      <a:pt x="75" y="116"/>
                    </a:lnTo>
                    <a:lnTo>
                      <a:pt x="61" y="119"/>
                    </a:lnTo>
                    <a:lnTo>
                      <a:pt x="48" y="120"/>
                    </a:lnTo>
                    <a:lnTo>
                      <a:pt x="48" y="120"/>
                    </a:lnTo>
                    <a:lnTo>
                      <a:pt x="35" y="120"/>
                    </a:lnTo>
                    <a:lnTo>
                      <a:pt x="23" y="118"/>
                    </a:lnTo>
                    <a:lnTo>
                      <a:pt x="23" y="118"/>
                    </a:lnTo>
                    <a:lnTo>
                      <a:pt x="12" y="114"/>
                    </a:lnTo>
                    <a:lnTo>
                      <a:pt x="0" y="109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8" y="89"/>
                    </a:lnTo>
                    <a:lnTo>
                      <a:pt x="26" y="92"/>
                    </a:lnTo>
                    <a:lnTo>
                      <a:pt x="26" y="92"/>
                    </a:lnTo>
                    <a:lnTo>
                      <a:pt x="35" y="93"/>
                    </a:lnTo>
                    <a:lnTo>
                      <a:pt x="44" y="94"/>
                    </a:lnTo>
                    <a:lnTo>
                      <a:pt x="44" y="94"/>
                    </a:lnTo>
                    <a:lnTo>
                      <a:pt x="53" y="93"/>
                    </a:lnTo>
                    <a:lnTo>
                      <a:pt x="62" y="90"/>
                    </a:lnTo>
                    <a:lnTo>
                      <a:pt x="62" y="90"/>
                    </a:lnTo>
                    <a:lnTo>
                      <a:pt x="64" y="89"/>
                    </a:lnTo>
                    <a:lnTo>
                      <a:pt x="67" y="86"/>
                    </a:lnTo>
                    <a:lnTo>
                      <a:pt x="68" y="84"/>
                    </a:lnTo>
                    <a:lnTo>
                      <a:pt x="69" y="80"/>
                    </a:lnTo>
                    <a:lnTo>
                      <a:pt x="69" y="80"/>
                    </a:lnTo>
                    <a:lnTo>
                      <a:pt x="68" y="78"/>
                    </a:lnTo>
                    <a:lnTo>
                      <a:pt x="67" y="76"/>
                    </a:lnTo>
                    <a:lnTo>
                      <a:pt x="66" y="74"/>
                    </a:lnTo>
                    <a:lnTo>
                      <a:pt x="64" y="73"/>
                    </a:lnTo>
                    <a:lnTo>
                      <a:pt x="64" y="73"/>
                    </a:lnTo>
                    <a:lnTo>
                      <a:pt x="59" y="71"/>
                    </a:lnTo>
                    <a:lnTo>
                      <a:pt x="53" y="70"/>
                    </a:lnTo>
                    <a:lnTo>
                      <a:pt x="23" y="70"/>
                    </a:lnTo>
                    <a:lnTo>
                      <a:pt x="23" y="47"/>
                    </a:lnTo>
                    <a:lnTo>
                      <a:pt x="50" y="47"/>
                    </a:lnTo>
                    <a:lnTo>
                      <a:pt x="50" y="47"/>
                    </a:lnTo>
                    <a:lnTo>
                      <a:pt x="55" y="46"/>
                    </a:lnTo>
                    <a:lnTo>
                      <a:pt x="60" y="44"/>
                    </a:lnTo>
                    <a:lnTo>
                      <a:pt x="60" y="44"/>
                    </a:lnTo>
                    <a:lnTo>
                      <a:pt x="63" y="41"/>
                    </a:lnTo>
                    <a:lnTo>
                      <a:pt x="64" y="37"/>
                    </a:lnTo>
                    <a:lnTo>
                      <a:pt x="64" y="37"/>
                    </a:lnTo>
                    <a:lnTo>
                      <a:pt x="63" y="35"/>
                    </a:lnTo>
                    <a:lnTo>
                      <a:pt x="62" y="32"/>
                    </a:lnTo>
                    <a:lnTo>
                      <a:pt x="61" y="30"/>
                    </a:lnTo>
                    <a:lnTo>
                      <a:pt x="58" y="29"/>
                    </a:lnTo>
                    <a:lnTo>
                      <a:pt x="58" y="29"/>
                    </a:lnTo>
                    <a:lnTo>
                      <a:pt x="51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35" y="26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0" y="30"/>
                    </a:lnTo>
                    <a:lnTo>
                      <a:pt x="13" y="34"/>
                    </a:lnTo>
                    <a:lnTo>
                      <a:pt x="3" y="9"/>
                    </a:lnTo>
                    <a:lnTo>
                      <a:pt x="3" y="9"/>
                    </a:lnTo>
                    <a:lnTo>
                      <a:pt x="13" y="5"/>
                    </a:lnTo>
                    <a:lnTo>
                      <a:pt x="23" y="2"/>
                    </a:lnTo>
                    <a:lnTo>
                      <a:pt x="33" y="1"/>
                    </a:lnTo>
                    <a:lnTo>
                      <a:pt x="44" y="0"/>
                    </a:lnTo>
                    <a:lnTo>
                      <a:pt x="44" y="0"/>
                    </a:lnTo>
                    <a:lnTo>
                      <a:pt x="57" y="1"/>
                    </a:lnTo>
                    <a:lnTo>
                      <a:pt x="70" y="4"/>
                    </a:lnTo>
                    <a:lnTo>
                      <a:pt x="70" y="4"/>
                    </a:lnTo>
                    <a:lnTo>
                      <a:pt x="75" y="6"/>
                    </a:lnTo>
                    <a:lnTo>
                      <a:pt x="80" y="9"/>
                    </a:lnTo>
                    <a:lnTo>
                      <a:pt x="85" y="12"/>
                    </a:lnTo>
                    <a:lnTo>
                      <a:pt x="89" y="16"/>
                    </a:lnTo>
                    <a:lnTo>
                      <a:pt x="89" y="16"/>
                    </a:lnTo>
                    <a:lnTo>
                      <a:pt x="92" y="20"/>
                    </a:lnTo>
                    <a:lnTo>
                      <a:pt x="95" y="24"/>
                    </a:lnTo>
                    <a:lnTo>
                      <a:pt x="96" y="29"/>
                    </a:lnTo>
                    <a:lnTo>
                      <a:pt x="96" y="34"/>
                    </a:lnTo>
                    <a:lnTo>
                      <a:pt x="96" y="34"/>
                    </a:lnTo>
                    <a:lnTo>
                      <a:pt x="95" y="41"/>
                    </a:lnTo>
                    <a:lnTo>
                      <a:pt x="92" y="48"/>
                    </a:lnTo>
                    <a:lnTo>
                      <a:pt x="92" y="48"/>
                    </a:lnTo>
                    <a:lnTo>
                      <a:pt x="87" y="53"/>
                    </a:lnTo>
                    <a:lnTo>
                      <a:pt x="81" y="58"/>
                    </a:lnTo>
                    <a:lnTo>
                      <a:pt x="81" y="58"/>
                    </a:lnTo>
                    <a:lnTo>
                      <a:pt x="85" y="59"/>
                    </a:lnTo>
                    <a:lnTo>
                      <a:pt x="89" y="62"/>
                    </a:lnTo>
                    <a:lnTo>
                      <a:pt x="93" y="65"/>
                    </a:lnTo>
                    <a:lnTo>
                      <a:pt x="96" y="68"/>
                    </a:lnTo>
                    <a:lnTo>
                      <a:pt x="96" y="6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13">
                <a:extLst>
                  <a:ext uri="{FF2B5EF4-FFF2-40B4-BE49-F238E27FC236}">
                    <a16:creationId xmlns:a16="http://schemas.microsoft.com/office/drawing/2014/main" id="{62459577-B0C2-4634-9DC5-90B95C836BCD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1256966" y="1377950"/>
                <a:ext cx="101600" cy="93662"/>
              </a:xfrm>
              <a:custGeom>
                <a:avLst/>
                <a:gdLst>
                  <a:gd name="T0" fmla="*/ 31 w 128"/>
                  <a:gd name="T1" fmla="*/ 112 h 119"/>
                  <a:gd name="T2" fmla="*/ 21 w 128"/>
                  <a:gd name="T3" fmla="*/ 105 h 119"/>
                  <a:gd name="T4" fmla="*/ 7 w 128"/>
                  <a:gd name="T5" fmla="*/ 87 h 119"/>
                  <a:gd name="T6" fmla="*/ 0 w 128"/>
                  <a:gd name="T7" fmla="*/ 65 h 119"/>
                  <a:gd name="T8" fmla="*/ 2 w 128"/>
                  <a:gd name="T9" fmla="*/ 43 h 119"/>
                  <a:gd name="T10" fmla="*/ 7 w 128"/>
                  <a:gd name="T11" fmla="*/ 32 h 119"/>
                  <a:gd name="T12" fmla="*/ 11 w 128"/>
                  <a:gd name="T13" fmla="*/ 24 h 119"/>
                  <a:gd name="T14" fmla="*/ 24 w 128"/>
                  <a:gd name="T15" fmla="*/ 12 h 119"/>
                  <a:gd name="T16" fmla="*/ 31 w 128"/>
                  <a:gd name="T17" fmla="*/ 7 h 119"/>
                  <a:gd name="T18" fmla="*/ 47 w 128"/>
                  <a:gd name="T19" fmla="*/ 2 h 119"/>
                  <a:gd name="T20" fmla="*/ 65 w 128"/>
                  <a:gd name="T21" fmla="*/ 0 h 119"/>
                  <a:gd name="T22" fmla="*/ 81 w 128"/>
                  <a:gd name="T23" fmla="*/ 2 h 119"/>
                  <a:gd name="T24" fmla="*/ 97 w 128"/>
                  <a:gd name="T25" fmla="*/ 7 h 119"/>
                  <a:gd name="T26" fmla="*/ 102 w 128"/>
                  <a:gd name="T27" fmla="*/ 10 h 119"/>
                  <a:gd name="T28" fmla="*/ 115 w 128"/>
                  <a:gd name="T29" fmla="*/ 22 h 119"/>
                  <a:gd name="T30" fmla="*/ 126 w 128"/>
                  <a:gd name="T31" fmla="*/ 42 h 119"/>
                  <a:gd name="T32" fmla="*/ 128 w 128"/>
                  <a:gd name="T33" fmla="*/ 64 h 119"/>
                  <a:gd name="T34" fmla="*/ 124 w 128"/>
                  <a:gd name="T35" fmla="*/ 81 h 119"/>
                  <a:gd name="T36" fmla="*/ 122 w 128"/>
                  <a:gd name="T37" fmla="*/ 86 h 119"/>
                  <a:gd name="T38" fmla="*/ 111 w 128"/>
                  <a:gd name="T39" fmla="*/ 100 h 119"/>
                  <a:gd name="T40" fmla="*/ 97 w 128"/>
                  <a:gd name="T41" fmla="*/ 112 h 119"/>
                  <a:gd name="T42" fmla="*/ 89 w 128"/>
                  <a:gd name="T43" fmla="*/ 115 h 119"/>
                  <a:gd name="T44" fmla="*/ 73 w 128"/>
                  <a:gd name="T45" fmla="*/ 119 h 119"/>
                  <a:gd name="T46" fmla="*/ 56 w 128"/>
                  <a:gd name="T47" fmla="*/ 119 h 119"/>
                  <a:gd name="T48" fmla="*/ 39 w 128"/>
                  <a:gd name="T49" fmla="*/ 115 h 119"/>
                  <a:gd name="T50" fmla="*/ 31 w 128"/>
                  <a:gd name="T51" fmla="*/ 112 h 119"/>
                  <a:gd name="T52" fmla="*/ 80 w 128"/>
                  <a:gd name="T53" fmla="*/ 87 h 119"/>
                  <a:gd name="T54" fmla="*/ 91 w 128"/>
                  <a:gd name="T55" fmla="*/ 76 h 119"/>
                  <a:gd name="T56" fmla="*/ 94 w 128"/>
                  <a:gd name="T57" fmla="*/ 68 h 119"/>
                  <a:gd name="T58" fmla="*/ 94 w 128"/>
                  <a:gd name="T59" fmla="*/ 50 h 119"/>
                  <a:gd name="T60" fmla="*/ 91 w 128"/>
                  <a:gd name="T61" fmla="*/ 42 h 119"/>
                  <a:gd name="T62" fmla="*/ 80 w 128"/>
                  <a:gd name="T63" fmla="*/ 30 h 119"/>
                  <a:gd name="T64" fmla="*/ 73 w 128"/>
                  <a:gd name="T65" fmla="*/ 27 h 119"/>
                  <a:gd name="T66" fmla="*/ 57 w 128"/>
                  <a:gd name="T67" fmla="*/ 27 h 119"/>
                  <a:gd name="T68" fmla="*/ 48 w 128"/>
                  <a:gd name="T69" fmla="*/ 30 h 119"/>
                  <a:gd name="T70" fmla="*/ 37 w 128"/>
                  <a:gd name="T71" fmla="*/ 42 h 119"/>
                  <a:gd name="T72" fmla="*/ 34 w 128"/>
                  <a:gd name="T73" fmla="*/ 50 h 119"/>
                  <a:gd name="T74" fmla="*/ 34 w 128"/>
                  <a:gd name="T75" fmla="*/ 68 h 119"/>
                  <a:gd name="T76" fmla="*/ 37 w 128"/>
                  <a:gd name="T77" fmla="*/ 76 h 119"/>
                  <a:gd name="T78" fmla="*/ 48 w 128"/>
                  <a:gd name="T79" fmla="*/ 87 h 119"/>
                  <a:gd name="T80" fmla="*/ 57 w 128"/>
                  <a:gd name="T81" fmla="*/ 90 h 119"/>
                  <a:gd name="T82" fmla="*/ 73 w 128"/>
                  <a:gd name="T83" fmla="*/ 90 h 119"/>
                  <a:gd name="T84" fmla="*/ 80 w 128"/>
                  <a:gd name="T85" fmla="*/ 87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28" h="119">
                    <a:moveTo>
                      <a:pt x="31" y="112"/>
                    </a:moveTo>
                    <a:lnTo>
                      <a:pt x="31" y="112"/>
                    </a:lnTo>
                    <a:lnTo>
                      <a:pt x="26" y="109"/>
                    </a:lnTo>
                    <a:lnTo>
                      <a:pt x="21" y="105"/>
                    </a:lnTo>
                    <a:lnTo>
                      <a:pt x="13" y="96"/>
                    </a:lnTo>
                    <a:lnTo>
                      <a:pt x="7" y="87"/>
                    </a:lnTo>
                    <a:lnTo>
                      <a:pt x="3" y="76"/>
                    </a:lnTo>
                    <a:lnTo>
                      <a:pt x="0" y="65"/>
                    </a:lnTo>
                    <a:lnTo>
                      <a:pt x="0" y="54"/>
                    </a:lnTo>
                    <a:lnTo>
                      <a:pt x="2" y="43"/>
                    </a:lnTo>
                    <a:lnTo>
                      <a:pt x="4" y="37"/>
                    </a:lnTo>
                    <a:lnTo>
                      <a:pt x="7" y="32"/>
                    </a:lnTo>
                    <a:lnTo>
                      <a:pt x="7" y="32"/>
                    </a:lnTo>
                    <a:lnTo>
                      <a:pt x="11" y="24"/>
                    </a:lnTo>
                    <a:lnTo>
                      <a:pt x="17" y="18"/>
                    </a:lnTo>
                    <a:lnTo>
                      <a:pt x="24" y="12"/>
                    </a:lnTo>
                    <a:lnTo>
                      <a:pt x="31" y="7"/>
                    </a:lnTo>
                    <a:lnTo>
                      <a:pt x="31" y="7"/>
                    </a:lnTo>
                    <a:lnTo>
                      <a:pt x="39" y="4"/>
                    </a:lnTo>
                    <a:lnTo>
                      <a:pt x="47" y="2"/>
                    </a:lnTo>
                    <a:lnTo>
                      <a:pt x="56" y="0"/>
                    </a:lnTo>
                    <a:lnTo>
                      <a:pt x="65" y="0"/>
                    </a:lnTo>
                    <a:lnTo>
                      <a:pt x="73" y="0"/>
                    </a:lnTo>
                    <a:lnTo>
                      <a:pt x="81" y="2"/>
                    </a:lnTo>
                    <a:lnTo>
                      <a:pt x="89" y="4"/>
                    </a:lnTo>
                    <a:lnTo>
                      <a:pt x="97" y="7"/>
                    </a:lnTo>
                    <a:lnTo>
                      <a:pt x="97" y="7"/>
                    </a:lnTo>
                    <a:lnTo>
                      <a:pt x="102" y="10"/>
                    </a:lnTo>
                    <a:lnTo>
                      <a:pt x="107" y="14"/>
                    </a:lnTo>
                    <a:lnTo>
                      <a:pt x="115" y="22"/>
                    </a:lnTo>
                    <a:lnTo>
                      <a:pt x="121" y="31"/>
                    </a:lnTo>
                    <a:lnTo>
                      <a:pt x="126" y="42"/>
                    </a:lnTo>
                    <a:lnTo>
                      <a:pt x="128" y="53"/>
                    </a:lnTo>
                    <a:lnTo>
                      <a:pt x="128" y="64"/>
                    </a:lnTo>
                    <a:lnTo>
                      <a:pt x="126" y="75"/>
                    </a:lnTo>
                    <a:lnTo>
                      <a:pt x="124" y="81"/>
                    </a:lnTo>
                    <a:lnTo>
                      <a:pt x="122" y="86"/>
                    </a:lnTo>
                    <a:lnTo>
                      <a:pt x="122" y="86"/>
                    </a:lnTo>
                    <a:lnTo>
                      <a:pt x="117" y="94"/>
                    </a:lnTo>
                    <a:lnTo>
                      <a:pt x="111" y="100"/>
                    </a:lnTo>
                    <a:lnTo>
                      <a:pt x="105" y="107"/>
                    </a:lnTo>
                    <a:lnTo>
                      <a:pt x="97" y="112"/>
                    </a:lnTo>
                    <a:lnTo>
                      <a:pt x="97" y="112"/>
                    </a:lnTo>
                    <a:lnTo>
                      <a:pt x="89" y="115"/>
                    </a:lnTo>
                    <a:lnTo>
                      <a:pt x="81" y="117"/>
                    </a:lnTo>
                    <a:lnTo>
                      <a:pt x="73" y="119"/>
                    </a:lnTo>
                    <a:lnTo>
                      <a:pt x="65" y="119"/>
                    </a:lnTo>
                    <a:lnTo>
                      <a:pt x="56" y="119"/>
                    </a:lnTo>
                    <a:lnTo>
                      <a:pt x="47" y="117"/>
                    </a:lnTo>
                    <a:lnTo>
                      <a:pt x="39" y="115"/>
                    </a:lnTo>
                    <a:lnTo>
                      <a:pt x="31" y="112"/>
                    </a:lnTo>
                    <a:lnTo>
                      <a:pt x="31" y="112"/>
                    </a:lnTo>
                    <a:close/>
                    <a:moveTo>
                      <a:pt x="80" y="87"/>
                    </a:moveTo>
                    <a:lnTo>
                      <a:pt x="80" y="87"/>
                    </a:lnTo>
                    <a:lnTo>
                      <a:pt x="87" y="82"/>
                    </a:lnTo>
                    <a:lnTo>
                      <a:pt x="91" y="76"/>
                    </a:lnTo>
                    <a:lnTo>
                      <a:pt x="91" y="76"/>
                    </a:lnTo>
                    <a:lnTo>
                      <a:pt x="94" y="68"/>
                    </a:lnTo>
                    <a:lnTo>
                      <a:pt x="96" y="59"/>
                    </a:lnTo>
                    <a:lnTo>
                      <a:pt x="94" y="50"/>
                    </a:lnTo>
                    <a:lnTo>
                      <a:pt x="91" y="42"/>
                    </a:lnTo>
                    <a:lnTo>
                      <a:pt x="91" y="42"/>
                    </a:lnTo>
                    <a:lnTo>
                      <a:pt x="87" y="35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73" y="27"/>
                    </a:lnTo>
                    <a:lnTo>
                      <a:pt x="65" y="26"/>
                    </a:lnTo>
                    <a:lnTo>
                      <a:pt x="57" y="27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2" y="35"/>
                    </a:lnTo>
                    <a:lnTo>
                      <a:pt x="37" y="42"/>
                    </a:lnTo>
                    <a:lnTo>
                      <a:pt x="37" y="42"/>
                    </a:lnTo>
                    <a:lnTo>
                      <a:pt x="34" y="50"/>
                    </a:lnTo>
                    <a:lnTo>
                      <a:pt x="33" y="59"/>
                    </a:lnTo>
                    <a:lnTo>
                      <a:pt x="34" y="68"/>
                    </a:lnTo>
                    <a:lnTo>
                      <a:pt x="37" y="76"/>
                    </a:lnTo>
                    <a:lnTo>
                      <a:pt x="37" y="76"/>
                    </a:lnTo>
                    <a:lnTo>
                      <a:pt x="42" y="82"/>
                    </a:lnTo>
                    <a:lnTo>
                      <a:pt x="48" y="87"/>
                    </a:lnTo>
                    <a:lnTo>
                      <a:pt x="48" y="87"/>
                    </a:lnTo>
                    <a:lnTo>
                      <a:pt x="57" y="90"/>
                    </a:lnTo>
                    <a:lnTo>
                      <a:pt x="65" y="91"/>
                    </a:lnTo>
                    <a:lnTo>
                      <a:pt x="73" y="90"/>
                    </a:lnTo>
                    <a:lnTo>
                      <a:pt x="80" y="87"/>
                    </a:lnTo>
                    <a:lnTo>
                      <a:pt x="80" y="8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14">
                <a:extLst>
                  <a:ext uri="{FF2B5EF4-FFF2-40B4-BE49-F238E27FC236}">
                    <a16:creationId xmlns:a16="http://schemas.microsoft.com/office/drawing/2014/main" id="{B6CD1F8C-EE60-4388-8484-184019B46943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1374441" y="1379538"/>
                <a:ext cx="82550" cy="90487"/>
              </a:xfrm>
              <a:custGeom>
                <a:avLst/>
                <a:gdLst>
                  <a:gd name="T0" fmla="*/ 99 w 104"/>
                  <a:gd name="T1" fmla="*/ 64 h 115"/>
                  <a:gd name="T2" fmla="*/ 103 w 104"/>
                  <a:gd name="T3" fmla="*/ 72 h 115"/>
                  <a:gd name="T4" fmla="*/ 104 w 104"/>
                  <a:gd name="T5" fmla="*/ 81 h 115"/>
                  <a:gd name="T6" fmla="*/ 104 w 104"/>
                  <a:gd name="T7" fmla="*/ 88 h 115"/>
                  <a:gd name="T8" fmla="*/ 98 w 104"/>
                  <a:gd name="T9" fmla="*/ 101 h 115"/>
                  <a:gd name="T10" fmla="*/ 92 w 104"/>
                  <a:gd name="T11" fmla="*/ 106 h 115"/>
                  <a:gd name="T12" fmla="*/ 78 w 104"/>
                  <a:gd name="T13" fmla="*/ 113 h 115"/>
                  <a:gd name="T14" fmla="*/ 59 w 104"/>
                  <a:gd name="T15" fmla="*/ 115 h 115"/>
                  <a:gd name="T16" fmla="*/ 0 w 104"/>
                  <a:gd name="T17" fmla="*/ 0 h 115"/>
                  <a:gd name="T18" fmla="*/ 56 w 104"/>
                  <a:gd name="T19" fmla="*/ 0 h 115"/>
                  <a:gd name="T20" fmla="*/ 72 w 104"/>
                  <a:gd name="T21" fmla="*/ 2 h 115"/>
                  <a:gd name="T22" fmla="*/ 88 w 104"/>
                  <a:gd name="T23" fmla="*/ 8 h 115"/>
                  <a:gd name="T24" fmla="*/ 93 w 104"/>
                  <a:gd name="T25" fmla="*/ 12 h 115"/>
                  <a:gd name="T26" fmla="*/ 99 w 104"/>
                  <a:gd name="T27" fmla="*/ 23 h 115"/>
                  <a:gd name="T28" fmla="*/ 99 w 104"/>
                  <a:gd name="T29" fmla="*/ 30 h 115"/>
                  <a:gd name="T30" fmla="*/ 95 w 104"/>
                  <a:gd name="T31" fmla="*/ 45 h 115"/>
                  <a:gd name="T32" fmla="*/ 90 w 104"/>
                  <a:gd name="T33" fmla="*/ 50 h 115"/>
                  <a:gd name="T34" fmla="*/ 84 w 104"/>
                  <a:gd name="T35" fmla="*/ 54 h 115"/>
                  <a:gd name="T36" fmla="*/ 92 w 104"/>
                  <a:gd name="T37" fmla="*/ 58 h 115"/>
                  <a:gd name="T38" fmla="*/ 99 w 104"/>
                  <a:gd name="T39" fmla="*/ 64 h 115"/>
                  <a:gd name="T40" fmla="*/ 31 w 104"/>
                  <a:gd name="T41" fmla="*/ 46 h 115"/>
                  <a:gd name="T42" fmla="*/ 53 w 104"/>
                  <a:gd name="T43" fmla="*/ 46 h 115"/>
                  <a:gd name="T44" fmla="*/ 63 w 104"/>
                  <a:gd name="T45" fmla="*/ 43 h 115"/>
                  <a:gd name="T46" fmla="*/ 67 w 104"/>
                  <a:gd name="T47" fmla="*/ 34 h 115"/>
                  <a:gd name="T48" fmla="*/ 66 w 104"/>
                  <a:gd name="T49" fmla="*/ 29 h 115"/>
                  <a:gd name="T50" fmla="*/ 59 w 104"/>
                  <a:gd name="T51" fmla="*/ 24 h 115"/>
                  <a:gd name="T52" fmla="*/ 31 w 104"/>
                  <a:gd name="T53" fmla="*/ 23 h 115"/>
                  <a:gd name="T54" fmla="*/ 72 w 104"/>
                  <a:gd name="T55" fmla="*/ 79 h 115"/>
                  <a:gd name="T56" fmla="*/ 71 w 104"/>
                  <a:gd name="T57" fmla="*/ 74 h 115"/>
                  <a:gd name="T58" fmla="*/ 64 w 104"/>
                  <a:gd name="T59" fmla="*/ 68 h 115"/>
                  <a:gd name="T60" fmla="*/ 32 w 104"/>
                  <a:gd name="T61" fmla="*/ 67 h 115"/>
                  <a:gd name="T62" fmla="*/ 58 w 104"/>
                  <a:gd name="T63" fmla="*/ 91 h 115"/>
                  <a:gd name="T64" fmla="*/ 64 w 104"/>
                  <a:gd name="T65" fmla="*/ 90 h 115"/>
                  <a:gd name="T66" fmla="*/ 71 w 104"/>
                  <a:gd name="T67" fmla="*/ 84 h 115"/>
                  <a:gd name="T68" fmla="*/ 72 w 104"/>
                  <a:gd name="T69" fmla="*/ 79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4" h="115">
                    <a:moveTo>
                      <a:pt x="99" y="64"/>
                    </a:moveTo>
                    <a:lnTo>
                      <a:pt x="99" y="64"/>
                    </a:lnTo>
                    <a:lnTo>
                      <a:pt x="101" y="68"/>
                    </a:lnTo>
                    <a:lnTo>
                      <a:pt x="103" y="72"/>
                    </a:lnTo>
                    <a:lnTo>
                      <a:pt x="104" y="77"/>
                    </a:lnTo>
                    <a:lnTo>
                      <a:pt x="104" y="81"/>
                    </a:lnTo>
                    <a:lnTo>
                      <a:pt x="104" y="81"/>
                    </a:lnTo>
                    <a:lnTo>
                      <a:pt x="104" y="88"/>
                    </a:lnTo>
                    <a:lnTo>
                      <a:pt x="101" y="95"/>
                    </a:lnTo>
                    <a:lnTo>
                      <a:pt x="98" y="101"/>
                    </a:lnTo>
                    <a:lnTo>
                      <a:pt x="92" y="106"/>
                    </a:lnTo>
                    <a:lnTo>
                      <a:pt x="92" y="106"/>
                    </a:lnTo>
                    <a:lnTo>
                      <a:pt x="86" y="110"/>
                    </a:lnTo>
                    <a:lnTo>
                      <a:pt x="78" y="113"/>
                    </a:lnTo>
                    <a:lnTo>
                      <a:pt x="69" y="114"/>
                    </a:lnTo>
                    <a:lnTo>
                      <a:pt x="59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4" y="0"/>
                    </a:lnTo>
                    <a:lnTo>
                      <a:pt x="72" y="2"/>
                    </a:lnTo>
                    <a:lnTo>
                      <a:pt x="80" y="4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93" y="12"/>
                    </a:lnTo>
                    <a:lnTo>
                      <a:pt x="96" y="17"/>
                    </a:lnTo>
                    <a:lnTo>
                      <a:pt x="99" y="23"/>
                    </a:lnTo>
                    <a:lnTo>
                      <a:pt x="99" y="30"/>
                    </a:lnTo>
                    <a:lnTo>
                      <a:pt x="99" y="30"/>
                    </a:lnTo>
                    <a:lnTo>
                      <a:pt x="98" y="37"/>
                    </a:lnTo>
                    <a:lnTo>
                      <a:pt x="95" y="45"/>
                    </a:lnTo>
                    <a:lnTo>
                      <a:pt x="95" y="45"/>
                    </a:lnTo>
                    <a:lnTo>
                      <a:pt x="90" y="50"/>
                    </a:lnTo>
                    <a:lnTo>
                      <a:pt x="84" y="54"/>
                    </a:lnTo>
                    <a:lnTo>
                      <a:pt x="84" y="54"/>
                    </a:lnTo>
                    <a:lnTo>
                      <a:pt x="88" y="56"/>
                    </a:lnTo>
                    <a:lnTo>
                      <a:pt x="92" y="58"/>
                    </a:lnTo>
                    <a:lnTo>
                      <a:pt x="96" y="61"/>
                    </a:lnTo>
                    <a:lnTo>
                      <a:pt x="99" y="64"/>
                    </a:lnTo>
                    <a:lnTo>
                      <a:pt x="99" y="64"/>
                    </a:lnTo>
                    <a:close/>
                    <a:moveTo>
                      <a:pt x="31" y="46"/>
                    </a:moveTo>
                    <a:lnTo>
                      <a:pt x="53" y="46"/>
                    </a:lnTo>
                    <a:lnTo>
                      <a:pt x="53" y="46"/>
                    </a:lnTo>
                    <a:lnTo>
                      <a:pt x="59" y="45"/>
                    </a:lnTo>
                    <a:lnTo>
                      <a:pt x="63" y="43"/>
                    </a:lnTo>
                    <a:lnTo>
                      <a:pt x="66" y="39"/>
                    </a:lnTo>
                    <a:lnTo>
                      <a:pt x="67" y="34"/>
                    </a:lnTo>
                    <a:lnTo>
                      <a:pt x="67" y="34"/>
                    </a:lnTo>
                    <a:lnTo>
                      <a:pt x="66" y="29"/>
                    </a:lnTo>
                    <a:lnTo>
                      <a:pt x="63" y="26"/>
                    </a:lnTo>
                    <a:lnTo>
                      <a:pt x="59" y="24"/>
                    </a:lnTo>
                    <a:lnTo>
                      <a:pt x="53" y="23"/>
                    </a:lnTo>
                    <a:lnTo>
                      <a:pt x="31" y="23"/>
                    </a:lnTo>
                    <a:lnTo>
                      <a:pt x="31" y="46"/>
                    </a:lnTo>
                    <a:close/>
                    <a:moveTo>
                      <a:pt x="72" y="79"/>
                    </a:moveTo>
                    <a:lnTo>
                      <a:pt x="72" y="79"/>
                    </a:lnTo>
                    <a:lnTo>
                      <a:pt x="71" y="74"/>
                    </a:lnTo>
                    <a:lnTo>
                      <a:pt x="68" y="70"/>
                    </a:lnTo>
                    <a:lnTo>
                      <a:pt x="64" y="68"/>
                    </a:lnTo>
                    <a:lnTo>
                      <a:pt x="58" y="67"/>
                    </a:lnTo>
                    <a:lnTo>
                      <a:pt x="32" y="67"/>
                    </a:lnTo>
                    <a:lnTo>
                      <a:pt x="32" y="91"/>
                    </a:lnTo>
                    <a:lnTo>
                      <a:pt x="58" y="91"/>
                    </a:lnTo>
                    <a:lnTo>
                      <a:pt x="58" y="91"/>
                    </a:lnTo>
                    <a:lnTo>
                      <a:pt x="64" y="90"/>
                    </a:lnTo>
                    <a:lnTo>
                      <a:pt x="68" y="88"/>
                    </a:lnTo>
                    <a:lnTo>
                      <a:pt x="71" y="84"/>
                    </a:lnTo>
                    <a:lnTo>
                      <a:pt x="72" y="79"/>
                    </a:lnTo>
                    <a:lnTo>
                      <a:pt x="72" y="7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15">
                <a:extLst>
                  <a:ext uri="{FF2B5EF4-FFF2-40B4-BE49-F238E27FC236}">
                    <a16:creationId xmlns:a16="http://schemas.microsoft.com/office/drawing/2014/main" id="{532A4F17-2E3C-4C21-BF62-E417138C36A0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1474454" y="1379538"/>
                <a:ext cx="115888" cy="90487"/>
              </a:xfrm>
              <a:custGeom>
                <a:avLst/>
                <a:gdLst>
                  <a:gd name="T0" fmla="*/ 91 w 147"/>
                  <a:gd name="T1" fmla="*/ 46 h 115"/>
                  <a:gd name="T2" fmla="*/ 91 w 147"/>
                  <a:gd name="T3" fmla="*/ 46 h 115"/>
                  <a:gd name="T4" fmla="*/ 97 w 147"/>
                  <a:gd name="T5" fmla="*/ 51 h 115"/>
                  <a:gd name="T6" fmla="*/ 100 w 147"/>
                  <a:gd name="T7" fmla="*/ 58 h 115"/>
                  <a:gd name="T8" fmla="*/ 103 w 147"/>
                  <a:gd name="T9" fmla="*/ 66 h 115"/>
                  <a:gd name="T10" fmla="*/ 103 w 147"/>
                  <a:gd name="T11" fmla="*/ 73 h 115"/>
                  <a:gd name="T12" fmla="*/ 103 w 147"/>
                  <a:gd name="T13" fmla="*/ 73 h 115"/>
                  <a:gd name="T14" fmla="*/ 102 w 147"/>
                  <a:gd name="T15" fmla="*/ 82 h 115"/>
                  <a:gd name="T16" fmla="*/ 100 w 147"/>
                  <a:gd name="T17" fmla="*/ 90 h 115"/>
                  <a:gd name="T18" fmla="*/ 96 w 147"/>
                  <a:gd name="T19" fmla="*/ 97 h 115"/>
                  <a:gd name="T20" fmla="*/ 90 w 147"/>
                  <a:gd name="T21" fmla="*/ 104 h 115"/>
                  <a:gd name="T22" fmla="*/ 90 w 147"/>
                  <a:gd name="T23" fmla="*/ 104 h 115"/>
                  <a:gd name="T24" fmla="*/ 82 w 147"/>
                  <a:gd name="T25" fmla="*/ 109 h 115"/>
                  <a:gd name="T26" fmla="*/ 73 w 147"/>
                  <a:gd name="T27" fmla="*/ 113 h 115"/>
                  <a:gd name="T28" fmla="*/ 64 w 147"/>
                  <a:gd name="T29" fmla="*/ 115 h 115"/>
                  <a:gd name="T30" fmla="*/ 55 w 147"/>
                  <a:gd name="T31" fmla="*/ 115 h 115"/>
                  <a:gd name="T32" fmla="*/ 0 w 147"/>
                  <a:gd name="T33" fmla="*/ 115 h 115"/>
                  <a:gd name="T34" fmla="*/ 0 w 147"/>
                  <a:gd name="T35" fmla="*/ 0 h 115"/>
                  <a:gd name="T36" fmla="*/ 32 w 147"/>
                  <a:gd name="T37" fmla="*/ 0 h 115"/>
                  <a:gd name="T38" fmla="*/ 32 w 147"/>
                  <a:gd name="T39" fmla="*/ 36 h 115"/>
                  <a:gd name="T40" fmla="*/ 59 w 147"/>
                  <a:gd name="T41" fmla="*/ 36 h 115"/>
                  <a:gd name="T42" fmla="*/ 59 w 147"/>
                  <a:gd name="T43" fmla="*/ 36 h 115"/>
                  <a:gd name="T44" fmla="*/ 68 w 147"/>
                  <a:gd name="T45" fmla="*/ 37 h 115"/>
                  <a:gd name="T46" fmla="*/ 76 w 147"/>
                  <a:gd name="T47" fmla="*/ 38 h 115"/>
                  <a:gd name="T48" fmla="*/ 84 w 147"/>
                  <a:gd name="T49" fmla="*/ 41 h 115"/>
                  <a:gd name="T50" fmla="*/ 91 w 147"/>
                  <a:gd name="T51" fmla="*/ 46 h 115"/>
                  <a:gd name="T52" fmla="*/ 91 w 147"/>
                  <a:gd name="T53" fmla="*/ 46 h 115"/>
                  <a:gd name="T54" fmla="*/ 66 w 147"/>
                  <a:gd name="T55" fmla="*/ 86 h 115"/>
                  <a:gd name="T56" fmla="*/ 66 w 147"/>
                  <a:gd name="T57" fmla="*/ 86 h 115"/>
                  <a:gd name="T58" fmla="*/ 68 w 147"/>
                  <a:gd name="T59" fmla="*/ 84 h 115"/>
                  <a:gd name="T60" fmla="*/ 69 w 147"/>
                  <a:gd name="T61" fmla="*/ 81 h 115"/>
                  <a:gd name="T62" fmla="*/ 70 w 147"/>
                  <a:gd name="T63" fmla="*/ 77 h 115"/>
                  <a:gd name="T64" fmla="*/ 71 w 147"/>
                  <a:gd name="T65" fmla="*/ 74 h 115"/>
                  <a:gd name="T66" fmla="*/ 71 w 147"/>
                  <a:gd name="T67" fmla="*/ 74 h 115"/>
                  <a:gd name="T68" fmla="*/ 70 w 147"/>
                  <a:gd name="T69" fmla="*/ 71 h 115"/>
                  <a:gd name="T70" fmla="*/ 70 w 147"/>
                  <a:gd name="T71" fmla="*/ 68 h 115"/>
                  <a:gd name="T72" fmla="*/ 68 w 147"/>
                  <a:gd name="T73" fmla="*/ 65 h 115"/>
                  <a:gd name="T74" fmla="*/ 66 w 147"/>
                  <a:gd name="T75" fmla="*/ 63 h 115"/>
                  <a:gd name="T76" fmla="*/ 64 w 147"/>
                  <a:gd name="T77" fmla="*/ 61 h 115"/>
                  <a:gd name="T78" fmla="*/ 61 w 147"/>
                  <a:gd name="T79" fmla="*/ 60 h 115"/>
                  <a:gd name="T80" fmla="*/ 53 w 147"/>
                  <a:gd name="T81" fmla="*/ 59 h 115"/>
                  <a:gd name="T82" fmla="*/ 32 w 147"/>
                  <a:gd name="T83" fmla="*/ 59 h 115"/>
                  <a:gd name="T84" fmla="*/ 32 w 147"/>
                  <a:gd name="T85" fmla="*/ 91 h 115"/>
                  <a:gd name="T86" fmla="*/ 53 w 147"/>
                  <a:gd name="T87" fmla="*/ 91 h 115"/>
                  <a:gd name="T88" fmla="*/ 53 w 147"/>
                  <a:gd name="T89" fmla="*/ 91 h 115"/>
                  <a:gd name="T90" fmla="*/ 56 w 147"/>
                  <a:gd name="T91" fmla="*/ 91 h 115"/>
                  <a:gd name="T92" fmla="*/ 60 w 147"/>
                  <a:gd name="T93" fmla="*/ 90 h 115"/>
                  <a:gd name="T94" fmla="*/ 63 w 147"/>
                  <a:gd name="T95" fmla="*/ 88 h 115"/>
                  <a:gd name="T96" fmla="*/ 66 w 147"/>
                  <a:gd name="T97" fmla="*/ 86 h 115"/>
                  <a:gd name="T98" fmla="*/ 66 w 147"/>
                  <a:gd name="T99" fmla="*/ 86 h 115"/>
                  <a:gd name="T100" fmla="*/ 115 w 147"/>
                  <a:gd name="T101" fmla="*/ 0 h 115"/>
                  <a:gd name="T102" fmla="*/ 147 w 147"/>
                  <a:gd name="T103" fmla="*/ 0 h 115"/>
                  <a:gd name="T104" fmla="*/ 147 w 147"/>
                  <a:gd name="T105" fmla="*/ 115 h 115"/>
                  <a:gd name="T106" fmla="*/ 115 w 147"/>
                  <a:gd name="T107" fmla="*/ 115 h 115"/>
                  <a:gd name="T108" fmla="*/ 115 w 147"/>
                  <a:gd name="T109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47" h="115">
                    <a:moveTo>
                      <a:pt x="91" y="46"/>
                    </a:moveTo>
                    <a:lnTo>
                      <a:pt x="91" y="46"/>
                    </a:lnTo>
                    <a:lnTo>
                      <a:pt x="97" y="51"/>
                    </a:lnTo>
                    <a:lnTo>
                      <a:pt x="100" y="58"/>
                    </a:lnTo>
                    <a:lnTo>
                      <a:pt x="103" y="66"/>
                    </a:lnTo>
                    <a:lnTo>
                      <a:pt x="103" y="73"/>
                    </a:lnTo>
                    <a:lnTo>
                      <a:pt x="103" y="73"/>
                    </a:lnTo>
                    <a:lnTo>
                      <a:pt x="102" y="82"/>
                    </a:lnTo>
                    <a:lnTo>
                      <a:pt x="100" y="90"/>
                    </a:lnTo>
                    <a:lnTo>
                      <a:pt x="96" y="97"/>
                    </a:lnTo>
                    <a:lnTo>
                      <a:pt x="90" y="104"/>
                    </a:lnTo>
                    <a:lnTo>
                      <a:pt x="90" y="104"/>
                    </a:lnTo>
                    <a:lnTo>
                      <a:pt x="82" y="109"/>
                    </a:lnTo>
                    <a:lnTo>
                      <a:pt x="73" y="113"/>
                    </a:lnTo>
                    <a:lnTo>
                      <a:pt x="64" y="115"/>
                    </a:lnTo>
                    <a:lnTo>
                      <a:pt x="55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2" y="0"/>
                    </a:lnTo>
                    <a:lnTo>
                      <a:pt x="32" y="36"/>
                    </a:lnTo>
                    <a:lnTo>
                      <a:pt x="59" y="36"/>
                    </a:lnTo>
                    <a:lnTo>
                      <a:pt x="59" y="36"/>
                    </a:lnTo>
                    <a:lnTo>
                      <a:pt x="68" y="37"/>
                    </a:lnTo>
                    <a:lnTo>
                      <a:pt x="76" y="38"/>
                    </a:lnTo>
                    <a:lnTo>
                      <a:pt x="84" y="41"/>
                    </a:lnTo>
                    <a:lnTo>
                      <a:pt x="91" y="46"/>
                    </a:lnTo>
                    <a:lnTo>
                      <a:pt x="91" y="46"/>
                    </a:lnTo>
                    <a:close/>
                    <a:moveTo>
                      <a:pt x="66" y="86"/>
                    </a:moveTo>
                    <a:lnTo>
                      <a:pt x="66" y="86"/>
                    </a:lnTo>
                    <a:lnTo>
                      <a:pt x="68" y="84"/>
                    </a:lnTo>
                    <a:lnTo>
                      <a:pt x="69" y="81"/>
                    </a:lnTo>
                    <a:lnTo>
                      <a:pt x="70" y="77"/>
                    </a:lnTo>
                    <a:lnTo>
                      <a:pt x="71" y="74"/>
                    </a:lnTo>
                    <a:lnTo>
                      <a:pt x="71" y="74"/>
                    </a:lnTo>
                    <a:lnTo>
                      <a:pt x="70" y="71"/>
                    </a:lnTo>
                    <a:lnTo>
                      <a:pt x="70" y="68"/>
                    </a:lnTo>
                    <a:lnTo>
                      <a:pt x="68" y="65"/>
                    </a:lnTo>
                    <a:lnTo>
                      <a:pt x="66" y="63"/>
                    </a:lnTo>
                    <a:lnTo>
                      <a:pt x="64" y="61"/>
                    </a:lnTo>
                    <a:lnTo>
                      <a:pt x="61" y="60"/>
                    </a:lnTo>
                    <a:lnTo>
                      <a:pt x="53" y="59"/>
                    </a:lnTo>
                    <a:lnTo>
                      <a:pt x="32" y="59"/>
                    </a:lnTo>
                    <a:lnTo>
                      <a:pt x="32" y="91"/>
                    </a:lnTo>
                    <a:lnTo>
                      <a:pt x="53" y="91"/>
                    </a:lnTo>
                    <a:lnTo>
                      <a:pt x="53" y="91"/>
                    </a:lnTo>
                    <a:lnTo>
                      <a:pt x="56" y="91"/>
                    </a:lnTo>
                    <a:lnTo>
                      <a:pt x="60" y="90"/>
                    </a:lnTo>
                    <a:lnTo>
                      <a:pt x="63" y="88"/>
                    </a:lnTo>
                    <a:lnTo>
                      <a:pt x="66" y="86"/>
                    </a:lnTo>
                    <a:lnTo>
                      <a:pt x="66" y="86"/>
                    </a:lnTo>
                    <a:close/>
                    <a:moveTo>
                      <a:pt x="115" y="0"/>
                    </a:moveTo>
                    <a:lnTo>
                      <a:pt x="147" y="0"/>
                    </a:lnTo>
                    <a:lnTo>
                      <a:pt x="147" y="115"/>
                    </a:lnTo>
                    <a:lnTo>
                      <a:pt x="115" y="115"/>
                    </a:lnTo>
                    <a:lnTo>
                      <a:pt x="11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16">
                <a:extLst>
                  <a:ext uri="{FF2B5EF4-FFF2-40B4-BE49-F238E27FC236}">
                    <a16:creationId xmlns:a16="http://schemas.microsoft.com/office/drawing/2014/main" id="{E36FF132-7011-43C3-BBDF-E82D9C24524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344154" y="1535113"/>
                <a:ext cx="85725" cy="90487"/>
              </a:xfrm>
              <a:custGeom>
                <a:avLst/>
                <a:gdLst>
                  <a:gd name="T0" fmla="*/ 109 w 109"/>
                  <a:gd name="T1" fmla="*/ 0 h 115"/>
                  <a:gd name="T2" fmla="*/ 109 w 109"/>
                  <a:gd name="T3" fmla="*/ 115 h 115"/>
                  <a:gd name="T4" fmla="*/ 77 w 109"/>
                  <a:gd name="T5" fmla="*/ 115 h 115"/>
                  <a:gd name="T6" fmla="*/ 77 w 109"/>
                  <a:gd name="T7" fmla="*/ 71 h 115"/>
                  <a:gd name="T8" fmla="*/ 32 w 109"/>
                  <a:gd name="T9" fmla="*/ 71 h 115"/>
                  <a:gd name="T10" fmla="*/ 32 w 109"/>
                  <a:gd name="T11" fmla="*/ 115 h 115"/>
                  <a:gd name="T12" fmla="*/ 0 w 109"/>
                  <a:gd name="T13" fmla="*/ 115 h 115"/>
                  <a:gd name="T14" fmla="*/ 0 w 109"/>
                  <a:gd name="T15" fmla="*/ 0 h 115"/>
                  <a:gd name="T16" fmla="*/ 32 w 109"/>
                  <a:gd name="T17" fmla="*/ 0 h 115"/>
                  <a:gd name="T18" fmla="*/ 32 w 109"/>
                  <a:gd name="T19" fmla="*/ 43 h 115"/>
                  <a:gd name="T20" fmla="*/ 77 w 109"/>
                  <a:gd name="T21" fmla="*/ 43 h 115"/>
                  <a:gd name="T22" fmla="*/ 77 w 109"/>
                  <a:gd name="T23" fmla="*/ 0 h 115"/>
                  <a:gd name="T24" fmla="*/ 109 w 109"/>
                  <a:gd name="T25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9" h="115">
                    <a:moveTo>
                      <a:pt x="109" y="0"/>
                    </a:moveTo>
                    <a:lnTo>
                      <a:pt x="109" y="115"/>
                    </a:lnTo>
                    <a:lnTo>
                      <a:pt x="77" y="115"/>
                    </a:lnTo>
                    <a:lnTo>
                      <a:pt x="77" y="71"/>
                    </a:lnTo>
                    <a:lnTo>
                      <a:pt x="32" y="71"/>
                    </a:lnTo>
                    <a:lnTo>
                      <a:pt x="3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2" y="0"/>
                    </a:lnTo>
                    <a:lnTo>
                      <a:pt x="32" y="43"/>
                    </a:lnTo>
                    <a:lnTo>
                      <a:pt x="77" y="43"/>
                    </a:lnTo>
                    <a:lnTo>
                      <a:pt x="77" y="0"/>
                    </a:lnTo>
                    <a:lnTo>
                      <a:pt x="109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17">
                <a:extLst>
                  <a:ext uri="{FF2B5EF4-FFF2-40B4-BE49-F238E27FC236}">
                    <a16:creationId xmlns:a16="http://schemas.microsoft.com/office/drawing/2014/main" id="{1775B0F9-D056-4332-8A76-D1EA9EB32DBA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447341" y="1533525"/>
                <a:ext cx="101600" cy="95250"/>
              </a:xfrm>
              <a:custGeom>
                <a:avLst/>
                <a:gdLst>
                  <a:gd name="T0" fmla="*/ 31 w 128"/>
                  <a:gd name="T1" fmla="*/ 112 h 120"/>
                  <a:gd name="T2" fmla="*/ 21 w 128"/>
                  <a:gd name="T3" fmla="*/ 105 h 120"/>
                  <a:gd name="T4" fmla="*/ 6 w 128"/>
                  <a:gd name="T5" fmla="*/ 88 h 120"/>
                  <a:gd name="T6" fmla="*/ 0 w 128"/>
                  <a:gd name="T7" fmla="*/ 67 h 120"/>
                  <a:gd name="T8" fmla="*/ 2 w 128"/>
                  <a:gd name="T9" fmla="*/ 43 h 120"/>
                  <a:gd name="T10" fmla="*/ 6 w 128"/>
                  <a:gd name="T11" fmla="*/ 32 h 120"/>
                  <a:gd name="T12" fmla="*/ 11 w 128"/>
                  <a:gd name="T13" fmla="*/ 25 h 120"/>
                  <a:gd name="T14" fmla="*/ 23 w 128"/>
                  <a:gd name="T15" fmla="*/ 12 h 120"/>
                  <a:gd name="T16" fmla="*/ 31 w 128"/>
                  <a:gd name="T17" fmla="*/ 8 h 120"/>
                  <a:gd name="T18" fmla="*/ 46 w 128"/>
                  <a:gd name="T19" fmla="*/ 2 h 120"/>
                  <a:gd name="T20" fmla="*/ 64 w 128"/>
                  <a:gd name="T21" fmla="*/ 0 h 120"/>
                  <a:gd name="T22" fmla="*/ 81 w 128"/>
                  <a:gd name="T23" fmla="*/ 2 h 120"/>
                  <a:gd name="T24" fmla="*/ 97 w 128"/>
                  <a:gd name="T25" fmla="*/ 8 h 120"/>
                  <a:gd name="T26" fmla="*/ 102 w 128"/>
                  <a:gd name="T27" fmla="*/ 11 h 120"/>
                  <a:gd name="T28" fmla="*/ 115 w 128"/>
                  <a:gd name="T29" fmla="*/ 22 h 120"/>
                  <a:gd name="T30" fmla="*/ 125 w 128"/>
                  <a:gd name="T31" fmla="*/ 42 h 120"/>
                  <a:gd name="T32" fmla="*/ 128 w 128"/>
                  <a:gd name="T33" fmla="*/ 65 h 120"/>
                  <a:gd name="T34" fmla="*/ 124 w 128"/>
                  <a:gd name="T35" fmla="*/ 82 h 120"/>
                  <a:gd name="T36" fmla="*/ 121 w 128"/>
                  <a:gd name="T37" fmla="*/ 87 h 120"/>
                  <a:gd name="T38" fmla="*/ 111 w 128"/>
                  <a:gd name="T39" fmla="*/ 101 h 120"/>
                  <a:gd name="T40" fmla="*/ 97 w 128"/>
                  <a:gd name="T41" fmla="*/ 112 h 120"/>
                  <a:gd name="T42" fmla="*/ 89 w 128"/>
                  <a:gd name="T43" fmla="*/ 115 h 120"/>
                  <a:gd name="T44" fmla="*/ 72 w 128"/>
                  <a:gd name="T45" fmla="*/ 119 h 120"/>
                  <a:gd name="T46" fmla="*/ 55 w 128"/>
                  <a:gd name="T47" fmla="*/ 119 h 120"/>
                  <a:gd name="T48" fmla="*/ 38 w 128"/>
                  <a:gd name="T49" fmla="*/ 115 h 120"/>
                  <a:gd name="T50" fmla="*/ 31 w 128"/>
                  <a:gd name="T51" fmla="*/ 112 h 120"/>
                  <a:gd name="T52" fmla="*/ 80 w 128"/>
                  <a:gd name="T53" fmla="*/ 89 h 120"/>
                  <a:gd name="T54" fmla="*/ 91 w 128"/>
                  <a:gd name="T55" fmla="*/ 77 h 120"/>
                  <a:gd name="T56" fmla="*/ 94 w 128"/>
                  <a:gd name="T57" fmla="*/ 69 h 120"/>
                  <a:gd name="T58" fmla="*/ 94 w 128"/>
                  <a:gd name="T59" fmla="*/ 52 h 120"/>
                  <a:gd name="T60" fmla="*/ 91 w 128"/>
                  <a:gd name="T61" fmla="*/ 42 h 120"/>
                  <a:gd name="T62" fmla="*/ 80 w 128"/>
                  <a:gd name="T63" fmla="*/ 31 h 120"/>
                  <a:gd name="T64" fmla="*/ 72 w 128"/>
                  <a:gd name="T65" fmla="*/ 28 h 120"/>
                  <a:gd name="T66" fmla="*/ 55 w 128"/>
                  <a:gd name="T67" fmla="*/ 28 h 120"/>
                  <a:gd name="T68" fmla="*/ 47 w 128"/>
                  <a:gd name="T69" fmla="*/ 31 h 120"/>
                  <a:gd name="T70" fmla="*/ 36 w 128"/>
                  <a:gd name="T71" fmla="*/ 42 h 120"/>
                  <a:gd name="T72" fmla="*/ 33 w 128"/>
                  <a:gd name="T73" fmla="*/ 52 h 120"/>
                  <a:gd name="T74" fmla="*/ 33 w 128"/>
                  <a:gd name="T75" fmla="*/ 69 h 120"/>
                  <a:gd name="T76" fmla="*/ 36 w 128"/>
                  <a:gd name="T77" fmla="*/ 77 h 120"/>
                  <a:gd name="T78" fmla="*/ 47 w 128"/>
                  <a:gd name="T79" fmla="*/ 89 h 120"/>
                  <a:gd name="T80" fmla="*/ 55 w 128"/>
                  <a:gd name="T81" fmla="*/ 92 h 120"/>
                  <a:gd name="T82" fmla="*/ 72 w 128"/>
                  <a:gd name="T83" fmla="*/ 92 h 120"/>
                  <a:gd name="T84" fmla="*/ 80 w 128"/>
                  <a:gd name="T85" fmla="*/ 89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28" h="120">
                    <a:moveTo>
                      <a:pt x="31" y="112"/>
                    </a:moveTo>
                    <a:lnTo>
                      <a:pt x="31" y="112"/>
                    </a:lnTo>
                    <a:lnTo>
                      <a:pt x="25" y="109"/>
                    </a:lnTo>
                    <a:lnTo>
                      <a:pt x="21" y="105"/>
                    </a:lnTo>
                    <a:lnTo>
                      <a:pt x="13" y="97"/>
                    </a:lnTo>
                    <a:lnTo>
                      <a:pt x="6" y="88"/>
                    </a:lnTo>
                    <a:lnTo>
                      <a:pt x="2" y="78"/>
                    </a:lnTo>
                    <a:lnTo>
                      <a:pt x="0" y="67"/>
                    </a:lnTo>
                    <a:lnTo>
                      <a:pt x="0" y="55"/>
                    </a:lnTo>
                    <a:lnTo>
                      <a:pt x="2" y="43"/>
                    </a:lnTo>
                    <a:lnTo>
                      <a:pt x="4" y="38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11" y="25"/>
                    </a:lnTo>
                    <a:lnTo>
                      <a:pt x="16" y="18"/>
                    </a:lnTo>
                    <a:lnTo>
                      <a:pt x="23" y="12"/>
                    </a:lnTo>
                    <a:lnTo>
                      <a:pt x="31" y="8"/>
                    </a:lnTo>
                    <a:lnTo>
                      <a:pt x="31" y="8"/>
                    </a:lnTo>
                    <a:lnTo>
                      <a:pt x="38" y="4"/>
                    </a:lnTo>
                    <a:lnTo>
                      <a:pt x="46" y="2"/>
                    </a:lnTo>
                    <a:lnTo>
                      <a:pt x="55" y="0"/>
                    </a:lnTo>
                    <a:lnTo>
                      <a:pt x="64" y="0"/>
                    </a:lnTo>
                    <a:lnTo>
                      <a:pt x="72" y="0"/>
                    </a:lnTo>
                    <a:lnTo>
                      <a:pt x="81" y="2"/>
                    </a:lnTo>
                    <a:lnTo>
                      <a:pt x="89" y="4"/>
                    </a:lnTo>
                    <a:lnTo>
                      <a:pt x="97" y="8"/>
                    </a:lnTo>
                    <a:lnTo>
                      <a:pt x="97" y="8"/>
                    </a:lnTo>
                    <a:lnTo>
                      <a:pt x="102" y="11"/>
                    </a:lnTo>
                    <a:lnTo>
                      <a:pt x="106" y="14"/>
                    </a:lnTo>
                    <a:lnTo>
                      <a:pt x="115" y="22"/>
                    </a:lnTo>
                    <a:lnTo>
                      <a:pt x="121" y="32"/>
                    </a:lnTo>
                    <a:lnTo>
                      <a:pt x="125" y="42"/>
                    </a:lnTo>
                    <a:lnTo>
                      <a:pt x="127" y="54"/>
                    </a:lnTo>
                    <a:lnTo>
                      <a:pt x="128" y="65"/>
                    </a:lnTo>
                    <a:lnTo>
                      <a:pt x="126" y="76"/>
                    </a:lnTo>
                    <a:lnTo>
                      <a:pt x="124" y="82"/>
                    </a:lnTo>
                    <a:lnTo>
                      <a:pt x="121" y="87"/>
                    </a:lnTo>
                    <a:lnTo>
                      <a:pt x="121" y="87"/>
                    </a:lnTo>
                    <a:lnTo>
                      <a:pt x="116" y="95"/>
                    </a:lnTo>
                    <a:lnTo>
                      <a:pt x="111" y="101"/>
                    </a:lnTo>
                    <a:lnTo>
                      <a:pt x="104" y="107"/>
                    </a:lnTo>
                    <a:lnTo>
                      <a:pt x="97" y="112"/>
                    </a:lnTo>
                    <a:lnTo>
                      <a:pt x="97" y="112"/>
                    </a:lnTo>
                    <a:lnTo>
                      <a:pt x="89" y="115"/>
                    </a:lnTo>
                    <a:lnTo>
                      <a:pt x="81" y="118"/>
                    </a:lnTo>
                    <a:lnTo>
                      <a:pt x="72" y="119"/>
                    </a:lnTo>
                    <a:lnTo>
                      <a:pt x="64" y="120"/>
                    </a:lnTo>
                    <a:lnTo>
                      <a:pt x="55" y="119"/>
                    </a:lnTo>
                    <a:lnTo>
                      <a:pt x="46" y="118"/>
                    </a:lnTo>
                    <a:lnTo>
                      <a:pt x="38" y="115"/>
                    </a:lnTo>
                    <a:lnTo>
                      <a:pt x="31" y="112"/>
                    </a:lnTo>
                    <a:lnTo>
                      <a:pt x="31" y="112"/>
                    </a:lnTo>
                    <a:close/>
                    <a:moveTo>
                      <a:pt x="80" y="89"/>
                    </a:moveTo>
                    <a:lnTo>
                      <a:pt x="80" y="89"/>
                    </a:lnTo>
                    <a:lnTo>
                      <a:pt x="86" y="84"/>
                    </a:lnTo>
                    <a:lnTo>
                      <a:pt x="91" y="77"/>
                    </a:lnTo>
                    <a:lnTo>
                      <a:pt x="91" y="77"/>
                    </a:lnTo>
                    <a:lnTo>
                      <a:pt x="94" y="69"/>
                    </a:lnTo>
                    <a:lnTo>
                      <a:pt x="95" y="60"/>
                    </a:lnTo>
                    <a:lnTo>
                      <a:pt x="94" y="52"/>
                    </a:lnTo>
                    <a:lnTo>
                      <a:pt x="91" y="42"/>
                    </a:lnTo>
                    <a:lnTo>
                      <a:pt x="91" y="42"/>
                    </a:lnTo>
                    <a:lnTo>
                      <a:pt x="86" y="36"/>
                    </a:lnTo>
                    <a:lnTo>
                      <a:pt x="80" y="31"/>
                    </a:lnTo>
                    <a:lnTo>
                      <a:pt x="80" y="31"/>
                    </a:lnTo>
                    <a:lnTo>
                      <a:pt x="72" y="28"/>
                    </a:lnTo>
                    <a:lnTo>
                      <a:pt x="64" y="27"/>
                    </a:lnTo>
                    <a:lnTo>
                      <a:pt x="55" y="28"/>
                    </a:lnTo>
                    <a:lnTo>
                      <a:pt x="47" y="31"/>
                    </a:lnTo>
                    <a:lnTo>
                      <a:pt x="47" y="31"/>
                    </a:lnTo>
                    <a:lnTo>
                      <a:pt x="41" y="36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3" y="52"/>
                    </a:lnTo>
                    <a:lnTo>
                      <a:pt x="32" y="60"/>
                    </a:lnTo>
                    <a:lnTo>
                      <a:pt x="33" y="69"/>
                    </a:lnTo>
                    <a:lnTo>
                      <a:pt x="36" y="77"/>
                    </a:lnTo>
                    <a:lnTo>
                      <a:pt x="36" y="77"/>
                    </a:lnTo>
                    <a:lnTo>
                      <a:pt x="41" y="84"/>
                    </a:lnTo>
                    <a:lnTo>
                      <a:pt x="47" y="89"/>
                    </a:lnTo>
                    <a:lnTo>
                      <a:pt x="47" y="89"/>
                    </a:lnTo>
                    <a:lnTo>
                      <a:pt x="55" y="92"/>
                    </a:lnTo>
                    <a:lnTo>
                      <a:pt x="64" y="93"/>
                    </a:lnTo>
                    <a:lnTo>
                      <a:pt x="72" y="92"/>
                    </a:lnTo>
                    <a:lnTo>
                      <a:pt x="80" y="89"/>
                    </a:lnTo>
                    <a:lnTo>
                      <a:pt x="80" y="8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18">
                <a:extLst>
                  <a:ext uri="{FF2B5EF4-FFF2-40B4-BE49-F238E27FC236}">
                    <a16:creationId xmlns:a16="http://schemas.microsoft.com/office/drawing/2014/main" id="{45BBC99B-6BD2-4C62-B2B5-3C9799FE8FE5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564816" y="1535113"/>
                <a:ext cx="84138" cy="90487"/>
              </a:xfrm>
              <a:custGeom>
                <a:avLst/>
                <a:gdLst>
                  <a:gd name="T0" fmla="*/ 99 w 105"/>
                  <a:gd name="T1" fmla="*/ 66 h 115"/>
                  <a:gd name="T2" fmla="*/ 103 w 105"/>
                  <a:gd name="T3" fmla="*/ 74 h 115"/>
                  <a:gd name="T4" fmla="*/ 105 w 105"/>
                  <a:gd name="T5" fmla="*/ 83 h 115"/>
                  <a:gd name="T6" fmla="*/ 104 w 105"/>
                  <a:gd name="T7" fmla="*/ 90 h 115"/>
                  <a:gd name="T8" fmla="*/ 98 w 105"/>
                  <a:gd name="T9" fmla="*/ 102 h 115"/>
                  <a:gd name="T10" fmla="*/ 93 w 105"/>
                  <a:gd name="T11" fmla="*/ 107 h 115"/>
                  <a:gd name="T12" fmla="*/ 77 w 105"/>
                  <a:gd name="T13" fmla="*/ 114 h 115"/>
                  <a:gd name="T14" fmla="*/ 59 w 105"/>
                  <a:gd name="T15" fmla="*/ 115 h 115"/>
                  <a:gd name="T16" fmla="*/ 0 w 105"/>
                  <a:gd name="T17" fmla="*/ 0 h 115"/>
                  <a:gd name="T18" fmla="*/ 56 w 105"/>
                  <a:gd name="T19" fmla="*/ 0 h 115"/>
                  <a:gd name="T20" fmla="*/ 73 w 105"/>
                  <a:gd name="T21" fmla="*/ 2 h 115"/>
                  <a:gd name="T22" fmla="*/ 88 w 105"/>
                  <a:gd name="T23" fmla="*/ 8 h 115"/>
                  <a:gd name="T24" fmla="*/ 93 w 105"/>
                  <a:gd name="T25" fmla="*/ 12 h 115"/>
                  <a:gd name="T26" fmla="*/ 99 w 105"/>
                  <a:gd name="T27" fmla="*/ 24 h 115"/>
                  <a:gd name="T28" fmla="*/ 99 w 105"/>
                  <a:gd name="T29" fmla="*/ 30 h 115"/>
                  <a:gd name="T30" fmla="*/ 95 w 105"/>
                  <a:gd name="T31" fmla="*/ 45 h 115"/>
                  <a:gd name="T32" fmla="*/ 90 w 105"/>
                  <a:gd name="T33" fmla="*/ 52 h 115"/>
                  <a:gd name="T34" fmla="*/ 84 w 105"/>
                  <a:gd name="T35" fmla="*/ 56 h 115"/>
                  <a:gd name="T36" fmla="*/ 92 w 105"/>
                  <a:gd name="T37" fmla="*/ 60 h 115"/>
                  <a:gd name="T38" fmla="*/ 99 w 105"/>
                  <a:gd name="T39" fmla="*/ 66 h 115"/>
                  <a:gd name="T40" fmla="*/ 32 w 105"/>
                  <a:gd name="T41" fmla="*/ 46 h 115"/>
                  <a:gd name="T42" fmla="*/ 53 w 105"/>
                  <a:gd name="T43" fmla="*/ 46 h 115"/>
                  <a:gd name="T44" fmla="*/ 63 w 105"/>
                  <a:gd name="T45" fmla="*/ 43 h 115"/>
                  <a:gd name="T46" fmla="*/ 67 w 105"/>
                  <a:gd name="T47" fmla="*/ 35 h 115"/>
                  <a:gd name="T48" fmla="*/ 66 w 105"/>
                  <a:gd name="T49" fmla="*/ 30 h 115"/>
                  <a:gd name="T50" fmla="*/ 59 w 105"/>
                  <a:gd name="T51" fmla="*/ 24 h 115"/>
                  <a:gd name="T52" fmla="*/ 32 w 105"/>
                  <a:gd name="T53" fmla="*/ 23 h 115"/>
                  <a:gd name="T54" fmla="*/ 72 w 105"/>
                  <a:gd name="T55" fmla="*/ 80 h 115"/>
                  <a:gd name="T56" fmla="*/ 71 w 105"/>
                  <a:gd name="T57" fmla="*/ 75 h 115"/>
                  <a:gd name="T58" fmla="*/ 64 w 105"/>
                  <a:gd name="T59" fmla="*/ 69 h 115"/>
                  <a:gd name="T60" fmla="*/ 32 w 105"/>
                  <a:gd name="T61" fmla="*/ 69 h 115"/>
                  <a:gd name="T62" fmla="*/ 58 w 105"/>
                  <a:gd name="T63" fmla="*/ 92 h 115"/>
                  <a:gd name="T64" fmla="*/ 64 w 105"/>
                  <a:gd name="T65" fmla="*/ 91 h 115"/>
                  <a:gd name="T66" fmla="*/ 71 w 105"/>
                  <a:gd name="T67" fmla="*/ 85 h 115"/>
                  <a:gd name="T68" fmla="*/ 72 w 105"/>
                  <a:gd name="T69" fmla="*/ 8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5" h="115">
                    <a:moveTo>
                      <a:pt x="99" y="66"/>
                    </a:moveTo>
                    <a:lnTo>
                      <a:pt x="99" y="66"/>
                    </a:lnTo>
                    <a:lnTo>
                      <a:pt x="102" y="70"/>
                    </a:lnTo>
                    <a:lnTo>
                      <a:pt x="103" y="74"/>
                    </a:lnTo>
                    <a:lnTo>
                      <a:pt x="104" y="78"/>
                    </a:lnTo>
                    <a:lnTo>
                      <a:pt x="105" y="83"/>
                    </a:lnTo>
                    <a:lnTo>
                      <a:pt x="105" y="83"/>
                    </a:lnTo>
                    <a:lnTo>
                      <a:pt x="104" y="90"/>
                    </a:lnTo>
                    <a:lnTo>
                      <a:pt x="102" y="96"/>
                    </a:lnTo>
                    <a:lnTo>
                      <a:pt x="98" y="102"/>
                    </a:lnTo>
                    <a:lnTo>
                      <a:pt x="93" y="107"/>
                    </a:lnTo>
                    <a:lnTo>
                      <a:pt x="93" y="107"/>
                    </a:lnTo>
                    <a:lnTo>
                      <a:pt x="85" y="111"/>
                    </a:lnTo>
                    <a:lnTo>
                      <a:pt x="77" y="114"/>
                    </a:lnTo>
                    <a:lnTo>
                      <a:pt x="68" y="115"/>
                    </a:lnTo>
                    <a:lnTo>
                      <a:pt x="59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5" y="1"/>
                    </a:lnTo>
                    <a:lnTo>
                      <a:pt x="73" y="2"/>
                    </a:lnTo>
                    <a:lnTo>
                      <a:pt x="81" y="4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93" y="12"/>
                    </a:lnTo>
                    <a:lnTo>
                      <a:pt x="97" y="18"/>
                    </a:lnTo>
                    <a:lnTo>
                      <a:pt x="99" y="24"/>
                    </a:lnTo>
                    <a:lnTo>
                      <a:pt x="99" y="30"/>
                    </a:lnTo>
                    <a:lnTo>
                      <a:pt x="99" y="30"/>
                    </a:lnTo>
                    <a:lnTo>
                      <a:pt x="98" y="38"/>
                    </a:lnTo>
                    <a:lnTo>
                      <a:pt x="95" y="45"/>
                    </a:lnTo>
                    <a:lnTo>
                      <a:pt x="95" y="45"/>
                    </a:lnTo>
                    <a:lnTo>
                      <a:pt x="90" y="52"/>
                    </a:lnTo>
                    <a:lnTo>
                      <a:pt x="84" y="56"/>
                    </a:lnTo>
                    <a:lnTo>
                      <a:pt x="84" y="56"/>
                    </a:lnTo>
                    <a:lnTo>
                      <a:pt x="88" y="57"/>
                    </a:lnTo>
                    <a:lnTo>
                      <a:pt x="92" y="60"/>
                    </a:lnTo>
                    <a:lnTo>
                      <a:pt x="96" y="62"/>
                    </a:lnTo>
                    <a:lnTo>
                      <a:pt x="99" y="66"/>
                    </a:lnTo>
                    <a:lnTo>
                      <a:pt x="99" y="66"/>
                    </a:lnTo>
                    <a:close/>
                    <a:moveTo>
                      <a:pt x="32" y="46"/>
                    </a:moveTo>
                    <a:lnTo>
                      <a:pt x="53" y="46"/>
                    </a:lnTo>
                    <a:lnTo>
                      <a:pt x="53" y="46"/>
                    </a:lnTo>
                    <a:lnTo>
                      <a:pt x="59" y="45"/>
                    </a:lnTo>
                    <a:lnTo>
                      <a:pt x="63" y="43"/>
                    </a:lnTo>
                    <a:lnTo>
                      <a:pt x="66" y="40"/>
                    </a:lnTo>
                    <a:lnTo>
                      <a:pt x="67" y="35"/>
                    </a:lnTo>
                    <a:lnTo>
                      <a:pt x="67" y="35"/>
                    </a:lnTo>
                    <a:lnTo>
                      <a:pt x="66" y="30"/>
                    </a:lnTo>
                    <a:lnTo>
                      <a:pt x="63" y="26"/>
                    </a:lnTo>
                    <a:lnTo>
                      <a:pt x="59" y="24"/>
                    </a:lnTo>
                    <a:lnTo>
                      <a:pt x="53" y="23"/>
                    </a:lnTo>
                    <a:lnTo>
                      <a:pt x="32" y="23"/>
                    </a:lnTo>
                    <a:lnTo>
                      <a:pt x="32" y="46"/>
                    </a:lnTo>
                    <a:close/>
                    <a:moveTo>
                      <a:pt x="72" y="80"/>
                    </a:moveTo>
                    <a:lnTo>
                      <a:pt x="72" y="80"/>
                    </a:lnTo>
                    <a:lnTo>
                      <a:pt x="71" y="75"/>
                    </a:lnTo>
                    <a:lnTo>
                      <a:pt x="69" y="72"/>
                    </a:lnTo>
                    <a:lnTo>
                      <a:pt x="64" y="69"/>
                    </a:lnTo>
                    <a:lnTo>
                      <a:pt x="58" y="69"/>
                    </a:lnTo>
                    <a:lnTo>
                      <a:pt x="32" y="69"/>
                    </a:lnTo>
                    <a:lnTo>
                      <a:pt x="32" y="92"/>
                    </a:lnTo>
                    <a:lnTo>
                      <a:pt x="58" y="92"/>
                    </a:lnTo>
                    <a:lnTo>
                      <a:pt x="58" y="92"/>
                    </a:lnTo>
                    <a:lnTo>
                      <a:pt x="64" y="91"/>
                    </a:lnTo>
                    <a:lnTo>
                      <a:pt x="69" y="89"/>
                    </a:lnTo>
                    <a:lnTo>
                      <a:pt x="71" y="85"/>
                    </a:lnTo>
                    <a:lnTo>
                      <a:pt x="72" y="80"/>
                    </a:lnTo>
                    <a:lnTo>
                      <a:pt x="72" y="8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19">
                <a:extLst>
                  <a:ext uri="{FF2B5EF4-FFF2-40B4-BE49-F238E27FC236}">
                    <a16:creationId xmlns:a16="http://schemas.microsoft.com/office/drawing/2014/main" id="{A409FD62-76B5-4845-A642-7DF485EF7198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664829" y="1535113"/>
                <a:ext cx="115888" cy="90487"/>
              </a:xfrm>
              <a:custGeom>
                <a:avLst/>
                <a:gdLst>
                  <a:gd name="T0" fmla="*/ 92 w 147"/>
                  <a:gd name="T1" fmla="*/ 46 h 115"/>
                  <a:gd name="T2" fmla="*/ 92 w 147"/>
                  <a:gd name="T3" fmla="*/ 46 h 115"/>
                  <a:gd name="T4" fmla="*/ 97 w 147"/>
                  <a:gd name="T5" fmla="*/ 53 h 115"/>
                  <a:gd name="T6" fmla="*/ 101 w 147"/>
                  <a:gd name="T7" fmla="*/ 60 h 115"/>
                  <a:gd name="T8" fmla="*/ 103 w 147"/>
                  <a:gd name="T9" fmla="*/ 67 h 115"/>
                  <a:gd name="T10" fmla="*/ 103 w 147"/>
                  <a:gd name="T11" fmla="*/ 75 h 115"/>
                  <a:gd name="T12" fmla="*/ 103 w 147"/>
                  <a:gd name="T13" fmla="*/ 75 h 115"/>
                  <a:gd name="T14" fmla="*/ 103 w 147"/>
                  <a:gd name="T15" fmla="*/ 83 h 115"/>
                  <a:gd name="T16" fmla="*/ 100 w 147"/>
                  <a:gd name="T17" fmla="*/ 91 h 115"/>
                  <a:gd name="T18" fmla="*/ 96 w 147"/>
                  <a:gd name="T19" fmla="*/ 99 h 115"/>
                  <a:gd name="T20" fmla="*/ 90 w 147"/>
                  <a:gd name="T21" fmla="*/ 105 h 115"/>
                  <a:gd name="T22" fmla="*/ 90 w 147"/>
                  <a:gd name="T23" fmla="*/ 105 h 115"/>
                  <a:gd name="T24" fmla="*/ 82 w 147"/>
                  <a:gd name="T25" fmla="*/ 110 h 115"/>
                  <a:gd name="T26" fmla="*/ 74 w 147"/>
                  <a:gd name="T27" fmla="*/ 113 h 115"/>
                  <a:gd name="T28" fmla="*/ 65 w 147"/>
                  <a:gd name="T29" fmla="*/ 115 h 115"/>
                  <a:gd name="T30" fmla="*/ 55 w 147"/>
                  <a:gd name="T31" fmla="*/ 115 h 115"/>
                  <a:gd name="T32" fmla="*/ 0 w 147"/>
                  <a:gd name="T33" fmla="*/ 115 h 115"/>
                  <a:gd name="T34" fmla="*/ 0 w 147"/>
                  <a:gd name="T35" fmla="*/ 1 h 115"/>
                  <a:gd name="T36" fmla="*/ 32 w 147"/>
                  <a:gd name="T37" fmla="*/ 1 h 115"/>
                  <a:gd name="T38" fmla="*/ 32 w 147"/>
                  <a:gd name="T39" fmla="*/ 37 h 115"/>
                  <a:gd name="T40" fmla="*/ 59 w 147"/>
                  <a:gd name="T41" fmla="*/ 37 h 115"/>
                  <a:gd name="T42" fmla="*/ 59 w 147"/>
                  <a:gd name="T43" fmla="*/ 37 h 115"/>
                  <a:gd name="T44" fmla="*/ 68 w 147"/>
                  <a:gd name="T45" fmla="*/ 37 h 115"/>
                  <a:gd name="T46" fmla="*/ 76 w 147"/>
                  <a:gd name="T47" fmla="*/ 39 h 115"/>
                  <a:gd name="T48" fmla="*/ 84 w 147"/>
                  <a:gd name="T49" fmla="*/ 42 h 115"/>
                  <a:gd name="T50" fmla="*/ 92 w 147"/>
                  <a:gd name="T51" fmla="*/ 46 h 115"/>
                  <a:gd name="T52" fmla="*/ 92 w 147"/>
                  <a:gd name="T53" fmla="*/ 46 h 115"/>
                  <a:gd name="T54" fmla="*/ 66 w 147"/>
                  <a:gd name="T55" fmla="*/ 88 h 115"/>
                  <a:gd name="T56" fmla="*/ 66 w 147"/>
                  <a:gd name="T57" fmla="*/ 88 h 115"/>
                  <a:gd name="T58" fmla="*/ 68 w 147"/>
                  <a:gd name="T59" fmla="*/ 85 h 115"/>
                  <a:gd name="T60" fmla="*/ 70 w 147"/>
                  <a:gd name="T61" fmla="*/ 82 h 115"/>
                  <a:gd name="T62" fmla="*/ 71 w 147"/>
                  <a:gd name="T63" fmla="*/ 79 h 115"/>
                  <a:gd name="T64" fmla="*/ 71 w 147"/>
                  <a:gd name="T65" fmla="*/ 76 h 115"/>
                  <a:gd name="T66" fmla="*/ 71 w 147"/>
                  <a:gd name="T67" fmla="*/ 76 h 115"/>
                  <a:gd name="T68" fmla="*/ 71 w 147"/>
                  <a:gd name="T69" fmla="*/ 72 h 115"/>
                  <a:gd name="T70" fmla="*/ 70 w 147"/>
                  <a:gd name="T71" fmla="*/ 69 h 115"/>
                  <a:gd name="T72" fmla="*/ 68 w 147"/>
                  <a:gd name="T73" fmla="*/ 67 h 115"/>
                  <a:gd name="T74" fmla="*/ 66 w 147"/>
                  <a:gd name="T75" fmla="*/ 64 h 115"/>
                  <a:gd name="T76" fmla="*/ 64 w 147"/>
                  <a:gd name="T77" fmla="*/ 63 h 115"/>
                  <a:gd name="T78" fmla="*/ 61 w 147"/>
                  <a:gd name="T79" fmla="*/ 62 h 115"/>
                  <a:gd name="T80" fmla="*/ 53 w 147"/>
                  <a:gd name="T81" fmla="*/ 61 h 115"/>
                  <a:gd name="T82" fmla="*/ 32 w 147"/>
                  <a:gd name="T83" fmla="*/ 61 h 115"/>
                  <a:gd name="T84" fmla="*/ 32 w 147"/>
                  <a:gd name="T85" fmla="*/ 92 h 115"/>
                  <a:gd name="T86" fmla="*/ 53 w 147"/>
                  <a:gd name="T87" fmla="*/ 92 h 115"/>
                  <a:gd name="T88" fmla="*/ 53 w 147"/>
                  <a:gd name="T89" fmla="*/ 92 h 115"/>
                  <a:gd name="T90" fmla="*/ 57 w 147"/>
                  <a:gd name="T91" fmla="*/ 92 h 115"/>
                  <a:gd name="T92" fmla="*/ 60 w 147"/>
                  <a:gd name="T93" fmla="*/ 91 h 115"/>
                  <a:gd name="T94" fmla="*/ 63 w 147"/>
                  <a:gd name="T95" fmla="*/ 90 h 115"/>
                  <a:gd name="T96" fmla="*/ 66 w 147"/>
                  <a:gd name="T97" fmla="*/ 88 h 115"/>
                  <a:gd name="T98" fmla="*/ 66 w 147"/>
                  <a:gd name="T99" fmla="*/ 88 h 115"/>
                  <a:gd name="T100" fmla="*/ 116 w 147"/>
                  <a:gd name="T101" fmla="*/ 0 h 115"/>
                  <a:gd name="T102" fmla="*/ 147 w 147"/>
                  <a:gd name="T103" fmla="*/ 0 h 115"/>
                  <a:gd name="T104" fmla="*/ 147 w 147"/>
                  <a:gd name="T105" fmla="*/ 115 h 115"/>
                  <a:gd name="T106" fmla="*/ 116 w 147"/>
                  <a:gd name="T107" fmla="*/ 115 h 115"/>
                  <a:gd name="T108" fmla="*/ 116 w 147"/>
                  <a:gd name="T109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47" h="115">
                    <a:moveTo>
                      <a:pt x="92" y="46"/>
                    </a:moveTo>
                    <a:lnTo>
                      <a:pt x="92" y="46"/>
                    </a:lnTo>
                    <a:lnTo>
                      <a:pt x="97" y="53"/>
                    </a:lnTo>
                    <a:lnTo>
                      <a:pt x="101" y="60"/>
                    </a:lnTo>
                    <a:lnTo>
                      <a:pt x="103" y="67"/>
                    </a:lnTo>
                    <a:lnTo>
                      <a:pt x="103" y="75"/>
                    </a:lnTo>
                    <a:lnTo>
                      <a:pt x="103" y="75"/>
                    </a:lnTo>
                    <a:lnTo>
                      <a:pt x="103" y="83"/>
                    </a:lnTo>
                    <a:lnTo>
                      <a:pt x="100" y="91"/>
                    </a:lnTo>
                    <a:lnTo>
                      <a:pt x="96" y="99"/>
                    </a:lnTo>
                    <a:lnTo>
                      <a:pt x="90" y="105"/>
                    </a:lnTo>
                    <a:lnTo>
                      <a:pt x="90" y="105"/>
                    </a:lnTo>
                    <a:lnTo>
                      <a:pt x="82" y="110"/>
                    </a:lnTo>
                    <a:lnTo>
                      <a:pt x="74" y="113"/>
                    </a:lnTo>
                    <a:lnTo>
                      <a:pt x="65" y="115"/>
                    </a:lnTo>
                    <a:lnTo>
                      <a:pt x="55" y="115"/>
                    </a:lnTo>
                    <a:lnTo>
                      <a:pt x="0" y="115"/>
                    </a:lnTo>
                    <a:lnTo>
                      <a:pt x="0" y="1"/>
                    </a:lnTo>
                    <a:lnTo>
                      <a:pt x="32" y="1"/>
                    </a:lnTo>
                    <a:lnTo>
                      <a:pt x="32" y="37"/>
                    </a:lnTo>
                    <a:lnTo>
                      <a:pt x="59" y="37"/>
                    </a:lnTo>
                    <a:lnTo>
                      <a:pt x="59" y="37"/>
                    </a:lnTo>
                    <a:lnTo>
                      <a:pt x="68" y="37"/>
                    </a:lnTo>
                    <a:lnTo>
                      <a:pt x="76" y="39"/>
                    </a:lnTo>
                    <a:lnTo>
                      <a:pt x="84" y="42"/>
                    </a:lnTo>
                    <a:lnTo>
                      <a:pt x="92" y="46"/>
                    </a:lnTo>
                    <a:lnTo>
                      <a:pt x="92" y="46"/>
                    </a:lnTo>
                    <a:close/>
                    <a:moveTo>
                      <a:pt x="66" y="88"/>
                    </a:moveTo>
                    <a:lnTo>
                      <a:pt x="66" y="88"/>
                    </a:lnTo>
                    <a:lnTo>
                      <a:pt x="68" y="85"/>
                    </a:lnTo>
                    <a:lnTo>
                      <a:pt x="70" y="82"/>
                    </a:lnTo>
                    <a:lnTo>
                      <a:pt x="71" y="79"/>
                    </a:lnTo>
                    <a:lnTo>
                      <a:pt x="71" y="76"/>
                    </a:lnTo>
                    <a:lnTo>
                      <a:pt x="71" y="76"/>
                    </a:lnTo>
                    <a:lnTo>
                      <a:pt x="71" y="72"/>
                    </a:lnTo>
                    <a:lnTo>
                      <a:pt x="70" y="69"/>
                    </a:lnTo>
                    <a:lnTo>
                      <a:pt x="68" y="67"/>
                    </a:lnTo>
                    <a:lnTo>
                      <a:pt x="66" y="64"/>
                    </a:lnTo>
                    <a:lnTo>
                      <a:pt x="64" y="63"/>
                    </a:lnTo>
                    <a:lnTo>
                      <a:pt x="61" y="62"/>
                    </a:lnTo>
                    <a:lnTo>
                      <a:pt x="53" y="61"/>
                    </a:lnTo>
                    <a:lnTo>
                      <a:pt x="32" y="61"/>
                    </a:lnTo>
                    <a:lnTo>
                      <a:pt x="32" y="92"/>
                    </a:lnTo>
                    <a:lnTo>
                      <a:pt x="53" y="92"/>
                    </a:lnTo>
                    <a:lnTo>
                      <a:pt x="53" y="92"/>
                    </a:lnTo>
                    <a:lnTo>
                      <a:pt x="57" y="92"/>
                    </a:lnTo>
                    <a:lnTo>
                      <a:pt x="60" y="91"/>
                    </a:lnTo>
                    <a:lnTo>
                      <a:pt x="63" y="90"/>
                    </a:lnTo>
                    <a:lnTo>
                      <a:pt x="66" y="88"/>
                    </a:lnTo>
                    <a:lnTo>
                      <a:pt x="66" y="88"/>
                    </a:lnTo>
                    <a:close/>
                    <a:moveTo>
                      <a:pt x="116" y="0"/>
                    </a:moveTo>
                    <a:lnTo>
                      <a:pt x="147" y="0"/>
                    </a:lnTo>
                    <a:lnTo>
                      <a:pt x="147" y="115"/>
                    </a:lnTo>
                    <a:lnTo>
                      <a:pt x="116" y="115"/>
                    </a:lnTo>
                    <a:lnTo>
                      <a:pt x="116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20">
                <a:extLst>
                  <a:ext uri="{FF2B5EF4-FFF2-40B4-BE49-F238E27FC236}">
                    <a16:creationId xmlns:a16="http://schemas.microsoft.com/office/drawing/2014/main" id="{A05BB9B5-960B-4351-88E5-8B114F0C3AD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802941" y="1535113"/>
                <a:ext cx="74613" cy="90487"/>
              </a:xfrm>
              <a:custGeom>
                <a:avLst/>
                <a:gdLst>
                  <a:gd name="T0" fmla="*/ 92 w 92"/>
                  <a:gd name="T1" fmla="*/ 90 h 115"/>
                  <a:gd name="T2" fmla="*/ 92 w 92"/>
                  <a:gd name="T3" fmla="*/ 115 h 115"/>
                  <a:gd name="T4" fmla="*/ 0 w 92"/>
                  <a:gd name="T5" fmla="*/ 115 h 115"/>
                  <a:gd name="T6" fmla="*/ 0 w 92"/>
                  <a:gd name="T7" fmla="*/ 0 h 115"/>
                  <a:gd name="T8" fmla="*/ 90 w 92"/>
                  <a:gd name="T9" fmla="*/ 0 h 115"/>
                  <a:gd name="T10" fmla="*/ 90 w 92"/>
                  <a:gd name="T11" fmla="*/ 25 h 115"/>
                  <a:gd name="T12" fmla="*/ 32 w 92"/>
                  <a:gd name="T13" fmla="*/ 25 h 115"/>
                  <a:gd name="T14" fmla="*/ 32 w 92"/>
                  <a:gd name="T15" fmla="*/ 44 h 115"/>
                  <a:gd name="T16" fmla="*/ 83 w 92"/>
                  <a:gd name="T17" fmla="*/ 44 h 115"/>
                  <a:gd name="T18" fmla="*/ 83 w 92"/>
                  <a:gd name="T19" fmla="*/ 69 h 115"/>
                  <a:gd name="T20" fmla="*/ 32 w 92"/>
                  <a:gd name="T21" fmla="*/ 69 h 115"/>
                  <a:gd name="T22" fmla="*/ 32 w 92"/>
                  <a:gd name="T23" fmla="*/ 90 h 115"/>
                  <a:gd name="T24" fmla="*/ 92 w 92"/>
                  <a:gd name="T25" fmla="*/ 9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2" h="115">
                    <a:moveTo>
                      <a:pt x="92" y="90"/>
                    </a:moveTo>
                    <a:lnTo>
                      <a:pt x="9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25"/>
                    </a:lnTo>
                    <a:lnTo>
                      <a:pt x="32" y="25"/>
                    </a:lnTo>
                    <a:lnTo>
                      <a:pt x="32" y="44"/>
                    </a:lnTo>
                    <a:lnTo>
                      <a:pt x="83" y="44"/>
                    </a:lnTo>
                    <a:lnTo>
                      <a:pt x="83" y="69"/>
                    </a:lnTo>
                    <a:lnTo>
                      <a:pt x="32" y="69"/>
                    </a:lnTo>
                    <a:lnTo>
                      <a:pt x="32" y="90"/>
                    </a:lnTo>
                    <a:lnTo>
                      <a:pt x="92" y="9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21">
                <a:extLst>
                  <a:ext uri="{FF2B5EF4-FFF2-40B4-BE49-F238E27FC236}">
                    <a16:creationId xmlns:a16="http://schemas.microsoft.com/office/drawing/2014/main" id="{93F0E863-09DB-4167-913D-7FD0957707AF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934704" y="1535113"/>
                <a:ext cx="82550" cy="90487"/>
              </a:xfrm>
              <a:custGeom>
                <a:avLst/>
                <a:gdLst>
                  <a:gd name="T0" fmla="*/ 79 w 104"/>
                  <a:gd name="T1" fmla="*/ 5 h 115"/>
                  <a:gd name="T2" fmla="*/ 79 w 104"/>
                  <a:gd name="T3" fmla="*/ 5 h 115"/>
                  <a:gd name="T4" fmla="*/ 85 w 104"/>
                  <a:gd name="T5" fmla="*/ 8 h 115"/>
                  <a:gd name="T6" fmla="*/ 90 w 104"/>
                  <a:gd name="T7" fmla="*/ 12 h 115"/>
                  <a:gd name="T8" fmla="*/ 94 w 104"/>
                  <a:gd name="T9" fmla="*/ 16 h 115"/>
                  <a:gd name="T10" fmla="*/ 98 w 104"/>
                  <a:gd name="T11" fmla="*/ 20 h 115"/>
                  <a:gd name="T12" fmla="*/ 98 w 104"/>
                  <a:gd name="T13" fmla="*/ 20 h 115"/>
                  <a:gd name="T14" fmla="*/ 101 w 104"/>
                  <a:gd name="T15" fmla="*/ 27 h 115"/>
                  <a:gd name="T16" fmla="*/ 104 w 104"/>
                  <a:gd name="T17" fmla="*/ 35 h 115"/>
                  <a:gd name="T18" fmla="*/ 104 w 104"/>
                  <a:gd name="T19" fmla="*/ 43 h 115"/>
                  <a:gd name="T20" fmla="*/ 104 w 104"/>
                  <a:gd name="T21" fmla="*/ 51 h 115"/>
                  <a:gd name="T22" fmla="*/ 102 w 104"/>
                  <a:gd name="T23" fmla="*/ 59 h 115"/>
                  <a:gd name="T24" fmla="*/ 98 w 104"/>
                  <a:gd name="T25" fmla="*/ 66 h 115"/>
                  <a:gd name="T26" fmla="*/ 93 w 104"/>
                  <a:gd name="T27" fmla="*/ 72 h 115"/>
                  <a:gd name="T28" fmla="*/ 87 w 104"/>
                  <a:gd name="T29" fmla="*/ 77 h 115"/>
                  <a:gd name="T30" fmla="*/ 87 w 104"/>
                  <a:gd name="T31" fmla="*/ 77 h 115"/>
                  <a:gd name="T32" fmla="*/ 79 w 104"/>
                  <a:gd name="T33" fmla="*/ 81 h 115"/>
                  <a:gd name="T34" fmla="*/ 79 w 104"/>
                  <a:gd name="T35" fmla="*/ 81 h 115"/>
                  <a:gd name="T36" fmla="*/ 72 w 104"/>
                  <a:gd name="T37" fmla="*/ 83 h 115"/>
                  <a:gd name="T38" fmla="*/ 66 w 104"/>
                  <a:gd name="T39" fmla="*/ 85 h 115"/>
                  <a:gd name="T40" fmla="*/ 59 w 104"/>
                  <a:gd name="T41" fmla="*/ 85 h 115"/>
                  <a:gd name="T42" fmla="*/ 52 w 104"/>
                  <a:gd name="T43" fmla="*/ 86 h 115"/>
                  <a:gd name="T44" fmla="*/ 32 w 104"/>
                  <a:gd name="T45" fmla="*/ 86 h 115"/>
                  <a:gd name="T46" fmla="*/ 32 w 104"/>
                  <a:gd name="T47" fmla="*/ 115 h 115"/>
                  <a:gd name="T48" fmla="*/ 0 w 104"/>
                  <a:gd name="T49" fmla="*/ 115 h 115"/>
                  <a:gd name="T50" fmla="*/ 0 w 104"/>
                  <a:gd name="T51" fmla="*/ 0 h 115"/>
                  <a:gd name="T52" fmla="*/ 52 w 104"/>
                  <a:gd name="T53" fmla="*/ 0 h 115"/>
                  <a:gd name="T54" fmla="*/ 52 w 104"/>
                  <a:gd name="T55" fmla="*/ 0 h 115"/>
                  <a:gd name="T56" fmla="*/ 59 w 104"/>
                  <a:gd name="T57" fmla="*/ 1 h 115"/>
                  <a:gd name="T58" fmla="*/ 66 w 104"/>
                  <a:gd name="T59" fmla="*/ 2 h 115"/>
                  <a:gd name="T60" fmla="*/ 73 w 104"/>
                  <a:gd name="T61" fmla="*/ 3 h 115"/>
                  <a:gd name="T62" fmla="*/ 79 w 104"/>
                  <a:gd name="T63" fmla="*/ 5 h 115"/>
                  <a:gd name="T64" fmla="*/ 79 w 104"/>
                  <a:gd name="T65" fmla="*/ 5 h 115"/>
                  <a:gd name="T66" fmla="*/ 65 w 104"/>
                  <a:gd name="T67" fmla="*/ 56 h 115"/>
                  <a:gd name="T68" fmla="*/ 65 w 104"/>
                  <a:gd name="T69" fmla="*/ 56 h 115"/>
                  <a:gd name="T70" fmla="*/ 67 w 104"/>
                  <a:gd name="T71" fmla="*/ 53 h 115"/>
                  <a:gd name="T72" fmla="*/ 69 w 104"/>
                  <a:gd name="T73" fmla="*/ 50 h 115"/>
                  <a:gd name="T74" fmla="*/ 70 w 104"/>
                  <a:gd name="T75" fmla="*/ 46 h 115"/>
                  <a:gd name="T76" fmla="*/ 70 w 104"/>
                  <a:gd name="T77" fmla="*/ 43 h 115"/>
                  <a:gd name="T78" fmla="*/ 70 w 104"/>
                  <a:gd name="T79" fmla="*/ 43 h 115"/>
                  <a:gd name="T80" fmla="*/ 70 w 104"/>
                  <a:gd name="T81" fmla="*/ 39 h 115"/>
                  <a:gd name="T82" fmla="*/ 69 w 104"/>
                  <a:gd name="T83" fmla="*/ 36 h 115"/>
                  <a:gd name="T84" fmla="*/ 67 w 104"/>
                  <a:gd name="T85" fmla="*/ 33 h 115"/>
                  <a:gd name="T86" fmla="*/ 65 w 104"/>
                  <a:gd name="T87" fmla="*/ 30 h 115"/>
                  <a:gd name="T88" fmla="*/ 65 w 104"/>
                  <a:gd name="T89" fmla="*/ 30 h 115"/>
                  <a:gd name="T90" fmla="*/ 62 w 104"/>
                  <a:gd name="T91" fmla="*/ 28 h 115"/>
                  <a:gd name="T92" fmla="*/ 58 w 104"/>
                  <a:gd name="T93" fmla="*/ 27 h 115"/>
                  <a:gd name="T94" fmla="*/ 54 w 104"/>
                  <a:gd name="T95" fmla="*/ 26 h 115"/>
                  <a:gd name="T96" fmla="*/ 50 w 104"/>
                  <a:gd name="T97" fmla="*/ 26 h 115"/>
                  <a:gd name="T98" fmla="*/ 32 w 104"/>
                  <a:gd name="T99" fmla="*/ 26 h 115"/>
                  <a:gd name="T100" fmla="*/ 32 w 104"/>
                  <a:gd name="T101" fmla="*/ 60 h 115"/>
                  <a:gd name="T102" fmla="*/ 50 w 104"/>
                  <a:gd name="T103" fmla="*/ 60 h 115"/>
                  <a:gd name="T104" fmla="*/ 50 w 104"/>
                  <a:gd name="T105" fmla="*/ 60 h 115"/>
                  <a:gd name="T106" fmla="*/ 54 w 104"/>
                  <a:gd name="T107" fmla="*/ 60 h 115"/>
                  <a:gd name="T108" fmla="*/ 58 w 104"/>
                  <a:gd name="T109" fmla="*/ 59 h 115"/>
                  <a:gd name="T110" fmla="*/ 62 w 104"/>
                  <a:gd name="T111" fmla="*/ 58 h 115"/>
                  <a:gd name="T112" fmla="*/ 65 w 104"/>
                  <a:gd name="T113" fmla="*/ 56 h 115"/>
                  <a:gd name="T114" fmla="*/ 65 w 104"/>
                  <a:gd name="T115" fmla="*/ 56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04" h="115">
                    <a:moveTo>
                      <a:pt x="79" y="5"/>
                    </a:moveTo>
                    <a:lnTo>
                      <a:pt x="79" y="5"/>
                    </a:lnTo>
                    <a:lnTo>
                      <a:pt x="85" y="8"/>
                    </a:lnTo>
                    <a:lnTo>
                      <a:pt x="90" y="12"/>
                    </a:lnTo>
                    <a:lnTo>
                      <a:pt x="94" y="16"/>
                    </a:lnTo>
                    <a:lnTo>
                      <a:pt x="98" y="20"/>
                    </a:lnTo>
                    <a:lnTo>
                      <a:pt x="98" y="20"/>
                    </a:lnTo>
                    <a:lnTo>
                      <a:pt x="101" y="27"/>
                    </a:lnTo>
                    <a:lnTo>
                      <a:pt x="104" y="35"/>
                    </a:lnTo>
                    <a:lnTo>
                      <a:pt x="104" y="43"/>
                    </a:lnTo>
                    <a:lnTo>
                      <a:pt x="104" y="51"/>
                    </a:lnTo>
                    <a:lnTo>
                      <a:pt x="102" y="59"/>
                    </a:lnTo>
                    <a:lnTo>
                      <a:pt x="98" y="66"/>
                    </a:lnTo>
                    <a:lnTo>
                      <a:pt x="93" y="72"/>
                    </a:lnTo>
                    <a:lnTo>
                      <a:pt x="87" y="77"/>
                    </a:lnTo>
                    <a:lnTo>
                      <a:pt x="87" y="77"/>
                    </a:lnTo>
                    <a:lnTo>
                      <a:pt x="79" y="81"/>
                    </a:lnTo>
                    <a:lnTo>
                      <a:pt x="79" y="81"/>
                    </a:lnTo>
                    <a:lnTo>
                      <a:pt x="72" y="83"/>
                    </a:lnTo>
                    <a:lnTo>
                      <a:pt x="66" y="85"/>
                    </a:lnTo>
                    <a:lnTo>
                      <a:pt x="59" y="85"/>
                    </a:lnTo>
                    <a:lnTo>
                      <a:pt x="52" y="86"/>
                    </a:lnTo>
                    <a:lnTo>
                      <a:pt x="32" y="86"/>
                    </a:lnTo>
                    <a:lnTo>
                      <a:pt x="3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52" y="0"/>
                    </a:lnTo>
                    <a:lnTo>
                      <a:pt x="52" y="0"/>
                    </a:lnTo>
                    <a:lnTo>
                      <a:pt x="59" y="1"/>
                    </a:lnTo>
                    <a:lnTo>
                      <a:pt x="66" y="2"/>
                    </a:lnTo>
                    <a:lnTo>
                      <a:pt x="73" y="3"/>
                    </a:lnTo>
                    <a:lnTo>
                      <a:pt x="79" y="5"/>
                    </a:lnTo>
                    <a:lnTo>
                      <a:pt x="79" y="5"/>
                    </a:lnTo>
                    <a:close/>
                    <a:moveTo>
                      <a:pt x="65" y="56"/>
                    </a:moveTo>
                    <a:lnTo>
                      <a:pt x="65" y="56"/>
                    </a:lnTo>
                    <a:lnTo>
                      <a:pt x="67" y="53"/>
                    </a:lnTo>
                    <a:lnTo>
                      <a:pt x="69" y="50"/>
                    </a:lnTo>
                    <a:lnTo>
                      <a:pt x="70" y="46"/>
                    </a:lnTo>
                    <a:lnTo>
                      <a:pt x="70" y="43"/>
                    </a:lnTo>
                    <a:lnTo>
                      <a:pt x="70" y="43"/>
                    </a:lnTo>
                    <a:lnTo>
                      <a:pt x="70" y="39"/>
                    </a:lnTo>
                    <a:lnTo>
                      <a:pt x="69" y="36"/>
                    </a:lnTo>
                    <a:lnTo>
                      <a:pt x="67" y="33"/>
                    </a:lnTo>
                    <a:lnTo>
                      <a:pt x="65" y="30"/>
                    </a:lnTo>
                    <a:lnTo>
                      <a:pt x="65" y="30"/>
                    </a:lnTo>
                    <a:lnTo>
                      <a:pt x="62" y="28"/>
                    </a:lnTo>
                    <a:lnTo>
                      <a:pt x="58" y="27"/>
                    </a:lnTo>
                    <a:lnTo>
                      <a:pt x="54" y="26"/>
                    </a:lnTo>
                    <a:lnTo>
                      <a:pt x="50" y="26"/>
                    </a:lnTo>
                    <a:lnTo>
                      <a:pt x="32" y="26"/>
                    </a:lnTo>
                    <a:lnTo>
                      <a:pt x="32" y="60"/>
                    </a:lnTo>
                    <a:lnTo>
                      <a:pt x="50" y="60"/>
                    </a:lnTo>
                    <a:lnTo>
                      <a:pt x="50" y="60"/>
                    </a:lnTo>
                    <a:lnTo>
                      <a:pt x="54" y="60"/>
                    </a:lnTo>
                    <a:lnTo>
                      <a:pt x="58" y="59"/>
                    </a:lnTo>
                    <a:lnTo>
                      <a:pt x="62" y="58"/>
                    </a:lnTo>
                    <a:lnTo>
                      <a:pt x="65" y="56"/>
                    </a:lnTo>
                    <a:lnTo>
                      <a:pt x="65" y="5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22">
                <a:extLst>
                  <a:ext uri="{FF2B5EF4-FFF2-40B4-BE49-F238E27FC236}">
                    <a16:creationId xmlns:a16="http://schemas.microsoft.com/office/drawing/2014/main" id="{46C1A22C-9620-407E-93BA-15B4D13BA4D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029954" y="1535113"/>
                <a:ext cx="74613" cy="90487"/>
              </a:xfrm>
              <a:custGeom>
                <a:avLst/>
                <a:gdLst>
                  <a:gd name="T0" fmla="*/ 93 w 93"/>
                  <a:gd name="T1" fmla="*/ 90 h 115"/>
                  <a:gd name="T2" fmla="*/ 93 w 93"/>
                  <a:gd name="T3" fmla="*/ 115 h 115"/>
                  <a:gd name="T4" fmla="*/ 0 w 93"/>
                  <a:gd name="T5" fmla="*/ 115 h 115"/>
                  <a:gd name="T6" fmla="*/ 0 w 93"/>
                  <a:gd name="T7" fmla="*/ 0 h 115"/>
                  <a:gd name="T8" fmla="*/ 91 w 93"/>
                  <a:gd name="T9" fmla="*/ 0 h 115"/>
                  <a:gd name="T10" fmla="*/ 91 w 93"/>
                  <a:gd name="T11" fmla="*/ 25 h 115"/>
                  <a:gd name="T12" fmla="*/ 32 w 93"/>
                  <a:gd name="T13" fmla="*/ 25 h 115"/>
                  <a:gd name="T14" fmla="*/ 32 w 93"/>
                  <a:gd name="T15" fmla="*/ 44 h 115"/>
                  <a:gd name="T16" fmla="*/ 83 w 93"/>
                  <a:gd name="T17" fmla="*/ 44 h 115"/>
                  <a:gd name="T18" fmla="*/ 83 w 93"/>
                  <a:gd name="T19" fmla="*/ 69 h 115"/>
                  <a:gd name="T20" fmla="*/ 32 w 93"/>
                  <a:gd name="T21" fmla="*/ 69 h 115"/>
                  <a:gd name="T22" fmla="*/ 32 w 93"/>
                  <a:gd name="T23" fmla="*/ 90 h 115"/>
                  <a:gd name="T24" fmla="*/ 93 w 93"/>
                  <a:gd name="T25" fmla="*/ 9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3" h="115">
                    <a:moveTo>
                      <a:pt x="93" y="90"/>
                    </a:moveTo>
                    <a:lnTo>
                      <a:pt x="93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91" y="0"/>
                    </a:lnTo>
                    <a:lnTo>
                      <a:pt x="91" y="25"/>
                    </a:lnTo>
                    <a:lnTo>
                      <a:pt x="32" y="25"/>
                    </a:lnTo>
                    <a:lnTo>
                      <a:pt x="32" y="44"/>
                    </a:lnTo>
                    <a:lnTo>
                      <a:pt x="83" y="44"/>
                    </a:lnTo>
                    <a:lnTo>
                      <a:pt x="83" y="69"/>
                    </a:lnTo>
                    <a:lnTo>
                      <a:pt x="32" y="69"/>
                    </a:lnTo>
                    <a:lnTo>
                      <a:pt x="32" y="90"/>
                    </a:lnTo>
                    <a:lnTo>
                      <a:pt x="93" y="9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23">
                <a:extLst>
                  <a:ext uri="{FF2B5EF4-FFF2-40B4-BE49-F238E27FC236}">
                    <a16:creationId xmlns:a16="http://schemas.microsoft.com/office/drawing/2014/main" id="{07D96B25-10ED-4F4D-B1A4-D0014877CB3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122029" y="1535113"/>
                <a:ext cx="122238" cy="90487"/>
              </a:xfrm>
              <a:custGeom>
                <a:avLst/>
                <a:gdLst>
                  <a:gd name="T0" fmla="*/ 155 w 155"/>
                  <a:gd name="T1" fmla="*/ 0 h 115"/>
                  <a:gd name="T2" fmla="*/ 155 w 155"/>
                  <a:gd name="T3" fmla="*/ 115 h 115"/>
                  <a:gd name="T4" fmla="*/ 0 w 155"/>
                  <a:gd name="T5" fmla="*/ 115 h 115"/>
                  <a:gd name="T6" fmla="*/ 0 w 155"/>
                  <a:gd name="T7" fmla="*/ 0 h 115"/>
                  <a:gd name="T8" fmla="*/ 31 w 155"/>
                  <a:gd name="T9" fmla="*/ 0 h 115"/>
                  <a:gd name="T10" fmla="*/ 31 w 155"/>
                  <a:gd name="T11" fmla="*/ 90 h 115"/>
                  <a:gd name="T12" fmla="*/ 61 w 155"/>
                  <a:gd name="T13" fmla="*/ 90 h 115"/>
                  <a:gd name="T14" fmla="*/ 61 w 155"/>
                  <a:gd name="T15" fmla="*/ 0 h 115"/>
                  <a:gd name="T16" fmla="*/ 93 w 155"/>
                  <a:gd name="T17" fmla="*/ 0 h 115"/>
                  <a:gd name="T18" fmla="*/ 93 w 155"/>
                  <a:gd name="T19" fmla="*/ 90 h 115"/>
                  <a:gd name="T20" fmla="*/ 123 w 155"/>
                  <a:gd name="T21" fmla="*/ 90 h 115"/>
                  <a:gd name="T22" fmla="*/ 123 w 155"/>
                  <a:gd name="T23" fmla="*/ 0 h 115"/>
                  <a:gd name="T24" fmla="*/ 155 w 155"/>
                  <a:gd name="T25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5" h="115">
                    <a:moveTo>
                      <a:pt x="155" y="0"/>
                    </a:moveTo>
                    <a:lnTo>
                      <a:pt x="155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1" y="0"/>
                    </a:lnTo>
                    <a:lnTo>
                      <a:pt x="31" y="90"/>
                    </a:lnTo>
                    <a:lnTo>
                      <a:pt x="61" y="90"/>
                    </a:lnTo>
                    <a:lnTo>
                      <a:pt x="61" y="0"/>
                    </a:lnTo>
                    <a:lnTo>
                      <a:pt x="93" y="0"/>
                    </a:lnTo>
                    <a:lnTo>
                      <a:pt x="93" y="90"/>
                    </a:lnTo>
                    <a:lnTo>
                      <a:pt x="123" y="90"/>
                    </a:lnTo>
                    <a:lnTo>
                      <a:pt x="123" y="0"/>
                    </a:lnTo>
                    <a:lnTo>
                      <a:pt x="15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24">
                <a:extLst>
                  <a:ext uri="{FF2B5EF4-FFF2-40B4-BE49-F238E27FC236}">
                    <a16:creationId xmlns:a16="http://schemas.microsoft.com/office/drawing/2014/main" id="{CF2BB045-B1E5-4186-A67D-774CDB57F9D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268079" y="1535113"/>
                <a:ext cx="71438" cy="90487"/>
              </a:xfrm>
              <a:custGeom>
                <a:avLst/>
                <a:gdLst>
                  <a:gd name="T0" fmla="*/ 92 w 92"/>
                  <a:gd name="T1" fmla="*/ 90 h 115"/>
                  <a:gd name="T2" fmla="*/ 92 w 92"/>
                  <a:gd name="T3" fmla="*/ 115 h 115"/>
                  <a:gd name="T4" fmla="*/ 0 w 92"/>
                  <a:gd name="T5" fmla="*/ 115 h 115"/>
                  <a:gd name="T6" fmla="*/ 0 w 92"/>
                  <a:gd name="T7" fmla="*/ 0 h 115"/>
                  <a:gd name="T8" fmla="*/ 90 w 92"/>
                  <a:gd name="T9" fmla="*/ 0 h 115"/>
                  <a:gd name="T10" fmla="*/ 90 w 92"/>
                  <a:gd name="T11" fmla="*/ 25 h 115"/>
                  <a:gd name="T12" fmla="*/ 32 w 92"/>
                  <a:gd name="T13" fmla="*/ 25 h 115"/>
                  <a:gd name="T14" fmla="*/ 32 w 92"/>
                  <a:gd name="T15" fmla="*/ 44 h 115"/>
                  <a:gd name="T16" fmla="*/ 83 w 92"/>
                  <a:gd name="T17" fmla="*/ 44 h 115"/>
                  <a:gd name="T18" fmla="*/ 83 w 92"/>
                  <a:gd name="T19" fmla="*/ 69 h 115"/>
                  <a:gd name="T20" fmla="*/ 32 w 92"/>
                  <a:gd name="T21" fmla="*/ 69 h 115"/>
                  <a:gd name="T22" fmla="*/ 32 w 92"/>
                  <a:gd name="T23" fmla="*/ 90 h 115"/>
                  <a:gd name="T24" fmla="*/ 92 w 92"/>
                  <a:gd name="T25" fmla="*/ 9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2" h="115">
                    <a:moveTo>
                      <a:pt x="92" y="90"/>
                    </a:moveTo>
                    <a:lnTo>
                      <a:pt x="9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25"/>
                    </a:lnTo>
                    <a:lnTo>
                      <a:pt x="32" y="25"/>
                    </a:lnTo>
                    <a:lnTo>
                      <a:pt x="32" y="44"/>
                    </a:lnTo>
                    <a:lnTo>
                      <a:pt x="83" y="44"/>
                    </a:lnTo>
                    <a:lnTo>
                      <a:pt x="83" y="69"/>
                    </a:lnTo>
                    <a:lnTo>
                      <a:pt x="32" y="69"/>
                    </a:lnTo>
                    <a:lnTo>
                      <a:pt x="32" y="90"/>
                    </a:lnTo>
                    <a:lnTo>
                      <a:pt x="92" y="9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25">
                <a:extLst>
                  <a:ext uri="{FF2B5EF4-FFF2-40B4-BE49-F238E27FC236}">
                    <a16:creationId xmlns:a16="http://schemas.microsoft.com/office/drawing/2014/main" id="{7B6DA5C6-BD1B-4EA3-BEF1-49F6F9088F6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358566" y="1535113"/>
                <a:ext cx="85725" cy="90487"/>
              </a:xfrm>
              <a:custGeom>
                <a:avLst/>
                <a:gdLst>
                  <a:gd name="T0" fmla="*/ 109 w 109"/>
                  <a:gd name="T1" fmla="*/ 0 h 115"/>
                  <a:gd name="T2" fmla="*/ 109 w 109"/>
                  <a:gd name="T3" fmla="*/ 115 h 115"/>
                  <a:gd name="T4" fmla="*/ 77 w 109"/>
                  <a:gd name="T5" fmla="*/ 115 h 115"/>
                  <a:gd name="T6" fmla="*/ 77 w 109"/>
                  <a:gd name="T7" fmla="*/ 71 h 115"/>
                  <a:gd name="T8" fmla="*/ 32 w 109"/>
                  <a:gd name="T9" fmla="*/ 71 h 115"/>
                  <a:gd name="T10" fmla="*/ 32 w 109"/>
                  <a:gd name="T11" fmla="*/ 115 h 115"/>
                  <a:gd name="T12" fmla="*/ 0 w 109"/>
                  <a:gd name="T13" fmla="*/ 115 h 115"/>
                  <a:gd name="T14" fmla="*/ 0 w 109"/>
                  <a:gd name="T15" fmla="*/ 0 h 115"/>
                  <a:gd name="T16" fmla="*/ 32 w 109"/>
                  <a:gd name="T17" fmla="*/ 0 h 115"/>
                  <a:gd name="T18" fmla="*/ 32 w 109"/>
                  <a:gd name="T19" fmla="*/ 43 h 115"/>
                  <a:gd name="T20" fmla="*/ 77 w 109"/>
                  <a:gd name="T21" fmla="*/ 43 h 115"/>
                  <a:gd name="T22" fmla="*/ 77 w 109"/>
                  <a:gd name="T23" fmla="*/ 0 h 115"/>
                  <a:gd name="T24" fmla="*/ 109 w 109"/>
                  <a:gd name="T25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9" h="115">
                    <a:moveTo>
                      <a:pt x="109" y="0"/>
                    </a:moveTo>
                    <a:lnTo>
                      <a:pt x="109" y="115"/>
                    </a:lnTo>
                    <a:lnTo>
                      <a:pt x="77" y="115"/>
                    </a:lnTo>
                    <a:lnTo>
                      <a:pt x="77" y="71"/>
                    </a:lnTo>
                    <a:lnTo>
                      <a:pt x="32" y="71"/>
                    </a:lnTo>
                    <a:lnTo>
                      <a:pt x="3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2" y="0"/>
                    </a:lnTo>
                    <a:lnTo>
                      <a:pt x="32" y="43"/>
                    </a:lnTo>
                    <a:lnTo>
                      <a:pt x="77" y="43"/>
                    </a:lnTo>
                    <a:lnTo>
                      <a:pt x="77" y="0"/>
                    </a:lnTo>
                    <a:lnTo>
                      <a:pt x="109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26">
                <a:extLst>
                  <a:ext uri="{FF2B5EF4-FFF2-40B4-BE49-F238E27FC236}">
                    <a16:creationId xmlns:a16="http://schemas.microsoft.com/office/drawing/2014/main" id="{629F9CD5-6F49-4BEF-B740-F840386384E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466516" y="1535113"/>
                <a:ext cx="87313" cy="90487"/>
              </a:xfrm>
              <a:custGeom>
                <a:avLst/>
                <a:gdLst>
                  <a:gd name="T0" fmla="*/ 0 w 110"/>
                  <a:gd name="T1" fmla="*/ 0 h 115"/>
                  <a:gd name="T2" fmla="*/ 32 w 110"/>
                  <a:gd name="T3" fmla="*/ 0 h 115"/>
                  <a:gd name="T4" fmla="*/ 32 w 110"/>
                  <a:gd name="T5" fmla="*/ 68 h 115"/>
                  <a:gd name="T6" fmla="*/ 80 w 110"/>
                  <a:gd name="T7" fmla="*/ 0 h 115"/>
                  <a:gd name="T8" fmla="*/ 110 w 110"/>
                  <a:gd name="T9" fmla="*/ 0 h 115"/>
                  <a:gd name="T10" fmla="*/ 110 w 110"/>
                  <a:gd name="T11" fmla="*/ 115 h 115"/>
                  <a:gd name="T12" fmla="*/ 78 w 110"/>
                  <a:gd name="T13" fmla="*/ 115 h 115"/>
                  <a:gd name="T14" fmla="*/ 78 w 110"/>
                  <a:gd name="T15" fmla="*/ 48 h 115"/>
                  <a:gd name="T16" fmla="*/ 30 w 110"/>
                  <a:gd name="T17" fmla="*/ 115 h 115"/>
                  <a:gd name="T18" fmla="*/ 0 w 110"/>
                  <a:gd name="T19" fmla="*/ 115 h 115"/>
                  <a:gd name="T20" fmla="*/ 0 w 110"/>
                  <a:gd name="T21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0" h="115">
                    <a:moveTo>
                      <a:pt x="0" y="0"/>
                    </a:moveTo>
                    <a:lnTo>
                      <a:pt x="32" y="0"/>
                    </a:lnTo>
                    <a:lnTo>
                      <a:pt x="32" y="68"/>
                    </a:lnTo>
                    <a:lnTo>
                      <a:pt x="80" y="0"/>
                    </a:lnTo>
                    <a:lnTo>
                      <a:pt x="110" y="0"/>
                    </a:lnTo>
                    <a:lnTo>
                      <a:pt x="110" y="115"/>
                    </a:lnTo>
                    <a:lnTo>
                      <a:pt x="78" y="115"/>
                    </a:lnTo>
                    <a:lnTo>
                      <a:pt x="78" y="48"/>
                    </a:lnTo>
                    <a:lnTo>
                      <a:pt x="30" y="115"/>
                    </a:lnTo>
                    <a:lnTo>
                      <a:pt x="0" y="11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27">
                <a:extLst>
                  <a:ext uri="{FF2B5EF4-FFF2-40B4-BE49-F238E27FC236}">
                    <a16:creationId xmlns:a16="http://schemas.microsoft.com/office/drawing/2014/main" id="{9765D906-BFD3-434E-8617-B611068CFC54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1571291" y="1535113"/>
                <a:ext cx="80963" cy="90487"/>
              </a:xfrm>
              <a:custGeom>
                <a:avLst/>
                <a:gdLst>
                  <a:gd name="T0" fmla="*/ 103 w 103"/>
                  <a:gd name="T1" fmla="*/ 0 h 115"/>
                  <a:gd name="T2" fmla="*/ 103 w 103"/>
                  <a:gd name="T3" fmla="*/ 115 h 115"/>
                  <a:gd name="T4" fmla="*/ 71 w 103"/>
                  <a:gd name="T5" fmla="*/ 115 h 115"/>
                  <a:gd name="T6" fmla="*/ 71 w 103"/>
                  <a:gd name="T7" fmla="*/ 87 h 115"/>
                  <a:gd name="T8" fmla="*/ 54 w 103"/>
                  <a:gd name="T9" fmla="*/ 87 h 115"/>
                  <a:gd name="T10" fmla="*/ 34 w 103"/>
                  <a:gd name="T11" fmla="*/ 115 h 115"/>
                  <a:gd name="T12" fmla="*/ 0 w 103"/>
                  <a:gd name="T13" fmla="*/ 115 h 115"/>
                  <a:gd name="T14" fmla="*/ 23 w 103"/>
                  <a:gd name="T15" fmla="*/ 82 h 115"/>
                  <a:gd name="T16" fmla="*/ 23 w 103"/>
                  <a:gd name="T17" fmla="*/ 82 h 115"/>
                  <a:gd name="T18" fmla="*/ 18 w 103"/>
                  <a:gd name="T19" fmla="*/ 79 h 115"/>
                  <a:gd name="T20" fmla="*/ 13 w 103"/>
                  <a:gd name="T21" fmla="*/ 76 h 115"/>
                  <a:gd name="T22" fmla="*/ 9 w 103"/>
                  <a:gd name="T23" fmla="*/ 72 h 115"/>
                  <a:gd name="T24" fmla="*/ 6 w 103"/>
                  <a:gd name="T25" fmla="*/ 67 h 115"/>
                  <a:gd name="T26" fmla="*/ 6 w 103"/>
                  <a:gd name="T27" fmla="*/ 67 h 115"/>
                  <a:gd name="T28" fmla="*/ 3 w 103"/>
                  <a:gd name="T29" fmla="*/ 62 h 115"/>
                  <a:gd name="T30" fmla="*/ 1 w 103"/>
                  <a:gd name="T31" fmla="*/ 57 h 115"/>
                  <a:gd name="T32" fmla="*/ 0 w 103"/>
                  <a:gd name="T33" fmla="*/ 51 h 115"/>
                  <a:gd name="T34" fmla="*/ 0 w 103"/>
                  <a:gd name="T35" fmla="*/ 44 h 115"/>
                  <a:gd name="T36" fmla="*/ 0 w 103"/>
                  <a:gd name="T37" fmla="*/ 44 h 115"/>
                  <a:gd name="T38" fmla="*/ 0 w 103"/>
                  <a:gd name="T39" fmla="*/ 38 h 115"/>
                  <a:gd name="T40" fmla="*/ 1 w 103"/>
                  <a:gd name="T41" fmla="*/ 32 h 115"/>
                  <a:gd name="T42" fmla="*/ 3 w 103"/>
                  <a:gd name="T43" fmla="*/ 26 h 115"/>
                  <a:gd name="T44" fmla="*/ 6 w 103"/>
                  <a:gd name="T45" fmla="*/ 21 h 115"/>
                  <a:gd name="T46" fmla="*/ 6 w 103"/>
                  <a:gd name="T47" fmla="*/ 21 h 115"/>
                  <a:gd name="T48" fmla="*/ 10 w 103"/>
                  <a:gd name="T49" fmla="*/ 16 h 115"/>
                  <a:gd name="T50" fmla="*/ 14 w 103"/>
                  <a:gd name="T51" fmla="*/ 12 h 115"/>
                  <a:gd name="T52" fmla="*/ 19 w 103"/>
                  <a:gd name="T53" fmla="*/ 8 h 115"/>
                  <a:gd name="T54" fmla="*/ 24 w 103"/>
                  <a:gd name="T55" fmla="*/ 6 h 115"/>
                  <a:gd name="T56" fmla="*/ 24 w 103"/>
                  <a:gd name="T57" fmla="*/ 6 h 115"/>
                  <a:gd name="T58" fmla="*/ 30 w 103"/>
                  <a:gd name="T59" fmla="*/ 3 h 115"/>
                  <a:gd name="T60" fmla="*/ 37 w 103"/>
                  <a:gd name="T61" fmla="*/ 2 h 115"/>
                  <a:gd name="T62" fmla="*/ 45 w 103"/>
                  <a:gd name="T63" fmla="*/ 1 h 115"/>
                  <a:gd name="T64" fmla="*/ 52 w 103"/>
                  <a:gd name="T65" fmla="*/ 1 h 115"/>
                  <a:gd name="T66" fmla="*/ 103 w 103"/>
                  <a:gd name="T67" fmla="*/ 0 h 115"/>
                  <a:gd name="T68" fmla="*/ 32 w 103"/>
                  <a:gd name="T69" fmla="*/ 43 h 115"/>
                  <a:gd name="T70" fmla="*/ 32 w 103"/>
                  <a:gd name="T71" fmla="*/ 43 h 115"/>
                  <a:gd name="T72" fmla="*/ 33 w 103"/>
                  <a:gd name="T73" fmla="*/ 48 h 115"/>
                  <a:gd name="T74" fmla="*/ 34 w 103"/>
                  <a:gd name="T75" fmla="*/ 51 h 115"/>
                  <a:gd name="T76" fmla="*/ 35 w 103"/>
                  <a:gd name="T77" fmla="*/ 54 h 115"/>
                  <a:gd name="T78" fmla="*/ 37 w 103"/>
                  <a:gd name="T79" fmla="*/ 57 h 115"/>
                  <a:gd name="T80" fmla="*/ 37 w 103"/>
                  <a:gd name="T81" fmla="*/ 57 h 115"/>
                  <a:gd name="T82" fmla="*/ 42 w 103"/>
                  <a:gd name="T83" fmla="*/ 59 h 115"/>
                  <a:gd name="T84" fmla="*/ 45 w 103"/>
                  <a:gd name="T85" fmla="*/ 61 h 115"/>
                  <a:gd name="T86" fmla="*/ 49 w 103"/>
                  <a:gd name="T87" fmla="*/ 62 h 115"/>
                  <a:gd name="T88" fmla="*/ 52 w 103"/>
                  <a:gd name="T89" fmla="*/ 62 h 115"/>
                  <a:gd name="T90" fmla="*/ 72 w 103"/>
                  <a:gd name="T91" fmla="*/ 62 h 115"/>
                  <a:gd name="T92" fmla="*/ 72 w 103"/>
                  <a:gd name="T93" fmla="*/ 26 h 115"/>
                  <a:gd name="T94" fmla="*/ 53 w 103"/>
                  <a:gd name="T95" fmla="*/ 26 h 115"/>
                  <a:gd name="T96" fmla="*/ 53 w 103"/>
                  <a:gd name="T97" fmla="*/ 26 h 115"/>
                  <a:gd name="T98" fmla="*/ 48 w 103"/>
                  <a:gd name="T99" fmla="*/ 26 h 115"/>
                  <a:gd name="T100" fmla="*/ 44 w 103"/>
                  <a:gd name="T101" fmla="*/ 27 h 115"/>
                  <a:gd name="T102" fmla="*/ 41 w 103"/>
                  <a:gd name="T103" fmla="*/ 28 h 115"/>
                  <a:gd name="T104" fmla="*/ 37 w 103"/>
                  <a:gd name="T105" fmla="*/ 30 h 115"/>
                  <a:gd name="T106" fmla="*/ 35 w 103"/>
                  <a:gd name="T107" fmla="*/ 32 h 115"/>
                  <a:gd name="T108" fmla="*/ 34 w 103"/>
                  <a:gd name="T109" fmla="*/ 35 h 115"/>
                  <a:gd name="T110" fmla="*/ 33 w 103"/>
                  <a:gd name="T111" fmla="*/ 39 h 115"/>
                  <a:gd name="T112" fmla="*/ 32 w 103"/>
                  <a:gd name="T113" fmla="*/ 43 h 115"/>
                  <a:gd name="T114" fmla="*/ 32 w 103"/>
                  <a:gd name="T115" fmla="*/ 43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03" h="115">
                    <a:moveTo>
                      <a:pt x="103" y="0"/>
                    </a:moveTo>
                    <a:lnTo>
                      <a:pt x="103" y="115"/>
                    </a:lnTo>
                    <a:lnTo>
                      <a:pt x="71" y="115"/>
                    </a:lnTo>
                    <a:lnTo>
                      <a:pt x="71" y="87"/>
                    </a:lnTo>
                    <a:lnTo>
                      <a:pt x="54" y="87"/>
                    </a:lnTo>
                    <a:lnTo>
                      <a:pt x="34" y="115"/>
                    </a:lnTo>
                    <a:lnTo>
                      <a:pt x="0" y="115"/>
                    </a:lnTo>
                    <a:lnTo>
                      <a:pt x="23" y="82"/>
                    </a:lnTo>
                    <a:lnTo>
                      <a:pt x="23" y="82"/>
                    </a:lnTo>
                    <a:lnTo>
                      <a:pt x="18" y="79"/>
                    </a:lnTo>
                    <a:lnTo>
                      <a:pt x="13" y="76"/>
                    </a:lnTo>
                    <a:lnTo>
                      <a:pt x="9" y="72"/>
                    </a:lnTo>
                    <a:lnTo>
                      <a:pt x="6" y="67"/>
                    </a:lnTo>
                    <a:lnTo>
                      <a:pt x="6" y="67"/>
                    </a:lnTo>
                    <a:lnTo>
                      <a:pt x="3" y="62"/>
                    </a:lnTo>
                    <a:lnTo>
                      <a:pt x="1" y="57"/>
                    </a:lnTo>
                    <a:lnTo>
                      <a:pt x="0" y="51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38"/>
                    </a:lnTo>
                    <a:lnTo>
                      <a:pt x="1" y="32"/>
                    </a:lnTo>
                    <a:lnTo>
                      <a:pt x="3" y="26"/>
                    </a:lnTo>
                    <a:lnTo>
                      <a:pt x="6" y="21"/>
                    </a:lnTo>
                    <a:lnTo>
                      <a:pt x="6" y="21"/>
                    </a:lnTo>
                    <a:lnTo>
                      <a:pt x="10" y="16"/>
                    </a:lnTo>
                    <a:lnTo>
                      <a:pt x="14" y="12"/>
                    </a:lnTo>
                    <a:lnTo>
                      <a:pt x="19" y="8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30" y="3"/>
                    </a:lnTo>
                    <a:lnTo>
                      <a:pt x="37" y="2"/>
                    </a:lnTo>
                    <a:lnTo>
                      <a:pt x="45" y="1"/>
                    </a:lnTo>
                    <a:lnTo>
                      <a:pt x="52" y="1"/>
                    </a:lnTo>
                    <a:lnTo>
                      <a:pt x="103" y="0"/>
                    </a:lnTo>
                    <a:close/>
                    <a:moveTo>
                      <a:pt x="32" y="43"/>
                    </a:moveTo>
                    <a:lnTo>
                      <a:pt x="32" y="43"/>
                    </a:lnTo>
                    <a:lnTo>
                      <a:pt x="33" y="48"/>
                    </a:lnTo>
                    <a:lnTo>
                      <a:pt x="34" y="51"/>
                    </a:lnTo>
                    <a:lnTo>
                      <a:pt x="35" y="54"/>
                    </a:lnTo>
                    <a:lnTo>
                      <a:pt x="37" y="57"/>
                    </a:lnTo>
                    <a:lnTo>
                      <a:pt x="37" y="57"/>
                    </a:lnTo>
                    <a:lnTo>
                      <a:pt x="42" y="59"/>
                    </a:lnTo>
                    <a:lnTo>
                      <a:pt x="45" y="61"/>
                    </a:lnTo>
                    <a:lnTo>
                      <a:pt x="49" y="62"/>
                    </a:lnTo>
                    <a:lnTo>
                      <a:pt x="52" y="62"/>
                    </a:lnTo>
                    <a:lnTo>
                      <a:pt x="72" y="62"/>
                    </a:lnTo>
                    <a:lnTo>
                      <a:pt x="72" y="26"/>
                    </a:lnTo>
                    <a:lnTo>
                      <a:pt x="53" y="26"/>
                    </a:lnTo>
                    <a:lnTo>
                      <a:pt x="53" y="26"/>
                    </a:lnTo>
                    <a:lnTo>
                      <a:pt x="48" y="26"/>
                    </a:lnTo>
                    <a:lnTo>
                      <a:pt x="44" y="27"/>
                    </a:lnTo>
                    <a:lnTo>
                      <a:pt x="41" y="28"/>
                    </a:lnTo>
                    <a:lnTo>
                      <a:pt x="37" y="30"/>
                    </a:lnTo>
                    <a:lnTo>
                      <a:pt x="35" y="32"/>
                    </a:lnTo>
                    <a:lnTo>
                      <a:pt x="34" y="35"/>
                    </a:lnTo>
                    <a:lnTo>
                      <a:pt x="33" y="39"/>
                    </a:lnTo>
                    <a:lnTo>
                      <a:pt x="32" y="43"/>
                    </a:lnTo>
                    <a:lnTo>
                      <a:pt x="32" y="4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1BA501E8-B632-4081-93EA-0A3EF7B391E8}"/>
                </a:ext>
              </a:extLst>
            </p:cNvPr>
            <p:cNvGrpSpPr/>
            <p:nvPr userDrawn="1"/>
          </p:nvGrpSpPr>
          <p:grpSpPr>
            <a:xfrm>
              <a:off x="10332720" y="658368"/>
              <a:ext cx="670092" cy="617763"/>
              <a:chOff x="10301291" y="611188"/>
              <a:chExt cx="731838" cy="674687"/>
            </a:xfrm>
          </p:grpSpPr>
          <p:sp>
            <p:nvSpPr>
              <p:cNvPr id="70" name="Freeform 28">
                <a:extLst>
                  <a:ext uri="{FF2B5EF4-FFF2-40B4-BE49-F238E27FC236}">
                    <a16:creationId xmlns:a16="http://schemas.microsoft.com/office/drawing/2014/main" id="{8F45ABC1-8143-4B76-A373-5FE9F81DCBD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301291" y="611188"/>
                <a:ext cx="731838" cy="674687"/>
              </a:xfrm>
              <a:custGeom>
                <a:avLst/>
                <a:gdLst>
                  <a:gd name="T0" fmla="*/ 922 w 922"/>
                  <a:gd name="T1" fmla="*/ 0 h 850"/>
                  <a:gd name="T2" fmla="*/ 922 w 922"/>
                  <a:gd name="T3" fmla="*/ 850 h 850"/>
                  <a:gd name="T4" fmla="*/ 0 w 922"/>
                  <a:gd name="T5" fmla="*/ 850 h 850"/>
                  <a:gd name="T6" fmla="*/ 922 w 922"/>
                  <a:gd name="T7" fmla="*/ 0 h 8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22" h="850">
                    <a:moveTo>
                      <a:pt x="922" y="0"/>
                    </a:moveTo>
                    <a:lnTo>
                      <a:pt x="922" y="850"/>
                    </a:lnTo>
                    <a:lnTo>
                      <a:pt x="0" y="850"/>
                    </a:lnTo>
                    <a:lnTo>
                      <a:pt x="922" y="0"/>
                    </a:lnTo>
                    <a:close/>
                  </a:path>
                </a:pathLst>
              </a:custGeom>
              <a:solidFill>
                <a:srgbClr val="46AC4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29">
                <a:extLst>
                  <a:ext uri="{FF2B5EF4-FFF2-40B4-BE49-F238E27FC236}">
                    <a16:creationId xmlns:a16="http://schemas.microsoft.com/office/drawing/2014/main" id="{9898A95C-0362-418C-9CD1-695F425AF70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877554" y="611188"/>
                <a:ext cx="155575" cy="674687"/>
              </a:xfrm>
              <a:custGeom>
                <a:avLst/>
                <a:gdLst>
                  <a:gd name="T0" fmla="*/ 196 w 196"/>
                  <a:gd name="T1" fmla="*/ 0 h 850"/>
                  <a:gd name="T2" fmla="*/ 196 w 196"/>
                  <a:gd name="T3" fmla="*/ 850 h 850"/>
                  <a:gd name="T4" fmla="*/ 0 w 196"/>
                  <a:gd name="T5" fmla="*/ 850 h 850"/>
                  <a:gd name="T6" fmla="*/ 0 w 196"/>
                  <a:gd name="T7" fmla="*/ 181 h 850"/>
                  <a:gd name="T8" fmla="*/ 196 w 196"/>
                  <a:gd name="T9" fmla="*/ 0 h 8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6" h="850">
                    <a:moveTo>
                      <a:pt x="196" y="0"/>
                    </a:moveTo>
                    <a:lnTo>
                      <a:pt x="196" y="850"/>
                    </a:lnTo>
                    <a:lnTo>
                      <a:pt x="0" y="850"/>
                    </a:lnTo>
                    <a:lnTo>
                      <a:pt x="0" y="181"/>
                    </a:lnTo>
                    <a:lnTo>
                      <a:pt x="196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30">
                <a:extLst>
                  <a:ext uri="{FF2B5EF4-FFF2-40B4-BE49-F238E27FC236}">
                    <a16:creationId xmlns:a16="http://schemas.microsoft.com/office/drawing/2014/main" id="{BD3661F1-209C-432B-920B-0616E77A31D9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301291" y="625475"/>
                <a:ext cx="493713" cy="660400"/>
              </a:xfrm>
              <a:custGeom>
                <a:avLst/>
                <a:gdLst>
                  <a:gd name="T0" fmla="*/ 339 w 622"/>
                  <a:gd name="T1" fmla="*/ 302 h 833"/>
                  <a:gd name="T2" fmla="*/ 366 w 622"/>
                  <a:gd name="T3" fmla="*/ 303 h 833"/>
                  <a:gd name="T4" fmla="*/ 419 w 622"/>
                  <a:gd name="T5" fmla="*/ 309 h 833"/>
                  <a:gd name="T6" fmla="*/ 447 w 622"/>
                  <a:gd name="T7" fmla="*/ 315 h 833"/>
                  <a:gd name="T8" fmla="*/ 493 w 622"/>
                  <a:gd name="T9" fmla="*/ 332 h 833"/>
                  <a:gd name="T10" fmla="*/ 536 w 622"/>
                  <a:gd name="T11" fmla="*/ 358 h 833"/>
                  <a:gd name="T12" fmla="*/ 546 w 622"/>
                  <a:gd name="T13" fmla="*/ 366 h 833"/>
                  <a:gd name="T14" fmla="*/ 564 w 622"/>
                  <a:gd name="T15" fmla="*/ 383 h 833"/>
                  <a:gd name="T16" fmla="*/ 580 w 622"/>
                  <a:gd name="T17" fmla="*/ 404 h 833"/>
                  <a:gd name="T18" fmla="*/ 594 w 622"/>
                  <a:gd name="T19" fmla="*/ 428 h 833"/>
                  <a:gd name="T20" fmla="*/ 600 w 622"/>
                  <a:gd name="T21" fmla="*/ 440 h 833"/>
                  <a:gd name="T22" fmla="*/ 609 w 622"/>
                  <a:gd name="T23" fmla="*/ 468 h 833"/>
                  <a:gd name="T24" fmla="*/ 616 w 622"/>
                  <a:gd name="T25" fmla="*/ 500 h 833"/>
                  <a:gd name="T26" fmla="*/ 620 w 622"/>
                  <a:gd name="T27" fmla="*/ 532 h 833"/>
                  <a:gd name="T28" fmla="*/ 622 w 622"/>
                  <a:gd name="T29" fmla="*/ 568 h 833"/>
                  <a:gd name="T30" fmla="*/ 621 w 622"/>
                  <a:gd name="T31" fmla="*/ 586 h 833"/>
                  <a:gd name="T32" fmla="*/ 619 w 622"/>
                  <a:gd name="T33" fmla="*/ 620 h 833"/>
                  <a:gd name="T34" fmla="*/ 613 w 622"/>
                  <a:gd name="T35" fmla="*/ 653 h 833"/>
                  <a:gd name="T36" fmla="*/ 605 w 622"/>
                  <a:gd name="T37" fmla="*/ 682 h 833"/>
                  <a:gd name="T38" fmla="*/ 600 w 622"/>
                  <a:gd name="T39" fmla="*/ 695 h 833"/>
                  <a:gd name="T40" fmla="*/ 587 w 622"/>
                  <a:gd name="T41" fmla="*/ 720 h 833"/>
                  <a:gd name="T42" fmla="*/ 573 w 622"/>
                  <a:gd name="T43" fmla="*/ 742 h 833"/>
                  <a:gd name="T44" fmla="*/ 555 w 622"/>
                  <a:gd name="T45" fmla="*/ 761 h 833"/>
                  <a:gd name="T46" fmla="*/ 536 w 622"/>
                  <a:gd name="T47" fmla="*/ 779 h 833"/>
                  <a:gd name="T48" fmla="*/ 515 w 622"/>
                  <a:gd name="T49" fmla="*/ 792 h 833"/>
                  <a:gd name="T50" fmla="*/ 470 w 622"/>
                  <a:gd name="T51" fmla="*/ 813 h 833"/>
                  <a:gd name="T52" fmla="*/ 447 w 622"/>
                  <a:gd name="T53" fmla="*/ 820 h 833"/>
                  <a:gd name="T54" fmla="*/ 392 w 622"/>
                  <a:gd name="T55" fmla="*/ 830 h 833"/>
                  <a:gd name="T56" fmla="*/ 338 w 622"/>
                  <a:gd name="T57" fmla="*/ 833 h 833"/>
                  <a:gd name="T58" fmla="*/ 0 w 622"/>
                  <a:gd name="T59" fmla="*/ 0 h 833"/>
                  <a:gd name="T60" fmla="*/ 558 w 622"/>
                  <a:gd name="T61" fmla="*/ 187 h 833"/>
                  <a:gd name="T62" fmla="*/ 187 w 622"/>
                  <a:gd name="T63" fmla="*/ 302 h 833"/>
                  <a:gd name="T64" fmla="*/ 338 w 622"/>
                  <a:gd name="T65" fmla="*/ 661 h 833"/>
                  <a:gd name="T66" fmla="*/ 349 w 622"/>
                  <a:gd name="T67" fmla="*/ 660 h 833"/>
                  <a:gd name="T68" fmla="*/ 368 w 622"/>
                  <a:gd name="T69" fmla="*/ 658 h 833"/>
                  <a:gd name="T70" fmla="*/ 384 w 622"/>
                  <a:gd name="T71" fmla="*/ 652 h 833"/>
                  <a:gd name="T72" fmla="*/ 397 w 622"/>
                  <a:gd name="T73" fmla="*/ 644 h 833"/>
                  <a:gd name="T74" fmla="*/ 408 w 622"/>
                  <a:gd name="T75" fmla="*/ 634 h 833"/>
                  <a:gd name="T76" fmla="*/ 416 w 622"/>
                  <a:gd name="T77" fmla="*/ 620 h 833"/>
                  <a:gd name="T78" fmla="*/ 422 w 622"/>
                  <a:gd name="T79" fmla="*/ 604 h 833"/>
                  <a:gd name="T80" fmla="*/ 424 w 622"/>
                  <a:gd name="T81" fmla="*/ 586 h 833"/>
                  <a:gd name="T82" fmla="*/ 425 w 622"/>
                  <a:gd name="T83" fmla="*/ 575 h 833"/>
                  <a:gd name="T84" fmla="*/ 423 w 622"/>
                  <a:gd name="T85" fmla="*/ 556 h 833"/>
                  <a:gd name="T86" fmla="*/ 419 w 622"/>
                  <a:gd name="T87" fmla="*/ 539 h 833"/>
                  <a:gd name="T88" fmla="*/ 413 w 622"/>
                  <a:gd name="T89" fmla="*/ 524 h 833"/>
                  <a:gd name="T90" fmla="*/ 403 w 622"/>
                  <a:gd name="T91" fmla="*/ 512 h 833"/>
                  <a:gd name="T92" fmla="*/ 391 w 622"/>
                  <a:gd name="T93" fmla="*/ 503 h 833"/>
                  <a:gd name="T94" fmla="*/ 376 w 622"/>
                  <a:gd name="T95" fmla="*/ 497 h 833"/>
                  <a:gd name="T96" fmla="*/ 358 w 622"/>
                  <a:gd name="T97" fmla="*/ 493 h 833"/>
                  <a:gd name="T98" fmla="*/ 338 w 622"/>
                  <a:gd name="T99" fmla="*/ 491 h 833"/>
                  <a:gd name="T100" fmla="*/ 187 w 622"/>
                  <a:gd name="T101" fmla="*/ 661 h 8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622" h="833">
                    <a:moveTo>
                      <a:pt x="187" y="302"/>
                    </a:moveTo>
                    <a:lnTo>
                      <a:pt x="339" y="302"/>
                    </a:lnTo>
                    <a:lnTo>
                      <a:pt x="339" y="302"/>
                    </a:lnTo>
                    <a:lnTo>
                      <a:pt x="366" y="303"/>
                    </a:lnTo>
                    <a:lnTo>
                      <a:pt x="393" y="305"/>
                    </a:lnTo>
                    <a:lnTo>
                      <a:pt x="419" y="309"/>
                    </a:lnTo>
                    <a:lnTo>
                      <a:pt x="447" y="315"/>
                    </a:lnTo>
                    <a:lnTo>
                      <a:pt x="447" y="315"/>
                    </a:lnTo>
                    <a:lnTo>
                      <a:pt x="471" y="323"/>
                    </a:lnTo>
                    <a:lnTo>
                      <a:pt x="493" y="332"/>
                    </a:lnTo>
                    <a:lnTo>
                      <a:pt x="515" y="345"/>
                    </a:lnTo>
                    <a:lnTo>
                      <a:pt x="536" y="358"/>
                    </a:lnTo>
                    <a:lnTo>
                      <a:pt x="536" y="358"/>
                    </a:lnTo>
                    <a:lnTo>
                      <a:pt x="546" y="366"/>
                    </a:lnTo>
                    <a:lnTo>
                      <a:pt x="555" y="374"/>
                    </a:lnTo>
                    <a:lnTo>
                      <a:pt x="564" y="383"/>
                    </a:lnTo>
                    <a:lnTo>
                      <a:pt x="573" y="393"/>
                    </a:lnTo>
                    <a:lnTo>
                      <a:pt x="580" y="404"/>
                    </a:lnTo>
                    <a:lnTo>
                      <a:pt x="587" y="415"/>
                    </a:lnTo>
                    <a:lnTo>
                      <a:pt x="594" y="428"/>
                    </a:lnTo>
                    <a:lnTo>
                      <a:pt x="600" y="440"/>
                    </a:lnTo>
                    <a:lnTo>
                      <a:pt x="600" y="440"/>
                    </a:lnTo>
                    <a:lnTo>
                      <a:pt x="605" y="454"/>
                    </a:lnTo>
                    <a:lnTo>
                      <a:pt x="609" y="468"/>
                    </a:lnTo>
                    <a:lnTo>
                      <a:pt x="613" y="484"/>
                    </a:lnTo>
                    <a:lnTo>
                      <a:pt x="616" y="500"/>
                    </a:lnTo>
                    <a:lnTo>
                      <a:pt x="619" y="516"/>
                    </a:lnTo>
                    <a:lnTo>
                      <a:pt x="620" y="532"/>
                    </a:lnTo>
                    <a:lnTo>
                      <a:pt x="621" y="550"/>
                    </a:lnTo>
                    <a:lnTo>
                      <a:pt x="622" y="568"/>
                    </a:lnTo>
                    <a:lnTo>
                      <a:pt x="622" y="568"/>
                    </a:lnTo>
                    <a:lnTo>
                      <a:pt x="621" y="586"/>
                    </a:lnTo>
                    <a:lnTo>
                      <a:pt x="620" y="603"/>
                    </a:lnTo>
                    <a:lnTo>
                      <a:pt x="619" y="620"/>
                    </a:lnTo>
                    <a:lnTo>
                      <a:pt x="616" y="637"/>
                    </a:lnTo>
                    <a:lnTo>
                      <a:pt x="613" y="653"/>
                    </a:lnTo>
                    <a:lnTo>
                      <a:pt x="609" y="668"/>
                    </a:lnTo>
                    <a:lnTo>
                      <a:pt x="605" y="682"/>
                    </a:lnTo>
                    <a:lnTo>
                      <a:pt x="600" y="695"/>
                    </a:lnTo>
                    <a:lnTo>
                      <a:pt x="600" y="695"/>
                    </a:lnTo>
                    <a:lnTo>
                      <a:pt x="594" y="708"/>
                    </a:lnTo>
                    <a:lnTo>
                      <a:pt x="587" y="720"/>
                    </a:lnTo>
                    <a:lnTo>
                      <a:pt x="580" y="732"/>
                    </a:lnTo>
                    <a:lnTo>
                      <a:pt x="573" y="742"/>
                    </a:lnTo>
                    <a:lnTo>
                      <a:pt x="564" y="752"/>
                    </a:lnTo>
                    <a:lnTo>
                      <a:pt x="555" y="761"/>
                    </a:lnTo>
                    <a:lnTo>
                      <a:pt x="546" y="771"/>
                    </a:lnTo>
                    <a:lnTo>
                      <a:pt x="536" y="779"/>
                    </a:lnTo>
                    <a:lnTo>
                      <a:pt x="536" y="779"/>
                    </a:lnTo>
                    <a:lnTo>
                      <a:pt x="515" y="792"/>
                    </a:lnTo>
                    <a:lnTo>
                      <a:pt x="493" y="804"/>
                    </a:lnTo>
                    <a:lnTo>
                      <a:pt x="470" y="813"/>
                    </a:lnTo>
                    <a:lnTo>
                      <a:pt x="447" y="820"/>
                    </a:lnTo>
                    <a:lnTo>
                      <a:pt x="447" y="820"/>
                    </a:lnTo>
                    <a:lnTo>
                      <a:pt x="419" y="826"/>
                    </a:lnTo>
                    <a:lnTo>
                      <a:pt x="392" y="830"/>
                    </a:lnTo>
                    <a:lnTo>
                      <a:pt x="365" y="833"/>
                    </a:lnTo>
                    <a:lnTo>
                      <a:pt x="338" y="833"/>
                    </a:lnTo>
                    <a:lnTo>
                      <a:pt x="0" y="833"/>
                    </a:lnTo>
                    <a:lnTo>
                      <a:pt x="0" y="0"/>
                    </a:lnTo>
                    <a:lnTo>
                      <a:pt x="558" y="0"/>
                    </a:lnTo>
                    <a:lnTo>
                      <a:pt x="558" y="187"/>
                    </a:lnTo>
                    <a:lnTo>
                      <a:pt x="187" y="187"/>
                    </a:lnTo>
                    <a:lnTo>
                      <a:pt x="187" y="302"/>
                    </a:lnTo>
                    <a:close/>
                    <a:moveTo>
                      <a:pt x="187" y="661"/>
                    </a:moveTo>
                    <a:lnTo>
                      <a:pt x="338" y="661"/>
                    </a:lnTo>
                    <a:lnTo>
                      <a:pt x="338" y="661"/>
                    </a:lnTo>
                    <a:lnTo>
                      <a:pt x="349" y="660"/>
                    </a:lnTo>
                    <a:lnTo>
                      <a:pt x="358" y="659"/>
                    </a:lnTo>
                    <a:lnTo>
                      <a:pt x="368" y="658"/>
                    </a:lnTo>
                    <a:lnTo>
                      <a:pt x="376" y="655"/>
                    </a:lnTo>
                    <a:lnTo>
                      <a:pt x="384" y="652"/>
                    </a:lnTo>
                    <a:lnTo>
                      <a:pt x="391" y="649"/>
                    </a:lnTo>
                    <a:lnTo>
                      <a:pt x="397" y="644"/>
                    </a:lnTo>
                    <a:lnTo>
                      <a:pt x="403" y="640"/>
                    </a:lnTo>
                    <a:lnTo>
                      <a:pt x="408" y="634"/>
                    </a:lnTo>
                    <a:lnTo>
                      <a:pt x="413" y="628"/>
                    </a:lnTo>
                    <a:lnTo>
                      <a:pt x="416" y="620"/>
                    </a:lnTo>
                    <a:lnTo>
                      <a:pt x="419" y="612"/>
                    </a:lnTo>
                    <a:lnTo>
                      <a:pt x="422" y="604"/>
                    </a:lnTo>
                    <a:lnTo>
                      <a:pt x="423" y="595"/>
                    </a:lnTo>
                    <a:lnTo>
                      <a:pt x="424" y="586"/>
                    </a:lnTo>
                    <a:lnTo>
                      <a:pt x="425" y="575"/>
                    </a:lnTo>
                    <a:lnTo>
                      <a:pt x="425" y="575"/>
                    </a:lnTo>
                    <a:lnTo>
                      <a:pt x="424" y="565"/>
                    </a:lnTo>
                    <a:lnTo>
                      <a:pt x="423" y="556"/>
                    </a:lnTo>
                    <a:lnTo>
                      <a:pt x="422" y="547"/>
                    </a:lnTo>
                    <a:lnTo>
                      <a:pt x="419" y="539"/>
                    </a:lnTo>
                    <a:lnTo>
                      <a:pt x="416" y="531"/>
                    </a:lnTo>
                    <a:lnTo>
                      <a:pt x="413" y="524"/>
                    </a:lnTo>
                    <a:lnTo>
                      <a:pt x="408" y="518"/>
                    </a:lnTo>
                    <a:lnTo>
                      <a:pt x="403" y="512"/>
                    </a:lnTo>
                    <a:lnTo>
                      <a:pt x="397" y="507"/>
                    </a:lnTo>
                    <a:lnTo>
                      <a:pt x="391" y="503"/>
                    </a:lnTo>
                    <a:lnTo>
                      <a:pt x="384" y="500"/>
                    </a:lnTo>
                    <a:lnTo>
                      <a:pt x="376" y="497"/>
                    </a:lnTo>
                    <a:lnTo>
                      <a:pt x="368" y="494"/>
                    </a:lnTo>
                    <a:lnTo>
                      <a:pt x="358" y="493"/>
                    </a:lnTo>
                    <a:lnTo>
                      <a:pt x="349" y="492"/>
                    </a:lnTo>
                    <a:lnTo>
                      <a:pt x="338" y="491"/>
                    </a:lnTo>
                    <a:lnTo>
                      <a:pt x="187" y="491"/>
                    </a:lnTo>
                    <a:lnTo>
                      <a:pt x="187" y="66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20789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665" b="5556"/>
          <a:stretch/>
        </p:blipFill>
        <p:spPr>
          <a:xfrm>
            <a:off x="3176" y="3175"/>
            <a:ext cx="12188824" cy="6854823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B9F668A-A21C-4012-A21B-0A2088F209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73028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69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Прямоугольник 3">
            <a:extLst>
              <a:ext uri="{FF2B5EF4-FFF2-40B4-BE49-F238E27FC236}">
                <a16:creationId xmlns:a16="http://schemas.microsoft.com/office/drawing/2014/main" id="{60172E52-0B48-4FB1-99B3-A98B88F1AD28}"/>
              </a:ext>
            </a:extLst>
          </p:cNvPr>
          <p:cNvSpPr/>
          <p:nvPr userDrawn="1"/>
        </p:nvSpPr>
        <p:spPr>
          <a:xfrm>
            <a:off x="0" y="3176"/>
            <a:ext cx="12191998" cy="6854822"/>
          </a:xfrm>
          <a:prstGeom prst="rect">
            <a:avLst/>
          </a:prstGeom>
          <a:solidFill>
            <a:schemeClr val="bg2">
              <a:alpha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ru-RU" sz="9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A90D080-F0E4-2C5C-0213-20E60531CF6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05345" y="2155923"/>
            <a:ext cx="7448353" cy="1273077"/>
          </a:xfrm>
        </p:spPr>
        <p:txBody>
          <a:bodyPr vert="horz"/>
          <a:lstStyle>
            <a:lvl1pPr>
              <a:lnSpc>
                <a:spcPts val="4000"/>
              </a:lnSpc>
              <a:defRPr sz="3200" b="1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GB" dirty="0"/>
              <a:t>TITLE CAPS</a:t>
            </a:r>
            <a:br>
              <a:rPr lang="en-GB" dirty="0"/>
            </a:br>
            <a:r>
              <a:rPr lang="en-GB" dirty="0"/>
              <a:t>(MONTSERRAT 32 POINT)</a:t>
            </a:r>
          </a:p>
        </p:txBody>
      </p:sp>
      <p:pic>
        <p:nvPicPr>
          <p:cNvPr id="8" name="Picture 7" descr="A close up of some leaves&#10;&#10;Description automatically generated with low confidence">
            <a:extLst>
              <a:ext uri="{FF2B5EF4-FFF2-40B4-BE49-F238E27FC236}">
                <a16:creationId xmlns:a16="http://schemas.microsoft.com/office/drawing/2014/main" id="{18AF4D43-ED4F-2F0E-5A37-99D9EC96712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9340" y="2778187"/>
            <a:ext cx="4442659" cy="4079812"/>
          </a:xfrm>
          <a:prstGeom prst="rect">
            <a:avLst/>
          </a:prstGeom>
        </p:spPr>
      </p:pic>
      <p:sp>
        <p:nvSpPr>
          <p:cNvPr id="45" name="Text Placeholder 73">
            <a:extLst>
              <a:ext uri="{FF2B5EF4-FFF2-40B4-BE49-F238E27FC236}">
                <a16:creationId xmlns:a16="http://schemas.microsoft.com/office/drawing/2014/main" id="{E163E115-488A-492B-A93E-1C99A643F3C4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04913" y="3383279"/>
            <a:ext cx="5210175" cy="35964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Subtitle (Montserrat 20 point)</a:t>
            </a:r>
          </a:p>
        </p:txBody>
      </p:sp>
      <p:sp>
        <p:nvSpPr>
          <p:cNvPr id="46" name="Text Placeholder 77">
            <a:extLst>
              <a:ext uri="{FF2B5EF4-FFF2-40B4-BE49-F238E27FC236}">
                <a16:creationId xmlns:a16="http://schemas.microsoft.com/office/drawing/2014/main" id="{C5F87F1F-234A-4D93-88C9-93CAB0341926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04913" y="3822733"/>
            <a:ext cx="5210175" cy="326348"/>
          </a:xfrm>
        </p:spPr>
        <p:txBody>
          <a:bodyPr/>
          <a:lstStyle>
            <a:lvl1pPr marL="0" indent="0">
              <a:buNone/>
              <a:defRPr sz="1600" b="0" i="0" u="none">
                <a:solidFill>
                  <a:schemeClr val="tx1"/>
                </a:solidFill>
                <a:latin typeface="Montserrat Alternates SemiBold" panose="00000700000000000000" pitchFamily="50" charset="-52"/>
              </a:defRPr>
            </a:lvl1pPr>
          </a:lstStyle>
          <a:p>
            <a:pPr>
              <a:lnSpc>
                <a:spcPts val="2400"/>
              </a:lnSpc>
              <a:spcBef>
                <a:spcPts val="0"/>
              </a:spcBef>
              <a:spcAft>
                <a:spcPts val="600"/>
              </a:spcAft>
            </a:pPr>
            <a:r>
              <a:rPr lang="en-IN" b="1">
                <a:solidFill>
                  <a:schemeClr val="bg1"/>
                </a:solidFill>
                <a:latin typeface="Montserrat" pitchFamily="2" charset="77"/>
              </a:rPr>
              <a:t>XX Month 200X (Montserrat bold 16 point)</a:t>
            </a:r>
            <a:endParaRPr lang="en-IN" b="1" dirty="0">
              <a:solidFill>
                <a:schemeClr val="bg1"/>
              </a:solidFill>
              <a:latin typeface="Montserrat" pitchFamily="2" charset="77"/>
            </a:endParaRP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580B5132-ECEB-41A2-AFA3-F614B2F16618}"/>
              </a:ext>
            </a:extLst>
          </p:cNvPr>
          <p:cNvGrpSpPr/>
          <p:nvPr userDrawn="1"/>
        </p:nvGrpSpPr>
        <p:grpSpPr>
          <a:xfrm>
            <a:off x="10346853" y="658368"/>
            <a:ext cx="1319534" cy="970407"/>
            <a:chOff x="10332720" y="658368"/>
            <a:chExt cx="1319534" cy="970407"/>
          </a:xfrm>
        </p:grpSpPr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70F429CD-88BE-41D7-8FD7-0A6594767530}"/>
                </a:ext>
              </a:extLst>
            </p:cNvPr>
            <p:cNvGrpSpPr/>
            <p:nvPr userDrawn="1"/>
          </p:nvGrpSpPr>
          <p:grpSpPr>
            <a:xfrm>
              <a:off x="10344154" y="1376363"/>
              <a:ext cx="1308100" cy="252412"/>
              <a:chOff x="10344154" y="1376363"/>
              <a:chExt cx="1308100" cy="252412"/>
            </a:xfrm>
          </p:grpSpPr>
          <p:sp>
            <p:nvSpPr>
              <p:cNvPr id="78" name="Freeform 5">
                <a:extLst>
                  <a:ext uri="{FF2B5EF4-FFF2-40B4-BE49-F238E27FC236}">
                    <a16:creationId xmlns:a16="http://schemas.microsoft.com/office/drawing/2014/main" id="{5AE88532-87A8-42E4-AE31-F3196759C81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344154" y="1379538"/>
                <a:ext cx="85725" cy="90487"/>
              </a:xfrm>
              <a:custGeom>
                <a:avLst/>
                <a:gdLst>
                  <a:gd name="T0" fmla="*/ 109 w 109"/>
                  <a:gd name="T1" fmla="*/ 0 h 115"/>
                  <a:gd name="T2" fmla="*/ 109 w 109"/>
                  <a:gd name="T3" fmla="*/ 115 h 115"/>
                  <a:gd name="T4" fmla="*/ 77 w 109"/>
                  <a:gd name="T5" fmla="*/ 115 h 115"/>
                  <a:gd name="T6" fmla="*/ 77 w 109"/>
                  <a:gd name="T7" fmla="*/ 69 h 115"/>
                  <a:gd name="T8" fmla="*/ 32 w 109"/>
                  <a:gd name="T9" fmla="*/ 69 h 115"/>
                  <a:gd name="T10" fmla="*/ 32 w 109"/>
                  <a:gd name="T11" fmla="*/ 115 h 115"/>
                  <a:gd name="T12" fmla="*/ 0 w 109"/>
                  <a:gd name="T13" fmla="*/ 115 h 115"/>
                  <a:gd name="T14" fmla="*/ 0 w 109"/>
                  <a:gd name="T15" fmla="*/ 0 h 115"/>
                  <a:gd name="T16" fmla="*/ 32 w 109"/>
                  <a:gd name="T17" fmla="*/ 0 h 115"/>
                  <a:gd name="T18" fmla="*/ 32 w 109"/>
                  <a:gd name="T19" fmla="*/ 43 h 115"/>
                  <a:gd name="T20" fmla="*/ 77 w 109"/>
                  <a:gd name="T21" fmla="*/ 43 h 115"/>
                  <a:gd name="T22" fmla="*/ 77 w 109"/>
                  <a:gd name="T23" fmla="*/ 0 h 115"/>
                  <a:gd name="T24" fmla="*/ 109 w 109"/>
                  <a:gd name="T25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9" h="115">
                    <a:moveTo>
                      <a:pt x="109" y="0"/>
                    </a:moveTo>
                    <a:lnTo>
                      <a:pt x="109" y="115"/>
                    </a:lnTo>
                    <a:lnTo>
                      <a:pt x="77" y="115"/>
                    </a:lnTo>
                    <a:lnTo>
                      <a:pt x="77" y="69"/>
                    </a:lnTo>
                    <a:lnTo>
                      <a:pt x="32" y="69"/>
                    </a:lnTo>
                    <a:lnTo>
                      <a:pt x="3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2" y="0"/>
                    </a:lnTo>
                    <a:lnTo>
                      <a:pt x="32" y="43"/>
                    </a:lnTo>
                    <a:lnTo>
                      <a:pt x="77" y="43"/>
                    </a:lnTo>
                    <a:lnTo>
                      <a:pt x="77" y="0"/>
                    </a:lnTo>
                    <a:lnTo>
                      <a:pt x="109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6">
                <a:extLst>
                  <a:ext uri="{FF2B5EF4-FFF2-40B4-BE49-F238E27FC236}">
                    <a16:creationId xmlns:a16="http://schemas.microsoft.com/office/drawing/2014/main" id="{9783FB34-8063-41FE-856B-D9A2C64BBF8F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447341" y="1377950"/>
                <a:ext cx="101600" cy="93662"/>
              </a:xfrm>
              <a:custGeom>
                <a:avLst/>
                <a:gdLst>
                  <a:gd name="T0" fmla="*/ 31 w 128"/>
                  <a:gd name="T1" fmla="*/ 112 h 119"/>
                  <a:gd name="T2" fmla="*/ 21 w 128"/>
                  <a:gd name="T3" fmla="*/ 105 h 119"/>
                  <a:gd name="T4" fmla="*/ 6 w 128"/>
                  <a:gd name="T5" fmla="*/ 87 h 119"/>
                  <a:gd name="T6" fmla="*/ 0 w 128"/>
                  <a:gd name="T7" fmla="*/ 65 h 119"/>
                  <a:gd name="T8" fmla="*/ 2 w 128"/>
                  <a:gd name="T9" fmla="*/ 43 h 119"/>
                  <a:gd name="T10" fmla="*/ 6 w 128"/>
                  <a:gd name="T11" fmla="*/ 32 h 119"/>
                  <a:gd name="T12" fmla="*/ 11 w 128"/>
                  <a:gd name="T13" fmla="*/ 24 h 119"/>
                  <a:gd name="T14" fmla="*/ 23 w 128"/>
                  <a:gd name="T15" fmla="*/ 12 h 119"/>
                  <a:gd name="T16" fmla="*/ 31 w 128"/>
                  <a:gd name="T17" fmla="*/ 7 h 119"/>
                  <a:gd name="T18" fmla="*/ 46 w 128"/>
                  <a:gd name="T19" fmla="*/ 2 h 119"/>
                  <a:gd name="T20" fmla="*/ 64 w 128"/>
                  <a:gd name="T21" fmla="*/ 0 h 119"/>
                  <a:gd name="T22" fmla="*/ 81 w 128"/>
                  <a:gd name="T23" fmla="*/ 2 h 119"/>
                  <a:gd name="T24" fmla="*/ 97 w 128"/>
                  <a:gd name="T25" fmla="*/ 7 h 119"/>
                  <a:gd name="T26" fmla="*/ 102 w 128"/>
                  <a:gd name="T27" fmla="*/ 10 h 119"/>
                  <a:gd name="T28" fmla="*/ 115 w 128"/>
                  <a:gd name="T29" fmla="*/ 22 h 119"/>
                  <a:gd name="T30" fmla="*/ 125 w 128"/>
                  <a:gd name="T31" fmla="*/ 42 h 119"/>
                  <a:gd name="T32" fmla="*/ 128 w 128"/>
                  <a:gd name="T33" fmla="*/ 64 h 119"/>
                  <a:gd name="T34" fmla="*/ 124 w 128"/>
                  <a:gd name="T35" fmla="*/ 81 h 119"/>
                  <a:gd name="T36" fmla="*/ 121 w 128"/>
                  <a:gd name="T37" fmla="*/ 86 h 119"/>
                  <a:gd name="T38" fmla="*/ 111 w 128"/>
                  <a:gd name="T39" fmla="*/ 100 h 119"/>
                  <a:gd name="T40" fmla="*/ 97 w 128"/>
                  <a:gd name="T41" fmla="*/ 112 h 119"/>
                  <a:gd name="T42" fmla="*/ 89 w 128"/>
                  <a:gd name="T43" fmla="*/ 115 h 119"/>
                  <a:gd name="T44" fmla="*/ 72 w 128"/>
                  <a:gd name="T45" fmla="*/ 119 h 119"/>
                  <a:gd name="T46" fmla="*/ 55 w 128"/>
                  <a:gd name="T47" fmla="*/ 119 h 119"/>
                  <a:gd name="T48" fmla="*/ 38 w 128"/>
                  <a:gd name="T49" fmla="*/ 115 h 119"/>
                  <a:gd name="T50" fmla="*/ 31 w 128"/>
                  <a:gd name="T51" fmla="*/ 112 h 119"/>
                  <a:gd name="T52" fmla="*/ 80 w 128"/>
                  <a:gd name="T53" fmla="*/ 87 h 119"/>
                  <a:gd name="T54" fmla="*/ 91 w 128"/>
                  <a:gd name="T55" fmla="*/ 76 h 119"/>
                  <a:gd name="T56" fmla="*/ 94 w 128"/>
                  <a:gd name="T57" fmla="*/ 68 h 119"/>
                  <a:gd name="T58" fmla="*/ 94 w 128"/>
                  <a:gd name="T59" fmla="*/ 50 h 119"/>
                  <a:gd name="T60" fmla="*/ 91 w 128"/>
                  <a:gd name="T61" fmla="*/ 42 h 119"/>
                  <a:gd name="T62" fmla="*/ 80 w 128"/>
                  <a:gd name="T63" fmla="*/ 30 h 119"/>
                  <a:gd name="T64" fmla="*/ 72 w 128"/>
                  <a:gd name="T65" fmla="*/ 27 h 119"/>
                  <a:gd name="T66" fmla="*/ 55 w 128"/>
                  <a:gd name="T67" fmla="*/ 27 h 119"/>
                  <a:gd name="T68" fmla="*/ 47 w 128"/>
                  <a:gd name="T69" fmla="*/ 30 h 119"/>
                  <a:gd name="T70" fmla="*/ 36 w 128"/>
                  <a:gd name="T71" fmla="*/ 42 h 119"/>
                  <a:gd name="T72" fmla="*/ 33 w 128"/>
                  <a:gd name="T73" fmla="*/ 50 h 119"/>
                  <a:gd name="T74" fmla="*/ 33 w 128"/>
                  <a:gd name="T75" fmla="*/ 68 h 119"/>
                  <a:gd name="T76" fmla="*/ 36 w 128"/>
                  <a:gd name="T77" fmla="*/ 76 h 119"/>
                  <a:gd name="T78" fmla="*/ 47 w 128"/>
                  <a:gd name="T79" fmla="*/ 87 h 119"/>
                  <a:gd name="T80" fmla="*/ 55 w 128"/>
                  <a:gd name="T81" fmla="*/ 90 h 119"/>
                  <a:gd name="T82" fmla="*/ 72 w 128"/>
                  <a:gd name="T83" fmla="*/ 90 h 119"/>
                  <a:gd name="T84" fmla="*/ 80 w 128"/>
                  <a:gd name="T85" fmla="*/ 87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28" h="119">
                    <a:moveTo>
                      <a:pt x="31" y="112"/>
                    </a:moveTo>
                    <a:lnTo>
                      <a:pt x="31" y="112"/>
                    </a:lnTo>
                    <a:lnTo>
                      <a:pt x="25" y="109"/>
                    </a:lnTo>
                    <a:lnTo>
                      <a:pt x="21" y="105"/>
                    </a:lnTo>
                    <a:lnTo>
                      <a:pt x="13" y="96"/>
                    </a:lnTo>
                    <a:lnTo>
                      <a:pt x="6" y="87"/>
                    </a:lnTo>
                    <a:lnTo>
                      <a:pt x="2" y="76"/>
                    </a:lnTo>
                    <a:lnTo>
                      <a:pt x="0" y="65"/>
                    </a:lnTo>
                    <a:lnTo>
                      <a:pt x="0" y="54"/>
                    </a:lnTo>
                    <a:lnTo>
                      <a:pt x="2" y="43"/>
                    </a:lnTo>
                    <a:lnTo>
                      <a:pt x="4" y="37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11" y="24"/>
                    </a:lnTo>
                    <a:lnTo>
                      <a:pt x="16" y="18"/>
                    </a:lnTo>
                    <a:lnTo>
                      <a:pt x="23" y="12"/>
                    </a:lnTo>
                    <a:lnTo>
                      <a:pt x="31" y="7"/>
                    </a:lnTo>
                    <a:lnTo>
                      <a:pt x="31" y="7"/>
                    </a:lnTo>
                    <a:lnTo>
                      <a:pt x="38" y="4"/>
                    </a:lnTo>
                    <a:lnTo>
                      <a:pt x="46" y="2"/>
                    </a:lnTo>
                    <a:lnTo>
                      <a:pt x="55" y="0"/>
                    </a:lnTo>
                    <a:lnTo>
                      <a:pt x="64" y="0"/>
                    </a:lnTo>
                    <a:lnTo>
                      <a:pt x="72" y="0"/>
                    </a:lnTo>
                    <a:lnTo>
                      <a:pt x="81" y="2"/>
                    </a:lnTo>
                    <a:lnTo>
                      <a:pt x="89" y="4"/>
                    </a:lnTo>
                    <a:lnTo>
                      <a:pt x="97" y="7"/>
                    </a:lnTo>
                    <a:lnTo>
                      <a:pt x="97" y="7"/>
                    </a:lnTo>
                    <a:lnTo>
                      <a:pt x="102" y="10"/>
                    </a:lnTo>
                    <a:lnTo>
                      <a:pt x="106" y="14"/>
                    </a:lnTo>
                    <a:lnTo>
                      <a:pt x="115" y="22"/>
                    </a:lnTo>
                    <a:lnTo>
                      <a:pt x="121" y="31"/>
                    </a:lnTo>
                    <a:lnTo>
                      <a:pt x="125" y="42"/>
                    </a:lnTo>
                    <a:lnTo>
                      <a:pt x="127" y="53"/>
                    </a:lnTo>
                    <a:lnTo>
                      <a:pt x="128" y="64"/>
                    </a:lnTo>
                    <a:lnTo>
                      <a:pt x="125" y="75"/>
                    </a:lnTo>
                    <a:lnTo>
                      <a:pt x="124" y="81"/>
                    </a:lnTo>
                    <a:lnTo>
                      <a:pt x="121" y="86"/>
                    </a:lnTo>
                    <a:lnTo>
                      <a:pt x="121" y="86"/>
                    </a:lnTo>
                    <a:lnTo>
                      <a:pt x="116" y="94"/>
                    </a:lnTo>
                    <a:lnTo>
                      <a:pt x="111" y="100"/>
                    </a:lnTo>
                    <a:lnTo>
                      <a:pt x="104" y="107"/>
                    </a:lnTo>
                    <a:lnTo>
                      <a:pt x="97" y="112"/>
                    </a:lnTo>
                    <a:lnTo>
                      <a:pt x="97" y="112"/>
                    </a:lnTo>
                    <a:lnTo>
                      <a:pt x="89" y="115"/>
                    </a:lnTo>
                    <a:lnTo>
                      <a:pt x="81" y="117"/>
                    </a:lnTo>
                    <a:lnTo>
                      <a:pt x="72" y="119"/>
                    </a:lnTo>
                    <a:lnTo>
                      <a:pt x="64" y="119"/>
                    </a:lnTo>
                    <a:lnTo>
                      <a:pt x="55" y="119"/>
                    </a:lnTo>
                    <a:lnTo>
                      <a:pt x="46" y="117"/>
                    </a:lnTo>
                    <a:lnTo>
                      <a:pt x="38" y="115"/>
                    </a:lnTo>
                    <a:lnTo>
                      <a:pt x="31" y="112"/>
                    </a:lnTo>
                    <a:lnTo>
                      <a:pt x="31" y="112"/>
                    </a:lnTo>
                    <a:close/>
                    <a:moveTo>
                      <a:pt x="80" y="87"/>
                    </a:moveTo>
                    <a:lnTo>
                      <a:pt x="80" y="87"/>
                    </a:lnTo>
                    <a:lnTo>
                      <a:pt x="86" y="82"/>
                    </a:lnTo>
                    <a:lnTo>
                      <a:pt x="91" y="76"/>
                    </a:lnTo>
                    <a:lnTo>
                      <a:pt x="91" y="76"/>
                    </a:lnTo>
                    <a:lnTo>
                      <a:pt x="94" y="68"/>
                    </a:lnTo>
                    <a:lnTo>
                      <a:pt x="95" y="59"/>
                    </a:lnTo>
                    <a:lnTo>
                      <a:pt x="94" y="50"/>
                    </a:lnTo>
                    <a:lnTo>
                      <a:pt x="91" y="42"/>
                    </a:lnTo>
                    <a:lnTo>
                      <a:pt x="91" y="42"/>
                    </a:lnTo>
                    <a:lnTo>
                      <a:pt x="86" y="35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72" y="27"/>
                    </a:lnTo>
                    <a:lnTo>
                      <a:pt x="64" y="26"/>
                    </a:lnTo>
                    <a:lnTo>
                      <a:pt x="55" y="27"/>
                    </a:lnTo>
                    <a:lnTo>
                      <a:pt x="47" y="30"/>
                    </a:lnTo>
                    <a:lnTo>
                      <a:pt x="47" y="30"/>
                    </a:lnTo>
                    <a:lnTo>
                      <a:pt x="41" y="35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3" y="50"/>
                    </a:lnTo>
                    <a:lnTo>
                      <a:pt x="32" y="59"/>
                    </a:lnTo>
                    <a:lnTo>
                      <a:pt x="33" y="68"/>
                    </a:lnTo>
                    <a:lnTo>
                      <a:pt x="36" y="76"/>
                    </a:lnTo>
                    <a:lnTo>
                      <a:pt x="36" y="76"/>
                    </a:lnTo>
                    <a:lnTo>
                      <a:pt x="41" y="82"/>
                    </a:lnTo>
                    <a:lnTo>
                      <a:pt x="47" y="87"/>
                    </a:lnTo>
                    <a:lnTo>
                      <a:pt x="47" y="87"/>
                    </a:lnTo>
                    <a:lnTo>
                      <a:pt x="55" y="90"/>
                    </a:lnTo>
                    <a:lnTo>
                      <a:pt x="64" y="91"/>
                    </a:lnTo>
                    <a:lnTo>
                      <a:pt x="72" y="90"/>
                    </a:lnTo>
                    <a:lnTo>
                      <a:pt x="80" y="87"/>
                    </a:lnTo>
                    <a:lnTo>
                      <a:pt x="80" y="8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7">
                <a:extLst>
                  <a:ext uri="{FF2B5EF4-FFF2-40B4-BE49-F238E27FC236}">
                    <a16:creationId xmlns:a16="http://schemas.microsoft.com/office/drawing/2014/main" id="{A350B6BB-CFD2-4774-870F-20183838C845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564816" y="1379538"/>
                <a:ext cx="84138" cy="90487"/>
              </a:xfrm>
              <a:custGeom>
                <a:avLst/>
                <a:gdLst>
                  <a:gd name="T0" fmla="*/ 99 w 105"/>
                  <a:gd name="T1" fmla="*/ 64 h 115"/>
                  <a:gd name="T2" fmla="*/ 103 w 105"/>
                  <a:gd name="T3" fmla="*/ 72 h 115"/>
                  <a:gd name="T4" fmla="*/ 105 w 105"/>
                  <a:gd name="T5" fmla="*/ 81 h 115"/>
                  <a:gd name="T6" fmla="*/ 104 w 105"/>
                  <a:gd name="T7" fmla="*/ 88 h 115"/>
                  <a:gd name="T8" fmla="*/ 98 w 105"/>
                  <a:gd name="T9" fmla="*/ 101 h 115"/>
                  <a:gd name="T10" fmla="*/ 93 w 105"/>
                  <a:gd name="T11" fmla="*/ 106 h 115"/>
                  <a:gd name="T12" fmla="*/ 77 w 105"/>
                  <a:gd name="T13" fmla="*/ 113 h 115"/>
                  <a:gd name="T14" fmla="*/ 59 w 105"/>
                  <a:gd name="T15" fmla="*/ 115 h 115"/>
                  <a:gd name="T16" fmla="*/ 0 w 105"/>
                  <a:gd name="T17" fmla="*/ 0 h 115"/>
                  <a:gd name="T18" fmla="*/ 56 w 105"/>
                  <a:gd name="T19" fmla="*/ 0 h 115"/>
                  <a:gd name="T20" fmla="*/ 73 w 105"/>
                  <a:gd name="T21" fmla="*/ 2 h 115"/>
                  <a:gd name="T22" fmla="*/ 88 w 105"/>
                  <a:gd name="T23" fmla="*/ 8 h 115"/>
                  <a:gd name="T24" fmla="*/ 93 w 105"/>
                  <a:gd name="T25" fmla="*/ 12 h 115"/>
                  <a:gd name="T26" fmla="*/ 99 w 105"/>
                  <a:gd name="T27" fmla="*/ 23 h 115"/>
                  <a:gd name="T28" fmla="*/ 99 w 105"/>
                  <a:gd name="T29" fmla="*/ 30 h 115"/>
                  <a:gd name="T30" fmla="*/ 95 w 105"/>
                  <a:gd name="T31" fmla="*/ 45 h 115"/>
                  <a:gd name="T32" fmla="*/ 90 w 105"/>
                  <a:gd name="T33" fmla="*/ 50 h 115"/>
                  <a:gd name="T34" fmla="*/ 84 w 105"/>
                  <a:gd name="T35" fmla="*/ 54 h 115"/>
                  <a:gd name="T36" fmla="*/ 92 w 105"/>
                  <a:gd name="T37" fmla="*/ 58 h 115"/>
                  <a:gd name="T38" fmla="*/ 99 w 105"/>
                  <a:gd name="T39" fmla="*/ 64 h 115"/>
                  <a:gd name="T40" fmla="*/ 32 w 105"/>
                  <a:gd name="T41" fmla="*/ 46 h 115"/>
                  <a:gd name="T42" fmla="*/ 53 w 105"/>
                  <a:gd name="T43" fmla="*/ 46 h 115"/>
                  <a:gd name="T44" fmla="*/ 63 w 105"/>
                  <a:gd name="T45" fmla="*/ 43 h 115"/>
                  <a:gd name="T46" fmla="*/ 67 w 105"/>
                  <a:gd name="T47" fmla="*/ 34 h 115"/>
                  <a:gd name="T48" fmla="*/ 66 w 105"/>
                  <a:gd name="T49" fmla="*/ 29 h 115"/>
                  <a:gd name="T50" fmla="*/ 59 w 105"/>
                  <a:gd name="T51" fmla="*/ 24 h 115"/>
                  <a:gd name="T52" fmla="*/ 32 w 105"/>
                  <a:gd name="T53" fmla="*/ 23 h 115"/>
                  <a:gd name="T54" fmla="*/ 72 w 105"/>
                  <a:gd name="T55" fmla="*/ 79 h 115"/>
                  <a:gd name="T56" fmla="*/ 71 w 105"/>
                  <a:gd name="T57" fmla="*/ 74 h 115"/>
                  <a:gd name="T58" fmla="*/ 64 w 105"/>
                  <a:gd name="T59" fmla="*/ 68 h 115"/>
                  <a:gd name="T60" fmla="*/ 32 w 105"/>
                  <a:gd name="T61" fmla="*/ 67 h 115"/>
                  <a:gd name="T62" fmla="*/ 58 w 105"/>
                  <a:gd name="T63" fmla="*/ 91 h 115"/>
                  <a:gd name="T64" fmla="*/ 64 w 105"/>
                  <a:gd name="T65" fmla="*/ 90 h 115"/>
                  <a:gd name="T66" fmla="*/ 71 w 105"/>
                  <a:gd name="T67" fmla="*/ 84 h 115"/>
                  <a:gd name="T68" fmla="*/ 72 w 105"/>
                  <a:gd name="T69" fmla="*/ 79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5" h="115">
                    <a:moveTo>
                      <a:pt x="99" y="64"/>
                    </a:moveTo>
                    <a:lnTo>
                      <a:pt x="99" y="64"/>
                    </a:lnTo>
                    <a:lnTo>
                      <a:pt x="102" y="68"/>
                    </a:lnTo>
                    <a:lnTo>
                      <a:pt x="103" y="72"/>
                    </a:lnTo>
                    <a:lnTo>
                      <a:pt x="104" y="77"/>
                    </a:lnTo>
                    <a:lnTo>
                      <a:pt x="105" y="81"/>
                    </a:lnTo>
                    <a:lnTo>
                      <a:pt x="105" y="81"/>
                    </a:lnTo>
                    <a:lnTo>
                      <a:pt x="104" y="88"/>
                    </a:lnTo>
                    <a:lnTo>
                      <a:pt x="102" y="95"/>
                    </a:lnTo>
                    <a:lnTo>
                      <a:pt x="98" y="101"/>
                    </a:lnTo>
                    <a:lnTo>
                      <a:pt x="93" y="106"/>
                    </a:lnTo>
                    <a:lnTo>
                      <a:pt x="93" y="106"/>
                    </a:lnTo>
                    <a:lnTo>
                      <a:pt x="85" y="110"/>
                    </a:lnTo>
                    <a:lnTo>
                      <a:pt x="77" y="113"/>
                    </a:lnTo>
                    <a:lnTo>
                      <a:pt x="68" y="115"/>
                    </a:lnTo>
                    <a:lnTo>
                      <a:pt x="59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5" y="0"/>
                    </a:lnTo>
                    <a:lnTo>
                      <a:pt x="73" y="2"/>
                    </a:lnTo>
                    <a:lnTo>
                      <a:pt x="81" y="4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93" y="12"/>
                    </a:lnTo>
                    <a:lnTo>
                      <a:pt x="97" y="17"/>
                    </a:lnTo>
                    <a:lnTo>
                      <a:pt x="99" y="23"/>
                    </a:lnTo>
                    <a:lnTo>
                      <a:pt x="99" y="30"/>
                    </a:lnTo>
                    <a:lnTo>
                      <a:pt x="99" y="30"/>
                    </a:lnTo>
                    <a:lnTo>
                      <a:pt x="98" y="37"/>
                    </a:lnTo>
                    <a:lnTo>
                      <a:pt x="95" y="45"/>
                    </a:lnTo>
                    <a:lnTo>
                      <a:pt x="95" y="45"/>
                    </a:lnTo>
                    <a:lnTo>
                      <a:pt x="90" y="50"/>
                    </a:lnTo>
                    <a:lnTo>
                      <a:pt x="84" y="54"/>
                    </a:lnTo>
                    <a:lnTo>
                      <a:pt x="84" y="54"/>
                    </a:lnTo>
                    <a:lnTo>
                      <a:pt x="88" y="56"/>
                    </a:lnTo>
                    <a:lnTo>
                      <a:pt x="92" y="58"/>
                    </a:lnTo>
                    <a:lnTo>
                      <a:pt x="96" y="61"/>
                    </a:lnTo>
                    <a:lnTo>
                      <a:pt x="99" y="64"/>
                    </a:lnTo>
                    <a:lnTo>
                      <a:pt x="99" y="64"/>
                    </a:lnTo>
                    <a:close/>
                    <a:moveTo>
                      <a:pt x="32" y="46"/>
                    </a:moveTo>
                    <a:lnTo>
                      <a:pt x="53" y="46"/>
                    </a:lnTo>
                    <a:lnTo>
                      <a:pt x="53" y="46"/>
                    </a:lnTo>
                    <a:lnTo>
                      <a:pt x="59" y="45"/>
                    </a:lnTo>
                    <a:lnTo>
                      <a:pt x="63" y="43"/>
                    </a:lnTo>
                    <a:lnTo>
                      <a:pt x="66" y="39"/>
                    </a:lnTo>
                    <a:lnTo>
                      <a:pt x="67" y="34"/>
                    </a:lnTo>
                    <a:lnTo>
                      <a:pt x="67" y="34"/>
                    </a:lnTo>
                    <a:lnTo>
                      <a:pt x="66" y="29"/>
                    </a:lnTo>
                    <a:lnTo>
                      <a:pt x="63" y="26"/>
                    </a:lnTo>
                    <a:lnTo>
                      <a:pt x="59" y="24"/>
                    </a:lnTo>
                    <a:lnTo>
                      <a:pt x="53" y="23"/>
                    </a:lnTo>
                    <a:lnTo>
                      <a:pt x="32" y="23"/>
                    </a:lnTo>
                    <a:lnTo>
                      <a:pt x="32" y="46"/>
                    </a:lnTo>
                    <a:close/>
                    <a:moveTo>
                      <a:pt x="72" y="79"/>
                    </a:moveTo>
                    <a:lnTo>
                      <a:pt x="72" y="79"/>
                    </a:lnTo>
                    <a:lnTo>
                      <a:pt x="71" y="74"/>
                    </a:lnTo>
                    <a:lnTo>
                      <a:pt x="69" y="70"/>
                    </a:lnTo>
                    <a:lnTo>
                      <a:pt x="64" y="68"/>
                    </a:lnTo>
                    <a:lnTo>
                      <a:pt x="58" y="67"/>
                    </a:lnTo>
                    <a:lnTo>
                      <a:pt x="32" y="67"/>
                    </a:lnTo>
                    <a:lnTo>
                      <a:pt x="32" y="91"/>
                    </a:lnTo>
                    <a:lnTo>
                      <a:pt x="58" y="91"/>
                    </a:lnTo>
                    <a:lnTo>
                      <a:pt x="58" y="91"/>
                    </a:lnTo>
                    <a:lnTo>
                      <a:pt x="64" y="90"/>
                    </a:lnTo>
                    <a:lnTo>
                      <a:pt x="69" y="88"/>
                    </a:lnTo>
                    <a:lnTo>
                      <a:pt x="71" y="84"/>
                    </a:lnTo>
                    <a:lnTo>
                      <a:pt x="72" y="79"/>
                    </a:lnTo>
                    <a:lnTo>
                      <a:pt x="72" y="7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8">
                <a:extLst>
                  <a:ext uri="{FF2B5EF4-FFF2-40B4-BE49-F238E27FC236}">
                    <a16:creationId xmlns:a16="http://schemas.microsoft.com/office/drawing/2014/main" id="{292D6449-A1FE-4A40-9E7A-FA3B3C0C2257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664829" y="1379538"/>
                <a:ext cx="115888" cy="90487"/>
              </a:xfrm>
              <a:custGeom>
                <a:avLst/>
                <a:gdLst>
                  <a:gd name="T0" fmla="*/ 92 w 147"/>
                  <a:gd name="T1" fmla="*/ 46 h 115"/>
                  <a:gd name="T2" fmla="*/ 92 w 147"/>
                  <a:gd name="T3" fmla="*/ 46 h 115"/>
                  <a:gd name="T4" fmla="*/ 97 w 147"/>
                  <a:gd name="T5" fmla="*/ 51 h 115"/>
                  <a:gd name="T6" fmla="*/ 101 w 147"/>
                  <a:gd name="T7" fmla="*/ 58 h 115"/>
                  <a:gd name="T8" fmla="*/ 103 w 147"/>
                  <a:gd name="T9" fmla="*/ 66 h 115"/>
                  <a:gd name="T10" fmla="*/ 103 w 147"/>
                  <a:gd name="T11" fmla="*/ 73 h 115"/>
                  <a:gd name="T12" fmla="*/ 103 w 147"/>
                  <a:gd name="T13" fmla="*/ 73 h 115"/>
                  <a:gd name="T14" fmla="*/ 103 w 147"/>
                  <a:gd name="T15" fmla="*/ 82 h 115"/>
                  <a:gd name="T16" fmla="*/ 100 w 147"/>
                  <a:gd name="T17" fmla="*/ 90 h 115"/>
                  <a:gd name="T18" fmla="*/ 96 w 147"/>
                  <a:gd name="T19" fmla="*/ 97 h 115"/>
                  <a:gd name="T20" fmla="*/ 90 w 147"/>
                  <a:gd name="T21" fmla="*/ 104 h 115"/>
                  <a:gd name="T22" fmla="*/ 90 w 147"/>
                  <a:gd name="T23" fmla="*/ 104 h 115"/>
                  <a:gd name="T24" fmla="*/ 82 w 147"/>
                  <a:gd name="T25" fmla="*/ 109 h 115"/>
                  <a:gd name="T26" fmla="*/ 74 w 147"/>
                  <a:gd name="T27" fmla="*/ 113 h 115"/>
                  <a:gd name="T28" fmla="*/ 65 w 147"/>
                  <a:gd name="T29" fmla="*/ 115 h 115"/>
                  <a:gd name="T30" fmla="*/ 55 w 147"/>
                  <a:gd name="T31" fmla="*/ 115 h 115"/>
                  <a:gd name="T32" fmla="*/ 0 w 147"/>
                  <a:gd name="T33" fmla="*/ 115 h 115"/>
                  <a:gd name="T34" fmla="*/ 0 w 147"/>
                  <a:gd name="T35" fmla="*/ 0 h 115"/>
                  <a:gd name="T36" fmla="*/ 32 w 147"/>
                  <a:gd name="T37" fmla="*/ 0 h 115"/>
                  <a:gd name="T38" fmla="*/ 32 w 147"/>
                  <a:gd name="T39" fmla="*/ 36 h 115"/>
                  <a:gd name="T40" fmla="*/ 59 w 147"/>
                  <a:gd name="T41" fmla="*/ 36 h 115"/>
                  <a:gd name="T42" fmla="*/ 59 w 147"/>
                  <a:gd name="T43" fmla="*/ 36 h 115"/>
                  <a:gd name="T44" fmla="*/ 68 w 147"/>
                  <a:gd name="T45" fmla="*/ 37 h 115"/>
                  <a:gd name="T46" fmla="*/ 76 w 147"/>
                  <a:gd name="T47" fmla="*/ 38 h 115"/>
                  <a:gd name="T48" fmla="*/ 84 w 147"/>
                  <a:gd name="T49" fmla="*/ 41 h 115"/>
                  <a:gd name="T50" fmla="*/ 92 w 147"/>
                  <a:gd name="T51" fmla="*/ 46 h 115"/>
                  <a:gd name="T52" fmla="*/ 92 w 147"/>
                  <a:gd name="T53" fmla="*/ 46 h 115"/>
                  <a:gd name="T54" fmla="*/ 66 w 147"/>
                  <a:gd name="T55" fmla="*/ 86 h 115"/>
                  <a:gd name="T56" fmla="*/ 66 w 147"/>
                  <a:gd name="T57" fmla="*/ 86 h 115"/>
                  <a:gd name="T58" fmla="*/ 68 w 147"/>
                  <a:gd name="T59" fmla="*/ 84 h 115"/>
                  <a:gd name="T60" fmla="*/ 70 w 147"/>
                  <a:gd name="T61" fmla="*/ 81 h 115"/>
                  <a:gd name="T62" fmla="*/ 71 w 147"/>
                  <a:gd name="T63" fmla="*/ 77 h 115"/>
                  <a:gd name="T64" fmla="*/ 71 w 147"/>
                  <a:gd name="T65" fmla="*/ 74 h 115"/>
                  <a:gd name="T66" fmla="*/ 71 w 147"/>
                  <a:gd name="T67" fmla="*/ 74 h 115"/>
                  <a:gd name="T68" fmla="*/ 71 w 147"/>
                  <a:gd name="T69" fmla="*/ 71 h 115"/>
                  <a:gd name="T70" fmla="*/ 70 w 147"/>
                  <a:gd name="T71" fmla="*/ 68 h 115"/>
                  <a:gd name="T72" fmla="*/ 68 w 147"/>
                  <a:gd name="T73" fmla="*/ 65 h 115"/>
                  <a:gd name="T74" fmla="*/ 67 w 147"/>
                  <a:gd name="T75" fmla="*/ 63 h 115"/>
                  <a:gd name="T76" fmla="*/ 64 w 147"/>
                  <a:gd name="T77" fmla="*/ 61 h 115"/>
                  <a:gd name="T78" fmla="*/ 61 w 147"/>
                  <a:gd name="T79" fmla="*/ 60 h 115"/>
                  <a:gd name="T80" fmla="*/ 53 w 147"/>
                  <a:gd name="T81" fmla="*/ 59 h 115"/>
                  <a:gd name="T82" fmla="*/ 32 w 147"/>
                  <a:gd name="T83" fmla="*/ 59 h 115"/>
                  <a:gd name="T84" fmla="*/ 32 w 147"/>
                  <a:gd name="T85" fmla="*/ 91 h 115"/>
                  <a:gd name="T86" fmla="*/ 53 w 147"/>
                  <a:gd name="T87" fmla="*/ 91 h 115"/>
                  <a:gd name="T88" fmla="*/ 53 w 147"/>
                  <a:gd name="T89" fmla="*/ 91 h 115"/>
                  <a:gd name="T90" fmla="*/ 57 w 147"/>
                  <a:gd name="T91" fmla="*/ 91 h 115"/>
                  <a:gd name="T92" fmla="*/ 60 w 147"/>
                  <a:gd name="T93" fmla="*/ 90 h 115"/>
                  <a:gd name="T94" fmla="*/ 63 w 147"/>
                  <a:gd name="T95" fmla="*/ 88 h 115"/>
                  <a:gd name="T96" fmla="*/ 66 w 147"/>
                  <a:gd name="T97" fmla="*/ 86 h 115"/>
                  <a:gd name="T98" fmla="*/ 66 w 147"/>
                  <a:gd name="T99" fmla="*/ 86 h 115"/>
                  <a:gd name="T100" fmla="*/ 116 w 147"/>
                  <a:gd name="T101" fmla="*/ 0 h 115"/>
                  <a:gd name="T102" fmla="*/ 147 w 147"/>
                  <a:gd name="T103" fmla="*/ 0 h 115"/>
                  <a:gd name="T104" fmla="*/ 147 w 147"/>
                  <a:gd name="T105" fmla="*/ 115 h 115"/>
                  <a:gd name="T106" fmla="*/ 116 w 147"/>
                  <a:gd name="T107" fmla="*/ 115 h 115"/>
                  <a:gd name="T108" fmla="*/ 116 w 147"/>
                  <a:gd name="T109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47" h="115">
                    <a:moveTo>
                      <a:pt x="92" y="46"/>
                    </a:moveTo>
                    <a:lnTo>
                      <a:pt x="92" y="46"/>
                    </a:lnTo>
                    <a:lnTo>
                      <a:pt x="97" y="51"/>
                    </a:lnTo>
                    <a:lnTo>
                      <a:pt x="101" y="58"/>
                    </a:lnTo>
                    <a:lnTo>
                      <a:pt x="103" y="66"/>
                    </a:lnTo>
                    <a:lnTo>
                      <a:pt x="103" y="73"/>
                    </a:lnTo>
                    <a:lnTo>
                      <a:pt x="103" y="73"/>
                    </a:lnTo>
                    <a:lnTo>
                      <a:pt x="103" y="82"/>
                    </a:lnTo>
                    <a:lnTo>
                      <a:pt x="100" y="90"/>
                    </a:lnTo>
                    <a:lnTo>
                      <a:pt x="96" y="97"/>
                    </a:lnTo>
                    <a:lnTo>
                      <a:pt x="90" y="104"/>
                    </a:lnTo>
                    <a:lnTo>
                      <a:pt x="90" y="104"/>
                    </a:lnTo>
                    <a:lnTo>
                      <a:pt x="82" y="109"/>
                    </a:lnTo>
                    <a:lnTo>
                      <a:pt x="74" y="113"/>
                    </a:lnTo>
                    <a:lnTo>
                      <a:pt x="65" y="115"/>
                    </a:lnTo>
                    <a:lnTo>
                      <a:pt x="55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2" y="0"/>
                    </a:lnTo>
                    <a:lnTo>
                      <a:pt x="32" y="36"/>
                    </a:lnTo>
                    <a:lnTo>
                      <a:pt x="59" y="36"/>
                    </a:lnTo>
                    <a:lnTo>
                      <a:pt x="59" y="36"/>
                    </a:lnTo>
                    <a:lnTo>
                      <a:pt x="68" y="37"/>
                    </a:lnTo>
                    <a:lnTo>
                      <a:pt x="76" y="38"/>
                    </a:lnTo>
                    <a:lnTo>
                      <a:pt x="84" y="41"/>
                    </a:lnTo>
                    <a:lnTo>
                      <a:pt x="92" y="46"/>
                    </a:lnTo>
                    <a:lnTo>
                      <a:pt x="92" y="46"/>
                    </a:lnTo>
                    <a:close/>
                    <a:moveTo>
                      <a:pt x="66" y="86"/>
                    </a:moveTo>
                    <a:lnTo>
                      <a:pt x="66" y="86"/>
                    </a:lnTo>
                    <a:lnTo>
                      <a:pt x="68" y="84"/>
                    </a:lnTo>
                    <a:lnTo>
                      <a:pt x="70" y="81"/>
                    </a:lnTo>
                    <a:lnTo>
                      <a:pt x="71" y="77"/>
                    </a:lnTo>
                    <a:lnTo>
                      <a:pt x="71" y="74"/>
                    </a:lnTo>
                    <a:lnTo>
                      <a:pt x="71" y="74"/>
                    </a:lnTo>
                    <a:lnTo>
                      <a:pt x="71" y="71"/>
                    </a:lnTo>
                    <a:lnTo>
                      <a:pt x="70" y="68"/>
                    </a:lnTo>
                    <a:lnTo>
                      <a:pt x="68" y="65"/>
                    </a:lnTo>
                    <a:lnTo>
                      <a:pt x="67" y="63"/>
                    </a:lnTo>
                    <a:lnTo>
                      <a:pt x="64" y="61"/>
                    </a:lnTo>
                    <a:lnTo>
                      <a:pt x="61" y="60"/>
                    </a:lnTo>
                    <a:lnTo>
                      <a:pt x="53" y="59"/>
                    </a:lnTo>
                    <a:lnTo>
                      <a:pt x="32" y="59"/>
                    </a:lnTo>
                    <a:lnTo>
                      <a:pt x="32" y="91"/>
                    </a:lnTo>
                    <a:lnTo>
                      <a:pt x="53" y="91"/>
                    </a:lnTo>
                    <a:lnTo>
                      <a:pt x="53" y="91"/>
                    </a:lnTo>
                    <a:lnTo>
                      <a:pt x="57" y="91"/>
                    </a:lnTo>
                    <a:lnTo>
                      <a:pt x="60" y="90"/>
                    </a:lnTo>
                    <a:lnTo>
                      <a:pt x="63" y="88"/>
                    </a:lnTo>
                    <a:lnTo>
                      <a:pt x="66" y="86"/>
                    </a:lnTo>
                    <a:lnTo>
                      <a:pt x="66" y="86"/>
                    </a:lnTo>
                    <a:close/>
                    <a:moveTo>
                      <a:pt x="116" y="0"/>
                    </a:moveTo>
                    <a:lnTo>
                      <a:pt x="147" y="0"/>
                    </a:lnTo>
                    <a:lnTo>
                      <a:pt x="147" y="115"/>
                    </a:lnTo>
                    <a:lnTo>
                      <a:pt x="116" y="115"/>
                    </a:lnTo>
                    <a:lnTo>
                      <a:pt x="116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9">
                <a:extLst>
                  <a:ext uri="{FF2B5EF4-FFF2-40B4-BE49-F238E27FC236}">
                    <a16:creationId xmlns:a16="http://schemas.microsoft.com/office/drawing/2014/main" id="{AF8602BA-42C7-4BEE-A20E-B8A222C6B0C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802941" y="1379538"/>
                <a:ext cx="74613" cy="90487"/>
              </a:xfrm>
              <a:custGeom>
                <a:avLst/>
                <a:gdLst>
                  <a:gd name="T0" fmla="*/ 92 w 92"/>
                  <a:gd name="T1" fmla="*/ 89 h 115"/>
                  <a:gd name="T2" fmla="*/ 92 w 92"/>
                  <a:gd name="T3" fmla="*/ 115 h 115"/>
                  <a:gd name="T4" fmla="*/ 0 w 92"/>
                  <a:gd name="T5" fmla="*/ 115 h 115"/>
                  <a:gd name="T6" fmla="*/ 0 w 92"/>
                  <a:gd name="T7" fmla="*/ 0 h 115"/>
                  <a:gd name="T8" fmla="*/ 90 w 92"/>
                  <a:gd name="T9" fmla="*/ 0 h 115"/>
                  <a:gd name="T10" fmla="*/ 90 w 92"/>
                  <a:gd name="T11" fmla="*/ 25 h 115"/>
                  <a:gd name="T12" fmla="*/ 32 w 92"/>
                  <a:gd name="T13" fmla="*/ 25 h 115"/>
                  <a:gd name="T14" fmla="*/ 32 w 92"/>
                  <a:gd name="T15" fmla="*/ 44 h 115"/>
                  <a:gd name="T16" fmla="*/ 83 w 92"/>
                  <a:gd name="T17" fmla="*/ 44 h 115"/>
                  <a:gd name="T18" fmla="*/ 83 w 92"/>
                  <a:gd name="T19" fmla="*/ 68 h 115"/>
                  <a:gd name="T20" fmla="*/ 32 w 92"/>
                  <a:gd name="T21" fmla="*/ 68 h 115"/>
                  <a:gd name="T22" fmla="*/ 32 w 92"/>
                  <a:gd name="T23" fmla="*/ 89 h 115"/>
                  <a:gd name="T24" fmla="*/ 92 w 92"/>
                  <a:gd name="T25" fmla="*/ 89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2" h="115">
                    <a:moveTo>
                      <a:pt x="92" y="89"/>
                    </a:moveTo>
                    <a:lnTo>
                      <a:pt x="9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25"/>
                    </a:lnTo>
                    <a:lnTo>
                      <a:pt x="32" y="25"/>
                    </a:lnTo>
                    <a:lnTo>
                      <a:pt x="32" y="44"/>
                    </a:lnTo>
                    <a:lnTo>
                      <a:pt x="83" y="44"/>
                    </a:lnTo>
                    <a:lnTo>
                      <a:pt x="83" y="68"/>
                    </a:lnTo>
                    <a:lnTo>
                      <a:pt x="32" y="68"/>
                    </a:lnTo>
                    <a:lnTo>
                      <a:pt x="32" y="89"/>
                    </a:lnTo>
                    <a:lnTo>
                      <a:pt x="92" y="8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10">
                <a:extLst>
                  <a:ext uri="{FF2B5EF4-FFF2-40B4-BE49-F238E27FC236}">
                    <a16:creationId xmlns:a16="http://schemas.microsoft.com/office/drawing/2014/main" id="{455318A4-8DA6-4209-AF2B-EADF30C29D92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934704" y="1379538"/>
                <a:ext cx="82550" cy="90487"/>
              </a:xfrm>
              <a:custGeom>
                <a:avLst/>
                <a:gdLst>
                  <a:gd name="T0" fmla="*/ 99 w 105"/>
                  <a:gd name="T1" fmla="*/ 64 h 115"/>
                  <a:gd name="T2" fmla="*/ 104 w 105"/>
                  <a:gd name="T3" fmla="*/ 72 h 115"/>
                  <a:gd name="T4" fmla="*/ 105 w 105"/>
                  <a:gd name="T5" fmla="*/ 81 h 115"/>
                  <a:gd name="T6" fmla="*/ 104 w 105"/>
                  <a:gd name="T7" fmla="*/ 88 h 115"/>
                  <a:gd name="T8" fmla="*/ 98 w 105"/>
                  <a:gd name="T9" fmla="*/ 101 h 115"/>
                  <a:gd name="T10" fmla="*/ 93 w 105"/>
                  <a:gd name="T11" fmla="*/ 106 h 115"/>
                  <a:gd name="T12" fmla="*/ 78 w 105"/>
                  <a:gd name="T13" fmla="*/ 113 h 115"/>
                  <a:gd name="T14" fmla="*/ 58 w 105"/>
                  <a:gd name="T15" fmla="*/ 115 h 115"/>
                  <a:gd name="T16" fmla="*/ 0 w 105"/>
                  <a:gd name="T17" fmla="*/ 0 h 115"/>
                  <a:gd name="T18" fmla="*/ 55 w 105"/>
                  <a:gd name="T19" fmla="*/ 0 h 115"/>
                  <a:gd name="T20" fmla="*/ 72 w 105"/>
                  <a:gd name="T21" fmla="*/ 2 h 115"/>
                  <a:gd name="T22" fmla="*/ 88 w 105"/>
                  <a:gd name="T23" fmla="*/ 8 h 115"/>
                  <a:gd name="T24" fmla="*/ 93 w 105"/>
                  <a:gd name="T25" fmla="*/ 12 h 115"/>
                  <a:gd name="T26" fmla="*/ 99 w 105"/>
                  <a:gd name="T27" fmla="*/ 23 h 115"/>
                  <a:gd name="T28" fmla="*/ 100 w 105"/>
                  <a:gd name="T29" fmla="*/ 30 h 115"/>
                  <a:gd name="T30" fmla="*/ 96 w 105"/>
                  <a:gd name="T31" fmla="*/ 45 h 115"/>
                  <a:gd name="T32" fmla="*/ 91 w 105"/>
                  <a:gd name="T33" fmla="*/ 50 h 115"/>
                  <a:gd name="T34" fmla="*/ 84 w 105"/>
                  <a:gd name="T35" fmla="*/ 54 h 115"/>
                  <a:gd name="T36" fmla="*/ 93 w 105"/>
                  <a:gd name="T37" fmla="*/ 58 h 115"/>
                  <a:gd name="T38" fmla="*/ 99 w 105"/>
                  <a:gd name="T39" fmla="*/ 64 h 115"/>
                  <a:gd name="T40" fmla="*/ 32 w 105"/>
                  <a:gd name="T41" fmla="*/ 46 h 115"/>
                  <a:gd name="T42" fmla="*/ 52 w 105"/>
                  <a:gd name="T43" fmla="*/ 46 h 115"/>
                  <a:gd name="T44" fmla="*/ 63 w 105"/>
                  <a:gd name="T45" fmla="*/ 43 h 115"/>
                  <a:gd name="T46" fmla="*/ 66 w 105"/>
                  <a:gd name="T47" fmla="*/ 34 h 115"/>
                  <a:gd name="T48" fmla="*/ 65 w 105"/>
                  <a:gd name="T49" fmla="*/ 29 h 115"/>
                  <a:gd name="T50" fmla="*/ 58 w 105"/>
                  <a:gd name="T51" fmla="*/ 24 h 115"/>
                  <a:gd name="T52" fmla="*/ 32 w 105"/>
                  <a:gd name="T53" fmla="*/ 23 h 115"/>
                  <a:gd name="T54" fmla="*/ 71 w 105"/>
                  <a:gd name="T55" fmla="*/ 79 h 115"/>
                  <a:gd name="T56" fmla="*/ 70 w 105"/>
                  <a:gd name="T57" fmla="*/ 74 h 115"/>
                  <a:gd name="T58" fmla="*/ 63 w 105"/>
                  <a:gd name="T59" fmla="*/ 68 h 115"/>
                  <a:gd name="T60" fmla="*/ 32 w 105"/>
                  <a:gd name="T61" fmla="*/ 67 h 115"/>
                  <a:gd name="T62" fmla="*/ 57 w 105"/>
                  <a:gd name="T63" fmla="*/ 91 h 115"/>
                  <a:gd name="T64" fmla="*/ 63 w 105"/>
                  <a:gd name="T65" fmla="*/ 90 h 115"/>
                  <a:gd name="T66" fmla="*/ 70 w 105"/>
                  <a:gd name="T67" fmla="*/ 84 h 115"/>
                  <a:gd name="T68" fmla="*/ 71 w 105"/>
                  <a:gd name="T69" fmla="*/ 79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5" h="115">
                    <a:moveTo>
                      <a:pt x="99" y="64"/>
                    </a:moveTo>
                    <a:lnTo>
                      <a:pt x="99" y="64"/>
                    </a:lnTo>
                    <a:lnTo>
                      <a:pt x="102" y="68"/>
                    </a:lnTo>
                    <a:lnTo>
                      <a:pt x="104" y="72"/>
                    </a:lnTo>
                    <a:lnTo>
                      <a:pt x="105" y="77"/>
                    </a:lnTo>
                    <a:lnTo>
                      <a:pt x="105" y="81"/>
                    </a:lnTo>
                    <a:lnTo>
                      <a:pt x="105" y="81"/>
                    </a:lnTo>
                    <a:lnTo>
                      <a:pt x="104" y="88"/>
                    </a:lnTo>
                    <a:lnTo>
                      <a:pt x="102" y="95"/>
                    </a:lnTo>
                    <a:lnTo>
                      <a:pt x="98" y="101"/>
                    </a:lnTo>
                    <a:lnTo>
                      <a:pt x="93" y="106"/>
                    </a:lnTo>
                    <a:lnTo>
                      <a:pt x="93" y="106"/>
                    </a:lnTo>
                    <a:lnTo>
                      <a:pt x="86" y="110"/>
                    </a:lnTo>
                    <a:lnTo>
                      <a:pt x="78" y="113"/>
                    </a:lnTo>
                    <a:lnTo>
                      <a:pt x="69" y="114"/>
                    </a:lnTo>
                    <a:lnTo>
                      <a:pt x="58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55" y="0"/>
                    </a:lnTo>
                    <a:lnTo>
                      <a:pt x="55" y="0"/>
                    </a:lnTo>
                    <a:lnTo>
                      <a:pt x="64" y="0"/>
                    </a:lnTo>
                    <a:lnTo>
                      <a:pt x="72" y="2"/>
                    </a:lnTo>
                    <a:lnTo>
                      <a:pt x="81" y="4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93" y="12"/>
                    </a:lnTo>
                    <a:lnTo>
                      <a:pt x="97" y="17"/>
                    </a:lnTo>
                    <a:lnTo>
                      <a:pt x="99" y="23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99" y="37"/>
                    </a:lnTo>
                    <a:lnTo>
                      <a:pt x="96" y="45"/>
                    </a:lnTo>
                    <a:lnTo>
                      <a:pt x="96" y="45"/>
                    </a:lnTo>
                    <a:lnTo>
                      <a:pt x="91" y="50"/>
                    </a:lnTo>
                    <a:lnTo>
                      <a:pt x="84" y="54"/>
                    </a:lnTo>
                    <a:lnTo>
                      <a:pt x="84" y="54"/>
                    </a:lnTo>
                    <a:lnTo>
                      <a:pt x="88" y="56"/>
                    </a:lnTo>
                    <a:lnTo>
                      <a:pt x="93" y="58"/>
                    </a:lnTo>
                    <a:lnTo>
                      <a:pt x="96" y="61"/>
                    </a:lnTo>
                    <a:lnTo>
                      <a:pt x="99" y="64"/>
                    </a:lnTo>
                    <a:lnTo>
                      <a:pt x="99" y="64"/>
                    </a:lnTo>
                    <a:close/>
                    <a:moveTo>
                      <a:pt x="32" y="46"/>
                    </a:moveTo>
                    <a:lnTo>
                      <a:pt x="52" y="46"/>
                    </a:lnTo>
                    <a:lnTo>
                      <a:pt x="52" y="46"/>
                    </a:lnTo>
                    <a:lnTo>
                      <a:pt x="58" y="45"/>
                    </a:lnTo>
                    <a:lnTo>
                      <a:pt x="63" y="43"/>
                    </a:lnTo>
                    <a:lnTo>
                      <a:pt x="65" y="39"/>
                    </a:lnTo>
                    <a:lnTo>
                      <a:pt x="66" y="34"/>
                    </a:lnTo>
                    <a:lnTo>
                      <a:pt x="66" y="34"/>
                    </a:lnTo>
                    <a:lnTo>
                      <a:pt x="65" y="29"/>
                    </a:lnTo>
                    <a:lnTo>
                      <a:pt x="63" y="26"/>
                    </a:lnTo>
                    <a:lnTo>
                      <a:pt x="58" y="24"/>
                    </a:lnTo>
                    <a:lnTo>
                      <a:pt x="52" y="23"/>
                    </a:lnTo>
                    <a:lnTo>
                      <a:pt x="32" y="23"/>
                    </a:lnTo>
                    <a:lnTo>
                      <a:pt x="32" y="46"/>
                    </a:lnTo>
                    <a:close/>
                    <a:moveTo>
                      <a:pt x="71" y="79"/>
                    </a:moveTo>
                    <a:lnTo>
                      <a:pt x="71" y="79"/>
                    </a:lnTo>
                    <a:lnTo>
                      <a:pt x="70" y="74"/>
                    </a:lnTo>
                    <a:lnTo>
                      <a:pt x="68" y="70"/>
                    </a:lnTo>
                    <a:lnTo>
                      <a:pt x="63" y="68"/>
                    </a:lnTo>
                    <a:lnTo>
                      <a:pt x="57" y="67"/>
                    </a:lnTo>
                    <a:lnTo>
                      <a:pt x="32" y="67"/>
                    </a:lnTo>
                    <a:lnTo>
                      <a:pt x="32" y="91"/>
                    </a:lnTo>
                    <a:lnTo>
                      <a:pt x="57" y="91"/>
                    </a:lnTo>
                    <a:lnTo>
                      <a:pt x="57" y="91"/>
                    </a:lnTo>
                    <a:lnTo>
                      <a:pt x="63" y="90"/>
                    </a:lnTo>
                    <a:lnTo>
                      <a:pt x="68" y="88"/>
                    </a:lnTo>
                    <a:lnTo>
                      <a:pt x="70" y="84"/>
                    </a:lnTo>
                    <a:lnTo>
                      <a:pt x="71" y="79"/>
                    </a:lnTo>
                    <a:lnTo>
                      <a:pt x="71" y="7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11">
                <a:extLst>
                  <a:ext uri="{FF2B5EF4-FFF2-40B4-BE49-F238E27FC236}">
                    <a16:creationId xmlns:a16="http://schemas.microsoft.com/office/drawing/2014/main" id="{6C23C285-BCE0-4F13-AAC7-36BB775F57E9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1033129" y="1379538"/>
                <a:ext cx="119063" cy="90487"/>
              </a:xfrm>
              <a:custGeom>
                <a:avLst/>
                <a:gdLst>
                  <a:gd name="T0" fmla="*/ 92 w 148"/>
                  <a:gd name="T1" fmla="*/ 46 h 115"/>
                  <a:gd name="T2" fmla="*/ 92 w 148"/>
                  <a:gd name="T3" fmla="*/ 46 h 115"/>
                  <a:gd name="T4" fmla="*/ 97 w 148"/>
                  <a:gd name="T5" fmla="*/ 51 h 115"/>
                  <a:gd name="T6" fmla="*/ 101 w 148"/>
                  <a:gd name="T7" fmla="*/ 58 h 115"/>
                  <a:gd name="T8" fmla="*/ 103 w 148"/>
                  <a:gd name="T9" fmla="*/ 66 h 115"/>
                  <a:gd name="T10" fmla="*/ 103 w 148"/>
                  <a:gd name="T11" fmla="*/ 73 h 115"/>
                  <a:gd name="T12" fmla="*/ 103 w 148"/>
                  <a:gd name="T13" fmla="*/ 73 h 115"/>
                  <a:gd name="T14" fmla="*/ 103 w 148"/>
                  <a:gd name="T15" fmla="*/ 82 h 115"/>
                  <a:gd name="T16" fmla="*/ 100 w 148"/>
                  <a:gd name="T17" fmla="*/ 90 h 115"/>
                  <a:gd name="T18" fmla="*/ 96 w 148"/>
                  <a:gd name="T19" fmla="*/ 97 h 115"/>
                  <a:gd name="T20" fmla="*/ 91 w 148"/>
                  <a:gd name="T21" fmla="*/ 104 h 115"/>
                  <a:gd name="T22" fmla="*/ 91 w 148"/>
                  <a:gd name="T23" fmla="*/ 104 h 115"/>
                  <a:gd name="T24" fmla="*/ 83 w 148"/>
                  <a:gd name="T25" fmla="*/ 109 h 115"/>
                  <a:gd name="T26" fmla="*/ 73 w 148"/>
                  <a:gd name="T27" fmla="*/ 113 h 115"/>
                  <a:gd name="T28" fmla="*/ 64 w 148"/>
                  <a:gd name="T29" fmla="*/ 115 h 115"/>
                  <a:gd name="T30" fmla="*/ 54 w 148"/>
                  <a:gd name="T31" fmla="*/ 115 h 115"/>
                  <a:gd name="T32" fmla="*/ 0 w 148"/>
                  <a:gd name="T33" fmla="*/ 115 h 115"/>
                  <a:gd name="T34" fmla="*/ 0 w 148"/>
                  <a:gd name="T35" fmla="*/ 0 h 115"/>
                  <a:gd name="T36" fmla="*/ 32 w 148"/>
                  <a:gd name="T37" fmla="*/ 0 h 115"/>
                  <a:gd name="T38" fmla="*/ 32 w 148"/>
                  <a:gd name="T39" fmla="*/ 36 h 115"/>
                  <a:gd name="T40" fmla="*/ 59 w 148"/>
                  <a:gd name="T41" fmla="*/ 36 h 115"/>
                  <a:gd name="T42" fmla="*/ 59 w 148"/>
                  <a:gd name="T43" fmla="*/ 36 h 115"/>
                  <a:gd name="T44" fmla="*/ 67 w 148"/>
                  <a:gd name="T45" fmla="*/ 37 h 115"/>
                  <a:gd name="T46" fmla="*/ 76 w 148"/>
                  <a:gd name="T47" fmla="*/ 38 h 115"/>
                  <a:gd name="T48" fmla="*/ 85 w 148"/>
                  <a:gd name="T49" fmla="*/ 41 h 115"/>
                  <a:gd name="T50" fmla="*/ 92 w 148"/>
                  <a:gd name="T51" fmla="*/ 46 h 115"/>
                  <a:gd name="T52" fmla="*/ 92 w 148"/>
                  <a:gd name="T53" fmla="*/ 46 h 115"/>
                  <a:gd name="T54" fmla="*/ 65 w 148"/>
                  <a:gd name="T55" fmla="*/ 86 h 115"/>
                  <a:gd name="T56" fmla="*/ 65 w 148"/>
                  <a:gd name="T57" fmla="*/ 86 h 115"/>
                  <a:gd name="T58" fmla="*/ 67 w 148"/>
                  <a:gd name="T59" fmla="*/ 84 h 115"/>
                  <a:gd name="T60" fmla="*/ 69 w 148"/>
                  <a:gd name="T61" fmla="*/ 81 h 115"/>
                  <a:gd name="T62" fmla="*/ 70 w 148"/>
                  <a:gd name="T63" fmla="*/ 77 h 115"/>
                  <a:gd name="T64" fmla="*/ 70 w 148"/>
                  <a:gd name="T65" fmla="*/ 74 h 115"/>
                  <a:gd name="T66" fmla="*/ 70 w 148"/>
                  <a:gd name="T67" fmla="*/ 74 h 115"/>
                  <a:gd name="T68" fmla="*/ 70 w 148"/>
                  <a:gd name="T69" fmla="*/ 71 h 115"/>
                  <a:gd name="T70" fmla="*/ 69 w 148"/>
                  <a:gd name="T71" fmla="*/ 68 h 115"/>
                  <a:gd name="T72" fmla="*/ 68 w 148"/>
                  <a:gd name="T73" fmla="*/ 65 h 115"/>
                  <a:gd name="T74" fmla="*/ 66 w 148"/>
                  <a:gd name="T75" fmla="*/ 63 h 115"/>
                  <a:gd name="T76" fmla="*/ 63 w 148"/>
                  <a:gd name="T77" fmla="*/ 61 h 115"/>
                  <a:gd name="T78" fmla="*/ 60 w 148"/>
                  <a:gd name="T79" fmla="*/ 60 h 115"/>
                  <a:gd name="T80" fmla="*/ 52 w 148"/>
                  <a:gd name="T81" fmla="*/ 59 h 115"/>
                  <a:gd name="T82" fmla="*/ 33 w 148"/>
                  <a:gd name="T83" fmla="*/ 59 h 115"/>
                  <a:gd name="T84" fmla="*/ 33 w 148"/>
                  <a:gd name="T85" fmla="*/ 91 h 115"/>
                  <a:gd name="T86" fmla="*/ 52 w 148"/>
                  <a:gd name="T87" fmla="*/ 91 h 115"/>
                  <a:gd name="T88" fmla="*/ 52 w 148"/>
                  <a:gd name="T89" fmla="*/ 91 h 115"/>
                  <a:gd name="T90" fmla="*/ 56 w 148"/>
                  <a:gd name="T91" fmla="*/ 91 h 115"/>
                  <a:gd name="T92" fmla="*/ 59 w 148"/>
                  <a:gd name="T93" fmla="*/ 90 h 115"/>
                  <a:gd name="T94" fmla="*/ 62 w 148"/>
                  <a:gd name="T95" fmla="*/ 88 h 115"/>
                  <a:gd name="T96" fmla="*/ 65 w 148"/>
                  <a:gd name="T97" fmla="*/ 86 h 115"/>
                  <a:gd name="T98" fmla="*/ 65 w 148"/>
                  <a:gd name="T99" fmla="*/ 86 h 115"/>
                  <a:gd name="T100" fmla="*/ 116 w 148"/>
                  <a:gd name="T101" fmla="*/ 0 h 115"/>
                  <a:gd name="T102" fmla="*/ 148 w 148"/>
                  <a:gd name="T103" fmla="*/ 0 h 115"/>
                  <a:gd name="T104" fmla="*/ 148 w 148"/>
                  <a:gd name="T105" fmla="*/ 115 h 115"/>
                  <a:gd name="T106" fmla="*/ 116 w 148"/>
                  <a:gd name="T107" fmla="*/ 115 h 115"/>
                  <a:gd name="T108" fmla="*/ 116 w 148"/>
                  <a:gd name="T109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48" h="115">
                    <a:moveTo>
                      <a:pt x="92" y="46"/>
                    </a:moveTo>
                    <a:lnTo>
                      <a:pt x="92" y="46"/>
                    </a:lnTo>
                    <a:lnTo>
                      <a:pt x="97" y="51"/>
                    </a:lnTo>
                    <a:lnTo>
                      <a:pt x="101" y="58"/>
                    </a:lnTo>
                    <a:lnTo>
                      <a:pt x="103" y="66"/>
                    </a:lnTo>
                    <a:lnTo>
                      <a:pt x="103" y="73"/>
                    </a:lnTo>
                    <a:lnTo>
                      <a:pt x="103" y="73"/>
                    </a:lnTo>
                    <a:lnTo>
                      <a:pt x="103" y="82"/>
                    </a:lnTo>
                    <a:lnTo>
                      <a:pt x="100" y="90"/>
                    </a:lnTo>
                    <a:lnTo>
                      <a:pt x="96" y="97"/>
                    </a:lnTo>
                    <a:lnTo>
                      <a:pt x="91" y="104"/>
                    </a:lnTo>
                    <a:lnTo>
                      <a:pt x="91" y="104"/>
                    </a:lnTo>
                    <a:lnTo>
                      <a:pt x="83" y="109"/>
                    </a:lnTo>
                    <a:lnTo>
                      <a:pt x="73" y="113"/>
                    </a:lnTo>
                    <a:lnTo>
                      <a:pt x="64" y="115"/>
                    </a:lnTo>
                    <a:lnTo>
                      <a:pt x="54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2" y="0"/>
                    </a:lnTo>
                    <a:lnTo>
                      <a:pt x="32" y="36"/>
                    </a:lnTo>
                    <a:lnTo>
                      <a:pt x="59" y="36"/>
                    </a:lnTo>
                    <a:lnTo>
                      <a:pt x="59" y="36"/>
                    </a:lnTo>
                    <a:lnTo>
                      <a:pt x="67" y="37"/>
                    </a:lnTo>
                    <a:lnTo>
                      <a:pt x="76" y="38"/>
                    </a:lnTo>
                    <a:lnTo>
                      <a:pt x="85" y="41"/>
                    </a:lnTo>
                    <a:lnTo>
                      <a:pt x="92" y="46"/>
                    </a:lnTo>
                    <a:lnTo>
                      <a:pt x="92" y="46"/>
                    </a:lnTo>
                    <a:close/>
                    <a:moveTo>
                      <a:pt x="65" y="86"/>
                    </a:moveTo>
                    <a:lnTo>
                      <a:pt x="65" y="86"/>
                    </a:lnTo>
                    <a:lnTo>
                      <a:pt x="67" y="84"/>
                    </a:lnTo>
                    <a:lnTo>
                      <a:pt x="69" y="81"/>
                    </a:lnTo>
                    <a:lnTo>
                      <a:pt x="70" y="77"/>
                    </a:lnTo>
                    <a:lnTo>
                      <a:pt x="70" y="74"/>
                    </a:lnTo>
                    <a:lnTo>
                      <a:pt x="70" y="74"/>
                    </a:lnTo>
                    <a:lnTo>
                      <a:pt x="70" y="71"/>
                    </a:lnTo>
                    <a:lnTo>
                      <a:pt x="69" y="68"/>
                    </a:lnTo>
                    <a:lnTo>
                      <a:pt x="68" y="65"/>
                    </a:lnTo>
                    <a:lnTo>
                      <a:pt x="66" y="63"/>
                    </a:lnTo>
                    <a:lnTo>
                      <a:pt x="63" y="61"/>
                    </a:lnTo>
                    <a:lnTo>
                      <a:pt x="60" y="60"/>
                    </a:lnTo>
                    <a:lnTo>
                      <a:pt x="52" y="59"/>
                    </a:lnTo>
                    <a:lnTo>
                      <a:pt x="33" y="59"/>
                    </a:lnTo>
                    <a:lnTo>
                      <a:pt x="33" y="91"/>
                    </a:lnTo>
                    <a:lnTo>
                      <a:pt x="52" y="91"/>
                    </a:lnTo>
                    <a:lnTo>
                      <a:pt x="52" y="91"/>
                    </a:lnTo>
                    <a:lnTo>
                      <a:pt x="56" y="91"/>
                    </a:lnTo>
                    <a:lnTo>
                      <a:pt x="59" y="90"/>
                    </a:lnTo>
                    <a:lnTo>
                      <a:pt x="62" y="88"/>
                    </a:lnTo>
                    <a:lnTo>
                      <a:pt x="65" y="86"/>
                    </a:lnTo>
                    <a:lnTo>
                      <a:pt x="65" y="86"/>
                    </a:lnTo>
                    <a:close/>
                    <a:moveTo>
                      <a:pt x="116" y="0"/>
                    </a:moveTo>
                    <a:lnTo>
                      <a:pt x="148" y="0"/>
                    </a:lnTo>
                    <a:lnTo>
                      <a:pt x="148" y="115"/>
                    </a:lnTo>
                    <a:lnTo>
                      <a:pt x="116" y="115"/>
                    </a:lnTo>
                    <a:lnTo>
                      <a:pt x="116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12">
                <a:extLst>
                  <a:ext uri="{FF2B5EF4-FFF2-40B4-BE49-F238E27FC236}">
                    <a16:creationId xmlns:a16="http://schemas.microsoft.com/office/drawing/2014/main" id="{39812691-21C4-4401-AA26-77C07A73F74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166479" y="1376363"/>
                <a:ext cx="79375" cy="95250"/>
              </a:xfrm>
              <a:custGeom>
                <a:avLst/>
                <a:gdLst>
                  <a:gd name="T0" fmla="*/ 96 w 101"/>
                  <a:gd name="T1" fmla="*/ 68 h 120"/>
                  <a:gd name="T2" fmla="*/ 100 w 101"/>
                  <a:gd name="T3" fmla="*/ 76 h 120"/>
                  <a:gd name="T4" fmla="*/ 101 w 101"/>
                  <a:gd name="T5" fmla="*/ 85 h 120"/>
                  <a:gd name="T6" fmla="*/ 101 w 101"/>
                  <a:gd name="T7" fmla="*/ 90 h 120"/>
                  <a:gd name="T8" fmla="*/ 97 w 101"/>
                  <a:gd name="T9" fmla="*/ 99 h 120"/>
                  <a:gd name="T10" fmla="*/ 94 w 101"/>
                  <a:gd name="T11" fmla="*/ 104 h 120"/>
                  <a:gd name="T12" fmla="*/ 85 w 101"/>
                  <a:gd name="T13" fmla="*/ 111 h 120"/>
                  <a:gd name="T14" fmla="*/ 75 w 101"/>
                  <a:gd name="T15" fmla="*/ 116 h 120"/>
                  <a:gd name="T16" fmla="*/ 61 w 101"/>
                  <a:gd name="T17" fmla="*/ 119 h 120"/>
                  <a:gd name="T18" fmla="*/ 48 w 101"/>
                  <a:gd name="T19" fmla="*/ 120 h 120"/>
                  <a:gd name="T20" fmla="*/ 23 w 101"/>
                  <a:gd name="T21" fmla="*/ 118 h 120"/>
                  <a:gd name="T22" fmla="*/ 12 w 101"/>
                  <a:gd name="T23" fmla="*/ 114 h 120"/>
                  <a:gd name="T24" fmla="*/ 10 w 101"/>
                  <a:gd name="T25" fmla="*/ 86 h 120"/>
                  <a:gd name="T26" fmla="*/ 18 w 101"/>
                  <a:gd name="T27" fmla="*/ 89 h 120"/>
                  <a:gd name="T28" fmla="*/ 26 w 101"/>
                  <a:gd name="T29" fmla="*/ 92 h 120"/>
                  <a:gd name="T30" fmla="*/ 44 w 101"/>
                  <a:gd name="T31" fmla="*/ 94 h 120"/>
                  <a:gd name="T32" fmla="*/ 53 w 101"/>
                  <a:gd name="T33" fmla="*/ 93 h 120"/>
                  <a:gd name="T34" fmla="*/ 62 w 101"/>
                  <a:gd name="T35" fmla="*/ 90 h 120"/>
                  <a:gd name="T36" fmla="*/ 67 w 101"/>
                  <a:gd name="T37" fmla="*/ 86 h 120"/>
                  <a:gd name="T38" fmla="*/ 69 w 101"/>
                  <a:gd name="T39" fmla="*/ 80 h 120"/>
                  <a:gd name="T40" fmla="*/ 68 w 101"/>
                  <a:gd name="T41" fmla="*/ 78 h 120"/>
                  <a:gd name="T42" fmla="*/ 66 w 101"/>
                  <a:gd name="T43" fmla="*/ 74 h 120"/>
                  <a:gd name="T44" fmla="*/ 64 w 101"/>
                  <a:gd name="T45" fmla="*/ 73 h 120"/>
                  <a:gd name="T46" fmla="*/ 53 w 101"/>
                  <a:gd name="T47" fmla="*/ 70 h 120"/>
                  <a:gd name="T48" fmla="*/ 23 w 101"/>
                  <a:gd name="T49" fmla="*/ 47 h 120"/>
                  <a:gd name="T50" fmla="*/ 50 w 101"/>
                  <a:gd name="T51" fmla="*/ 47 h 120"/>
                  <a:gd name="T52" fmla="*/ 60 w 101"/>
                  <a:gd name="T53" fmla="*/ 44 h 120"/>
                  <a:gd name="T54" fmla="*/ 63 w 101"/>
                  <a:gd name="T55" fmla="*/ 41 h 120"/>
                  <a:gd name="T56" fmla="*/ 64 w 101"/>
                  <a:gd name="T57" fmla="*/ 37 h 120"/>
                  <a:gd name="T58" fmla="*/ 62 w 101"/>
                  <a:gd name="T59" fmla="*/ 32 h 120"/>
                  <a:gd name="T60" fmla="*/ 58 w 101"/>
                  <a:gd name="T61" fmla="*/ 29 h 120"/>
                  <a:gd name="T62" fmla="*/ 51 w 101"/>
                  <a:gd name="T63" fmla="*/ 26 h 120"/>
                  <a:gd name="T64" fmla="*/ 44 w 101"/>
                  <a:gd name="T65" fmla="*/ 26 h 120"/>
                  <a:gd name="T66" fmla="*/ 28 w 101"/>
                  <a:gd name="T67" fmla="*/ 28 h 120"/>
                  <a:gd name="T68" fmla="*/ 20 w 101"/>
                  <a:gd name="T69" fmla="*/ 30 h 120"/>
                  <a:gd name="T70" fmla="*/ 3 w 101"/>
                  <a:gd name="T71" fmla="*/ 9 h 120"/>
                  <a:gd name="T72" fmla="*/ 13 w 101"/>
                  <a:gd name="T73" fmla="*/ 5 h 120"/>
                  <a:gd name="T74" fmla="*/ 33 w 101"/>
                  <a:gd name="T75" fmla="*/ 1 h 120"/>
                  <a:gd name="T76" fmla="*/ 44 w 101"/>
                  <a:gd name="T77" fmla="*/ 0 h 120"/>
                  <a:gd name="T78" fmla="*/ 70 w 101"/>
                  <a:gd name="T79" fmla="*/ 4 h 120"/>
                  <a:gd name="T80" fmla="*/ 75 w 101"/>
                  <a:gd name="T81" fmla="*/ 6 h 120"/>
                  <a:gd name="T82" fmla="*/ 85 w 101"/>
                  <a:gd name="T83" fmla="*/ 12 h 120"/>
                  <a:gd name="T84" fmla="*/ 89 w 101"/>
                  <a:gd name="T85" fmla="*/ 16 h 120"/>
                  <a:gd name="T86" fmla="*/ 95 w 101"/>
                  <a:gd name="T87" fmla="*/ 24 h 120"/>
                  <a:gd name="T88" fmla="*/ 96 w 101"/>
                  <a:gd name="T89" fmla="*/ 34 h 120"/>
                  <a:gd name="T90" fmla="*/ 95 w 101"/>
                  <a:gd name="T91" fmla="*/ 41 h 120"/>
                  <a:gd name="T92" fmla="*/ 92 w 101"/>
                  <a:gd name="T93" fmla="*/ 48 h 120"/>
                  <a:gd name="T94" fmla="*/ 81 w 101"/>
                  <a:gd name="T95" fmla="*/ 58 h 120"/>
                  <a:gd name="T96" fmla="*/ 85 w 101"/>
                  <a:gd name="T97" fmla="*/ 59 h 120"/>
                  <a:gd name="T98" fmla="*/ 93 w 101"/>
                  <a:gd name="T99" fmla="*/ 65 h 120"/>
                  <a:gd name="T100" fmla="*/ 96 w 101"/>
                  <a:gd name="T101" fmla="*/ 68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01" h="120">
                    <a:moveTo>
                      <a:pt x="96" y="68"/>
                    </a:moveTo>
                    <a:lnTo>
                      <a:pt x="96" y="68"/>
                    </a:lnTo>
                    <a:lnTo>
                      <a:pt x="98" y="72"/>
                    </a:lnTo>
                    <a:lnTo>
                      <a:pt x="100" y="76"/>
                    </a:lnTo>
                    <a:lnTo>
                      <a:pt x="101" y="80"/>
                    </a:lnTo>
                    <a:lnTo>
                      <a:pt x="101" y="85"/>
                    </a:lnTo>
                    <a:lnTo>
                      <a:pt x="101" y="85"/>
                    </a:lnTo>
                    <a:lnTo>
                      <a:pt x="101" y="90"/>
                    </a:lnTo>
                    <a:lnTo>
                      <a:pt x="99" y="95"/>
                    </a:lnTo>
                    <a:lnTo>
                      <a:pt x="97" y="99"/>
                    </a:lnTo>
                    <a:lnTo>
                      <a:pt x="94" y="104"/>
                    </a:lnTo>
                    <a:lnTo>
                      <a:pt x="94" y="104"/>
                    </a:lnTo>
                    <a:lnTo>
                      <a:pt x="90" y="108"/>
                    </a:lnTo>
                    <a:lnTo>
                      <a:pt x="85" y="111"/>
                    </a:lnTo>
                    <a:lnTo>
                      <a:pt x="80" y="114"/>
                    </a:lnTo>
                    <a:lnTo>
                      <a:pt x="75" y="116"/>
                    </a:lnTo>
                    <a:lnTo>
                      <a:pt x="75" y="116"/>
                    </a:lnTo>
                    <a:lnTo>
                      <a:pt x="61" y="119"/>
                    </a:lnTo>
                    <a:lnTo>
                      <a:pt x="48" y="120"/>
                    </a:lnTo>
                    <a:lnTo>
                      <a:pt x="48" y="120"/>
                    </a:lnTo>
                    <a:lnTo>
                      <a:pt x="35" y="120"/>
                    </a:lnTo>
                    <a:lnTo>
                      <a:pt x="23" y="118"/>
                    </a:lnTo>
                    <a:lnTo>
                      <a:pt x="23" y="118"/>
                    </a:lnTo>
                    <a:lnTo>
                      <a:pt x="12" y="114"/>
                    </a:lnTo>
                    <a:lnTo>
                      <a:pt x="0" y="109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8" y="89"/>
                    </a:lnTo>
                    <a:lnTo>
                      <a:pt x="26" y="92"/>
                    </a:lnTo>
                    <a:lnTo>
                      <a:pt x="26" y="92"/>
                    </a:lnTo>
                    <a:lnTo>
                      <a:pt x="35" y="93"/>
                    </a:lnTo>
                    <a:lnTo>
                      <a:pt x="44" y="94"/>
                    </a:lnTo>
                    <a:lnTo>
                      <a:pt x="44" y="94"/>
                    </a:lnTo>
                    <a:lnTo>
                      <a:pt x="53" y="93"/>
                    </a:lnTo>
                    <a:lnTo>
                      <a:pt x="62" y="90"/>
                    </a:lnTo>
                    <a:lnTo>
                      <a:pt x="62" y="90"/>
                    </a:lnTo>
                    <a:lnTo>
                      <a:pt x="64" y="89"/>
                    </a:lnTo>
                    <a:lnTo>
                      <a:pt x="67" y="86"/>
                    </a:lnTo>
                    <a:lnTo>
                      <a:pt x="68" y="84"/>
                    </a:lnTo>
                    <a:lnTo>
                      <a:pt x="69" y="80"/>
                    </a:lnTo>
                    <a:lnTo>
                      <a:pt x="69" y="80"/>
                    </a:lnTo>
                    <a:lnTo>
                      <a:pt x="68" y="78"/>
                    </a:lnTo>
                    <a:lnTo>
                      <a:pt x="67" y="76"/>
                    </a:lnTo>
                    <a:lnTo>
                      <a:pt x="66" y="74"/>
                    </a:lnTo>
                    <a:lnTo>
                      <a:pt x="64" y="73"/>
                    </a:lnTo>
                    <a:lnTo>
                      <a:pt x="64" y="73"/>
                    </a:lnTo>
                    <a:lnTo>
                      <a:pt x="59" y="71"/>
                    </a:lnTo>
                    <a:lnTo>
                      <a:pt x="53" y="70"/>
                    </a:lnTo>
                    <a:lnTo>
                      <a:pt x="23" y="70"/>
                    </a:lnTo>
                    <a:lnTo>
                      <a:pt x="23" y="47"/>
                    </a:lnTo>
                    <a:lnTo>
                      <a:pt x="50" y="47"/>
                    </a:lnTo>
                    <a:lnTo>
                      <a:pt x="50" y="47"/>
                    </a:lnTo>
                    <a:lnTo>
                      <a:pt x="55" y="46"/>
                    </a:lnTo>
                    <a:lnTo>
                      <a:pt x="60" y="44"/>
                    </a:lnTo>
                    <a:lnTo>
                      <a:pt x="60" y="44"/>
                    </a:lnTo>
                    <a:lnTo>
                      <a:pt x="63" y="41"/>
                    </a:lnTo>
                    <a:lnTo>
                      <a:pt x="64" y="37"/>
                    </a:lnTo>
                    <a:lnTo>
                      <a:pt x="64" y="37"/>
                    </a:lnTo>
                    <a:lnTo>
                      <a:pt x="63" y="35"/>
                    </a:lnTo>
                    <a:lnTo>
                      <a:pt x="62" y="32"/>
                    </a:lnTo>
                    <a:lnTo>
                      <a:pt x="61" y="30"/>
                    </a:lnTo>
                    <a:lnTo>
                      <a:pt x="58" y="29"/>
                    </a:lnTo>
                    <a:lnTo>
                      <a:pt x="58" y="29"/>
                    </a:lnTo>
                    <a:lnTo>
                      <a:pt x="51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35" y="26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0" y="30"/>
                    </a:lnTo>
                    <a:lnTo>
                      <a:pt x="13" y="34"/>
                    </a:lnTo>
                    <a:lnTo>
                      <a:pt x="3" y="9"/>
                    </a:lnTo>
                    <a:lnTo>
                      <a:pt x="3" y="9"/>
                    </a:lnTo>
                    <a:lnTo>
                      <a:pt x="13" y="5"/>
                    </a:lnTo>
                    <a:lnTo>
                      <a:pt x="23" y="2"/>
                    </a:lnTo>
                    <a:lnTo>
                      <a:pt x="33" y="1"/>
                    </a:lnTo>
                    <a:lnTo>
                      <a:pt x="44" y="0"/>
                    </a:lnTo>
                    <a:lnTo>
                      <a:pt x="44" y="0"/>
                    </a:lnTo>
                    <a:lnTo>
                      <a:pt x="57" y="1"/>
                    </a:lnTo>
                    <a:lnTo>
                      <a:pt x="70" y="4"/>
                    </a:lnTo>
                    <a:lnTo>
                      <a:pt x="70" y="4"/>
                    </a:lnTo>
                    <a:lnTo>
                      <a:pt x="75" y="6"/>
                    </a:lnTo>
                    <a:lnTo>
                      <a:pt x="80" y="9"/>
                    </a:lnTo>
                    <a:lnTo>
                      <a:pt x="85" y="12"/>
                    </a:lnTo>
                    <a:lnTo>
                      <a:pt x="89" y="16"/>
                    </a:lnTo>
                    <a:lnTo>
                      <a:pt x="89" y="16"/>
                    </a:lnTo>
                    <a:lnTo>
                      <a:pt x="92" y="20"/>
                    </a:lnTo>
                    <a:lnTo>
                      <a:pt x="95" y="24"/>
                    </a:lnTo>
                    <a:lnTo>
                      <a:pt x="96" y="29"/>
                    </a:lnTo>
                    <a:lnTo>
                      <a:pt x="96" y="34"/>
                    </a:lnTo>
                    <a:lnTo>
                      <a:pt x="96" y="34"/>
                    </a:lnTo>
                    <a:lnTo>
                      <a:pt x="95" y="41"/>
                    </a:lnTo>
                    <a:lnTo>
                      <a:pt x="92" y="48"/>
                    </a:lnTo>
                    <a:lnTo>
                      <a:pt x="92" y="48"/>
                    </a:lnTo>
                    <a:lnTo>
                      <a:pt x="87" y="53"/>
                    </a:lnTo>
                    <a:lnTo>
                      <a:pt x="81" y="58"/>
                    </a:lnTo>
                    <a:lnTo>
                      <a:pt x="81" y="58"/>
                    </a:lnTo>
                    <a:lnTo>
                      <a:pt x="85" y="59"/>
                    </a:lnTo>
                    <a:lnTo>
                      <a:pt x="89" y="62"/>
                    </a:lnTo>
                    <a:lnTo>
                      <a:pt x="93" y="65"/>
                    </a:lnTo>
                    <a:lnTo>
                      <a:pt x="96" y="68"/>
                    </a:lnTo>
                    <a:lnTo>
                      <a:pt x="96" y="6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13">
                <a:extLst>
                  <a:ext uri="{FF2B5EF4-FFF2-40B4-BE49-F238E27FC236}">
                    <a16:creationId xmlns:a16="http://schemas.microsoft.com/office/drawing/2014/main" id="{3CC79BEA-CF57-4960-9F9F-0801F21F9738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1256966" y="1377950"/>
                <a:ext cx="101600" cy="93662"/>
              </a:xfrm>
              <a:custGeom>
                <a:avLst/>
                <a:gdLst>
                  <a:gd name="T0" fmla="*/ 31 w 128"/>
                  <a:gd name="T1" fmla="*/ 112 h 119"/>
                  <a:gd name="T2" fmla="*/ 21 w 128"/>
                  <a:gd name="T3" fmla="*/ 105 h 119"/>
                  <a:gd name="T4" fmla="*/ 7 w 128"/>
                  <a:gd name="T5" fmla="*/ 87 h 119"/>
                  <a:gd name="T6" fmla="*/ 0 w 128"/>
                  <a:gd name="T7" fmla="*/ 65 h 119"/>
                  <a:gd name="T8" fmla="*/ 2 w 128"/>
                  <a:gd name="T9" fmla="*/ 43 h 119"/>
                  <a:gd name="T10" fmla="*/ 7 w 128"/>
                  <a:gd name="T11" fmla="*/ 32 h 119"/>
                  <a:gd name="T12" fmla="*/ 11 w 128"/>
                  <a:gd name="T13" fmla="*/ 24 h 119"/>
                  <a:gd name="T14" fmla="*/ 24 w 128"/>
                  <a:gd name="T15" fmla="*/ 12 h 119"/>
                  <a:gd name="T16" fmla="*/ 31 w 128"/>
                  <a:gd name="T17" fmla="*/ 7 h 119"/>
                  <a:gd name="T18" fmla="*/ 47 w 128"/>
                  <a:gd name="T19" fmla="*/ 2 h 119"/>
                  <a:gd name="T20" fmla="*/ 65 w 128"/>
                  <a:gd name="T21" fmla="*/ 0 h 119"/>
                  <a:gd name="T22" fmla="*/ 81 w 128"/>
                  <a:gd name="T23" fmla="*/ 2 h 119"/>
                  <a:gd name="T24" fmla="*/ 97 w 128"/>
                  <a:gd name="T25" fmla="*/ 7 h 119"/>
                  <a:gd name="T26" fmla="*/ 102 w 128"/>
                  <a:gd name="T27" fmla="*/ 10 h 119"/>
                  <a:gd name="T28" fmla="*/ 115 w 128"/>
                  <a:gd name="T29" fmla="*/ 22 h 119"/>
                  <a:gd name="T30" fmla="*/ 126 w 128"/>
                  <a:gd name="T31" fmla="*/ 42 h 119"/>
                  <a:gd name="T32" fmla="*/ 128 w 128"/>
                  <a:gd name="T33" fmla="*/ 64 h 119"/>
                  <a:gd name="T34" fmla="*/ 124 w 128"/>
                  <a:gd name="T35" fmla="*/ 81 h 119"/>
                  <a:gd name="T36" fmla="*/ 122 w 128"/>
                  <a:gd name="T37" fmla="*/ 86 h 119"/>
                  <a:gd name="T38" fmla="*/ 111 w 128"/>
                  <a:gd name="T39" fmla="*/ 100 h 119"/>
                  <a:gd name="T40" fmla="*/ 97 w 128"/>
                  <a:gd name="T41" fmla="*/ 112 h 119"/>
                  <a:gd name="T42" fmla="*/ 89 w 128"/>
                  <a:gd name="T43" fmla="*/ 115 h 119"/>
                  <a:gd name="T44" fmla="*/ 73 w 128"/>
                  <a:gd name="T45" fmla="*/ 119 h 119"/>
                  <a:gd name="T46" fmla="*/ 56 w 128"/>
                  <a:gd name="T47" fmla="*/ 119 h 119"/>
                  <a:gd name="T48" fmla="*/ 39 w 128"/>
                  <a:gd name="T49" fmla="*/ 115 h 119"/>
                  <a:gd name="T50" fmla="*/ 31 w 128"/>
                  <a:gd name="T51" fmla="*/ 112 h 119"/>
                  <a:gd name="T52" fmla="*/ 80 w 128"/>
                  <a:gd name="T53" fmla="*/ 87 h 119"/>
                  <a:gd name="T54" fmla="*/ 91 w 128"/>
                  <a:gd name="T55" fmla="*/ 76 h 119"/>
                  <a:gd name="T56" fmla="*/ 94 w 128"/>
                  <a:gd name="T57" fmla="*/ 68 h 119"/>
                  <a:gd name="T58" fmla="*/ 94 w 128"/>
                  <a:gd name="T59" fmla="*/ 50 h 119"/>
                  <a:gd name="T60" fmla="*/ 91 w 128"/>
                  <a:gd name="T61" fmla="*/ 42 h 119"/>
                  <a:gd name="T62" fmla="*/ 80 w 128"/>
                  <a:gd name="T63" fmla="*/ 30 h 119"/>
                  <a:gd name="T64" fmla="*/ 73 w 128"/>
                  <a:gd name="T65" fmla="*/ 27 h 119"/>
                  <a:gd name="T66" fmla="*/ 57 w 128"/>
                  <a:gd name="T67" fmla="*/ 27 h 119"/>
                  <a:gd name="T68" fmla="*/ 48 w 128"/>
                  <a:gd name="T69" fmla="*/ 30 h 119"/>
                  <a:gd name="T70" fmla="*/ 37 w 128"/>
                  <a:gd name="T71" fmla="*/ 42 h 119"/>
                  <a:gd name="T72" fmla="*/ 34 w 128"/>
                  <a:gd name="T73" fmla="*/ 50 h 119"/>
                  <a:gd name="T74" fmla="*/ 34 w 128"/>
                  <a:gd name="T75" fmla="*/ 68 h 119"/>
                  <a:gd name="T76" fmla="*/ 37 w 128"/>
                  <a:gd name="T77" fmla="*/ 76 h 119"/>
                  <a:gd name="T78" fmla="*/ 48 w 128"/>
                  <a:gd name="T79" fmla="*/ 87 h 119"/>
                  <a:gd name="T80" fmla="*/ 57 w 128"/>
                  <a:gd name="T81" fmla="*/ 90 h 119"/>
                  <a:gd name="T82" fmla="*/ 73 w 128"/>
                  <a:gd name="T83" fmla="*/ 90 h 119"/>
                  <a:gd name="T84" fmla="*/ 80 w 128"/>
                  <a:gd name="T85" fmla="*/ 87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28" h="119">
                    <a:moveTo>
                      <a:pt x="31" y="112"/>
                    </a:moveTo>
                    <a:lnTo>
                      <a:pt x="31" y="112"/>
                    </a:lnTo>
                    <a:lnTo>
                      <a:pt x="26" y="109"/>
                    </a:lnTo>
                    <a:lnTo>
                      <a:pt x="21" y="105"/>
                    </a:lnTo>
                    <a:lnTo>
                      <a:pt x="13" y="96"/>
                    </a:lnTo>
                    <a:lnTo>
                      <a:pt x="7" y="87"/>
                    </a:lnTo>
                    <a:lnTo>
                      <a:pt x="3" y="76"/>
                    </a:lnTo>
                    <a:lnTo>
                      <a:pt x="0" y="65"/>
                    </a:lnTo>
                    <a:lnTo>
                      <a:pt x="0" y="54"/>
                    </a:lnTo>
                    <a:lnTo>
                      <a:pt x="2" y="43"/>
                    </a:lnTo>
                    <a:lnTo>
                      <a:pt x="4" y="37"/>
                    </a:lnTo>
                    <a:lnTo>
                      <a:pt x="7" y="32"/>
                    </a:lnTo>
                    <a:lnTo>
                      <a:pt x="7" y="32"/>
                    </a:lnTo>
                    <a:lnTo>
                      <a:pt x="11" y="24"/>
                    </a:lnTo>
                    <a:lnTo>
                      <a:pt x="17" y="18"/>
                    </a:lnTo>
                    <a:lnTo>
                      <a:pt x="24" y="12"/>
                    </a:lnTo>
                    <a:lnTo>
                      <a:pt x="31" y="7"/>
                    </a:lnTo>
                    <a:lnTo>
                      <a:pt x="31" y="7"/>
                    </a:lnTo>
                    <a:lnTo>
                      <a:pt x="39" y="4"/>
                    </a:lnTo>
                    <a:lnTo>
                      <a:pt x="47" y="2"/>
                    </a:lnTo>
                    <a:lnTo>
                      <a:pt x="56" y="0"/>
                    </a:lnTo>
                    <a:lnTo>
                      <a:pt x="65" y="0"/>
                    </a:lnTo>
                    <a:lnTo>
                      <a:pt x="73" y="0"/>
                    </a:lnTo>
                    <a:lnTo>
                      <a:pt x="81" y="2"/>
                    </a:lnTo>
                    <a:lnTo>
                      <a:pt x="89" y="4"/>
                    </a:lnTo>
                    <a:lnTo>
                      <a:pt x="97" y="7"/>
                    </a:lnTo>
                    <a:lnTo>
                      <a:pt x="97" y="7"/>
                    </a:lnTo>
                    <a:lnTo>
                      <a:pt x="102" y="10"/>
                    </a:lnTo>
                    <a:lnTo>
                      <a:pt x="107" y="14"/>
                    </a:lnTo>
                    <a:lnTo>
                      <a:pt x="115" y="22"/>
                    </a:lnTo>
                    <a:lnTo>
                      <a:pt x="121" y="31"/>
                    </a:lnTo>
                    <a:lnTo>
                      <a:pt x="126" y="42"/>
                    </a:lnTo>
                    <a:lnTo>
                      <a:pt x="128" y="53"/>
                    </a:lnTo>
                    <a:lnTo>
                      <a:pt x="128" y="64"/>
                    </a:lnTo>
                    <a:lnTo>
                      <a:pt x="126" y="75"/>
                    </a:lnTo>
                    <a:lnTo>
                      <a:pt x="124" y="81"/>
                    </a:lnTo>
                    <a:lnTo>
                      <a:pt x="122" y="86"/>
                    </a:lnTo>
                    <a:lnTo>
                      <a:pt x="122" y="86"/>
                    </a:lnTo>
                    <a:lnTo>
                      <a:pt x="117" y="94"/>
                    </a:lnTo>
                    <a:lnTo>
                      <a:pt x="111" y="100"/>
                    </a:lnTo>
                    <a:lnTo>
                      <a:pt x="105" y="107"/>
                    </a:lnTo>
                    <a:lnTo>
                      <a:pt x="97" y="112"/>
                    </a:lnTo>
                    <a:lnTo>
                      <a:pt x="97" y="112"/>
                    </a:lnTo>
                    <a:lnTo>
                      <a:pt x="89" y="115"/>
                    </a:lnTo>
                    <a:lnTo>
                      <a:pt x="81" y="117"/>
                    </a:lnTo>
                    <a:lnTo>
                      <a:pt x="73" y="119"/>
                    </a:lnTo>
                    <a:lnTo>
                      <a:pt x="65" y="119"/>
                    </a:lnTo>
                    <a:lnTo>
                      <a:pt x="56" y="119"/>
                    </a:lnTo>
                    <a:lnTo>
                      <a:pt x="47" y="117"/>
                    </a:lnTo>
                    <a:lnTo>
                      <a:pt x="39" y="115"/>
                    </a:lnTo>
                    <a:lnTo>
                      <a:pt x="31" y="112"/>
                    </a:lnTo>
                    <a:lnTo>
                      <a:pt x="31" y="112"/>
                    </a:lnTo>
                    <a:close/>
                    <a:moveTo>
                      <a:pt x="80" y="87"/>
                    </a:moveTo>
                    <a:lnTo>
                      <a:pt x="80" y="87"/>
                    </a:lnTo>
                    <a:lnTo>
                      <a:pt x="87" y="82"/>
                    </a:lnTo>
                    <a:lnTo>
                      <a:pt x="91" y="76"/>
                    </a:lnTo>
                    <a:lnTo>
                      <a:pt x="91" y="76"/>
                    </a:lnTo>
                    <a:lnTo>
                      <a:pt x="94" y="68"/>
                    </a:lnTo>
                    <a:lnTo>
                      <a:pt x="96" y="59"/>
                    </a:lnTo>
                    <a:lnTo>
                      <a:pt x="94" y="50"/>
                    </a:lnTo>
                    <a:lnTo>
                      <a:pt x="91" y="42"/>
                    </a:lnTo>
                    <a:lnTo>
                      <a:pt x="91" y="42"/>
                    </a:lnTo>
                    <a:lnTo>
                      <a:pt x="87" y="35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73" y="27"/>
                    </a:lnTo>
                    <a:lnTo>
                      <a:pt x="65" y="26"/>
                    </a:lnTo>
                    <a:lnTo>
                      <a:pt x="57" y="27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2" y="35"/>
                    </a:lnTo>
                    <a:lnTo>
                      <a:pt x="37" y="42"/>
                    </a:lnTo>
                    <a:lnTo>
                      <a:pt x="37" y="42"/>
                    </a:lnTo>
                    <a:lnTo>
                      <a:pt x="34" y="50"/>
                    </a:lnTo>
                    <a:lnTo>
                      <a:pt x="33" y="59"/>
                    </a:lnTo>
                    <a:lnTo>
                      <a:pt x="34" y="68"/>
                    </a:lnTo>
                    <a:lnTo>
                      <a:pt x="37" y="76"/>
                    </a:lnTo>
                    <a:lnTo>
                      <a:pt x="37" y="76"/>
                    </a:lnTo>
                    <a:lnTo>
                      <a:pt x="42" y="82"/>
                    </a:lnTo>
                    <a:lnTo>
                      <a:pt x="48" y="87"/>
                    </a:lnTo>
                    <a:lnTo>
                      <a:pt x="48" y="87"/>
                    </a:lnTo>
                    <a:lnTo>
                      <a:pt x="57" y="90"/>
                    </a:lnTo>
                    <a:lnTo>
                      <a:pt x="65" y="91"/>
                    </a:lnTo>
                    <a:lnTo>
                      <a:pt x="73" y="90"/>
                    </a:lnTo>
                    <a:lnTo>
                      <a:pt x="80" y="87"/>
                    </a:lnTo>
                    <a:lnTo>
                      <a:pt x="80" y="8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14">
                <a:extLst>
                  <a:ext uri="{FF2B5EF4-FFF2-40B4-BE49-F238E27FC236}">
                    <a16:creationId xmlns:a16="http://schemas.microsoft.com/office/drawing/2014/main" id="{73BC48C6-67D2-43C6-B729-68084C77A0E1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1374441" y="1379538"/>
                <a:ext cx="82550" cy="90487"/>
              </a:xfrm>
              <a:custGeom>
                <a:avLst/>
                <a:gdLst>
                  <a:gd name="T0" fmla="*/ 99 w 104"/>
                  <a:gd name="T1" fmla="*/ 64 h 115"/>
                  <a:gd name="T2" fmla="*/ 103 w 104"/>
                  <a:gd name="T3" fmla="*/ 72 h 115"/>
                  <a:gd name="T4" fmla="*/ 104 w 104"/>
                  <a:gd name="T5" fmla="*/ 81 h 115"/>
                  <a:gd name="T6" fmla="*/ 104 w 104"/>
                  <a:gd name="T7" fmla="*/ 88 h 115"/>
                  <a:gd name="T8" fmla="*/ 98 w 104"/>
                  <a:gd name="T9" fmla="*/ 101 h 115"/>
                  <a:gd name="T10" fmla="*/ 92 w 104"/>
                  <a:gd name="T11" fmla="*/ 106 h 115"/>
                  <a:gd name="T12" fmla="*/ 78 w 104"/>
                  <a:gd name="T13" fmla="*/ 113 h 115"/>
                  <a:gd name="T14" fmla="*/ 59 w 104"/>
                  <a:gd name="T15" fmla="*/ 115 h 115"/>
                  <a:gd name="T16" fmla="*/ 0 w 104"/>
                  <a:gd name="T17" fmla="*/ 0 h 115"/>
                  <a:gd name="T18" fmla="*/ 56 w 104"/>
                  <a:gd name="T19" fmla="*/ 0 h 115"/>
                  <a:gd name="T20" fmla="*/ 72 w 104"/>
                  <a:gd name="T21" fmla="*/ 2 h 115"/>
                  <a:gd name="T22" fmla="*/ 88 w 104"/>
                  <a:gd name="T23" fmla="*/ 8 h 115"/>
                  <a:gd name="T24" fmla="*/ 93 w 104"/>
                  <a:gd name="T25" fmla="*/ 12 h 115"/>
                  <a:gd name="T26" fmla="*/ 99 w 104"/>
                  <a:gd name="T27" fmla="*/ 23 h 115"/>
                  <a:gd name="T28" fmla="*/ 99 w 104"/>
                  <a:gd name="T29" fmla="*/ 30 h 115"/>
                  <a:gd name="T30" fmla="*/ 95 w 104"/>
                  <a:gd name="T31" fmla="*/ 45 h 115"/>
                  <a:gd name="T32" fmla="*/ 90 w 104"/>
                  <a:gd name="T33" fmla="*/ 50 h 115"/>
                  <a:gd name="T34" fmla="*/ 84 w 104"/>
                  <a:gd name="T35" fmla="*/ 54 h 115"/>
                  <a:gd name="T36" fmla="*/ 92 w 104"/>
                  <a:gd name="T37" fmla="*/ 58 h 115"/>
                  <a:gd name="T38" fmla="*/ 99 w 104"/>
                  <a:gd name="T39" fmla="*/ 64 h 115"/>
                  <a:gd name="T40" fmla="*/ 31 w 104"/>
                  <a:gd name="T41" fmla="*/ 46 h 115"/>
                  <a:gd name="T42" fmla="*/ 53 w 104"/>
                  <a:gd name="T43" fmla="*/ 46 h 115"/>
                  <a:gd name="T44" fmla="*/ 63 w 104"/>
                  <a:gd name="T45" fmla="*/ 43 h 115"/>
                  <a:gd name="T46" fmla="*/ 67 w 104"/>
                  <a:gd name="T47" fmla="*/ 34 h 115"/>
                  <a:gd name="T48" fmla="*/ 66 w 104"/>
                  <a:gd name="T49" fmla="*/ 29 h 115"/>
                  <a:gd name="T50" fmla="*/ 59 w 104"/>
                  <a:gd name="T51" fmla="*/ 24 h 115"/>
                  <a:gd name="T52" fmla="*/ 31 w 104"/>
                  <a:gd name="T53" fmla="*/ 23 h 115"/>
                  <a:gd name="T54" fmla="*/ 72 w 104"/>
                  <a:gd name="T55" fmla="*/ 79 h 115"/>
                  <a:gd name="T56" fmla="*/ 71 w 104"/>
                  <a:gd name="T57" fmla="*/ 74 h 115"/>
                  <a:gd name="T58" fmla="*/ 64 w 104"/>
                  <a:gd name="T59" fmla="*/ 68 h 115"/>
                  <a:gd name="T60" fmla="*/ 32 w 104"/>
                  <a:gd name="T61" fmla="*/ 67 h 115"/>
                  <a:gd name="T62" fmla="*/ 58 w 104"/>
                  <a:gd name="T63" fmla="*/ 91 h 115"/>
                  <a:gd name="T64" fmla="*/ 64 w 104"/>
                  <a:gd name="T65" fmla="*/ 90 h 115"/>
                  <a:gd name="T66" fmla="*/ 71 w 104"/>
                  <a:gd name="T67" fmla="*/ 84 h 115"/>
                  <a:gd name="T68" fmla="*/ 72 w 104"/>
                  <a:gd name="T69" fmla="*/ 79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4" h="115">
                    <a:moveTo>
                      <a:pt x="99" y="64"/>
                    </a:moveTo>
                    <a:lnTo>
                      <a:pt x="99" y="64"/>
                    </a:lnTo>
                    <a:lnTo>
                      <a:pt x="101" y="68"/>
                    </a:lnTo>
                    <a:lnTo>
                      <a:pt x="103" y="72"/>
                    </a:lnTo>
                    <a:lnTo>
                      <a:pt x="104" y="77"/>
                    </a:lnTo>
                    <a:lnTo>
                      <a:pt x="104" y="81"/>
                    </a:lnTo>
                    <a:lnTo>
                      <a:pt x="104" y="81"/>
                    </a:lnTo>
                    <a:lnTo>
                      <a:pt x="104" y="88"/>
                    </a:lnTo>
                    <a:lnTo>
                      <a:pt x="101" y="95"/>
                    </a:lnTo>
                    <a:lnTo>
                      <a:pt x="98" y="101"/>
                    </a:lnTo>
                    <a:lnTo>
                      <a:pt x="92" y="106"/>
                    </a:lnTo>
                    <a:lnTo>
                      <a:pt x="92" y="106"/>
                    </a:lnTo>
                    <a:lnTo>
                      <a:pt x="86" y="110"/>
                    </a:lnTo>
                    <a:lnTo>
                      <a:pt x="78" y="113"/>
                    </a:lnTo>
                    <a:lnTo>
                      <a:pt x="69" y="114"/>
                    </a:lnTo>
                    <a:lnTo>
                      <a:pt x="59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4" y="0"/>
                    </a:lnTo>
                    <a:lnTo>
                      <a:pt x="72" y="2"/>
                    </a:lnTo>
                    <a:lnTo>
                      <a:pt x="80" y="4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93" y="12"/>
                    </a:lnTo>
                    <a:lnTo>
                      <a:pt x="96" y="17"/>
                    </a:lnTo>
                    <a:lnTo>
                      <a:pt x="99" y="23"/>
                    </a:lnTo>
                    <a:lnTo>
                      <a:pt x="99" y="30"/>
                    </a:lnTo>
                    <a:lnTo>
                      <a:pt x="99" y="30"/>
                    </a:lnTo>
                    <a:lnTo>
                      <a:pt x="98" y="37"/>
                    </a:lnTo>
                    <a:lnTo>
                      <a:pt x="95" y="45"/>
                    </a:lnTo>
                    <a:lnTo>
                      <a:pt x="95" y="45"/>
                    </a:lnTo>
                    <a:lnTo>
                      <a:pt x="90" y="50"/>
                    </a:lnTo>
                    <a:lnTo>
                      <a:pt x="84" y="54"/>
                    </a:lnTo>
                    <a:lnTo>
                      <a:pt x="84" y="54"/>
                    </a:lnTo>
                    <a:lnTo>
                      <a:pt x="88" y="56"/>
                    </a:lnTo>
                    <a:lnTo>
                      <a:pt x="92" y="58"/>
                    </a:lnTo>
                    <a:lnTo>
                      <a:pt x="96" y="61"/>
                    </a:lnTo>
                    <a:lnTo>
                      <a:pt x="99" y="64"/>
                    </a:lnTo>
                    <a:lnTo>
                      <a:pt x="99" y="64"/>
                    </a:lnTo>
                    <a:close/>
                    <a:moveTo>
                      <a:pt x="31" y="46"/>
                    </a:moveTo>
                    <a:lnTo>
                      <a:pt x="53" y="46"/>
                    </a:lnTo>
                    <a:lnTo>
                      <a:pt x="53" y="46"/>
                    </a:lnTo>
                    <a:lnTo>
                      <a:pt x="59" y="45"/>
                    </a:lnTo>
                    <a:lnTo>
                      <a:pt x="63" y="43"/>
                    </a:lnTo>
                    <a:lnTo>
                      <a:pt x="66" y="39"/>
                    </a:lnTo>
                    <a:lnTo>
                      <a:pt x="67" y="34"/>
                    </a:lnTo>
                    <a:lnTo>
                      <a:pt x="67" y="34"/>
                    </a:lnTo>
                    <a:lnTo>
                      <a:pt x="66" y="29"/>
                    </a:lnTo>
                    <a:lnTo>
                      <a:pt x="63" y="26"/>
                    </a:lnTo>
                    <a:lnTo>
                      <a:pt x="59" y="24"/>
                    </a:lnTo>
                    <a:lnTo>
                      <a:pt x="53" y="23"/>
                    </a:lnTo>
                    <a:lnTo>
                      <a:pt x="31" y="23"/>
                    </a:lnTo>
                    <a:lnTo>
                      <a:pt x="31" y="46"/>
                    </a:lnTo>
                    <a:close/>
                    <a:moveTo>
                      <a:pt x="72" y="79"/>
                    </a:moveTo>
                    <a:lnTo>
                      <a:pt x="72" y="79"/>
                    </a:lnTo>
                    <a:lnTo>
                      <a:pt x="71" y="74"/>
                    </a:lnTo>
                    <a:lnTo>
                      <a:pt x="68" y="70"/>
                    </a:lnTo>
                    <a:lnTo>
                      <a:pt x="64" y="68"/>
                    </a:lnTo>
                    <a:lnTo>
                      <a:pt x="58" y="67"/>
                    </a:lnTo>
                    <a:lnTo>
                      <a:pt x="32" y="67"/>
                    </a:lnTo>
                    <a:lnTo>
                      <a:pt x="32" y="91"/>
                    </a:lnTo>
                    <a:lnTo>
                      <a:pt x="58" y="91"/>
                    </a:lnTo>
                    <a:lnTo>
                      <a:pt x="58" y="91"/>
                    </a:lnTo>
                    <a:lnTo>
                      <a:pt x="64" y="90"/>
                    </a:lnTo>
                    <a:lnTo>
                      <a:pt x="68" y="88"/>
                    </a:lnTo>
                    <a:lnTo>
                      <a:pt x="71" y="84"/>
                    </a:lnTo>
                    <a:lnTo>
                      <a:pt x="72" y="79"/>
                    </a:lnTo>
                    <a:lnTo>
                      <a:pt x="72" y="7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15">
                <a:extLst>
                  <a:ext uri="{FF2B5EF4-FFF2-40B4-BE49-F238E27FC236}">
                    <a16:creationId xmlns:a16="http://schemas.microsoft.com/office/drawing/2014/main" id="{AB6E9E3E-BEF9-4739-BBE0-A9BDFC9E639C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1474454" y="1379538"/>
                <a:ext cx="115888" cy="90487"/>
              </a:xfrm>
              <a:custGeom>
                <a:avLst/>
                <a:gdLst>
                  <a:gd name="T0" fmla="*/ 91 w 147"/>
                  <a:gd name="T1" fmla="*/ 46 h 115"/>
                  <a:gd name="T2" fmla="*/ 91 w 147"/>
                  <a:gd name="T3" fmla="*/ 46 h 115"/>
                  <a:gd name="T4" fmla="*/ 97 w 147"/>
                  <a:gd name="T5" fmla="*/ 51 h 115"/>
                  <a:gd name="T6" fmla="*/ 100 w 147"/>
                  <a:gd name="T7" fmla="*/ 58 h 115"/>
                  <a:gd name="T8" fmla="*/ 103 w 147"/>
                  <a:gd name="T9" fmla="*/ 66 h 115"/>
                  <a:gd name="T10" fmla="*/ 103 w 147"/>
                  <a:gd name="T11" fmla="*/ 73 h 115"/>
                  <a:gd name="T12" fmla="*/ 103 w 147"/>
                  <a:gd name="T13" fmla="*/ 73 h 115"/>
                  <a:gd name="T14" fmla="*/ 102 w 147"/>
                  <a:gd name="T15" fmla="*/ 82 h 115"/>
                  <a:gd name="T16" fmla="*/ 100 w 147"/>
                  <a:gd name="T17" fmla="*/ 90 h 115"/>
                  <a:gd name="T18" fmla="*/ 96 w 147"/>
                  <a:gd name="T19" fmla="*/ 97 h 115"/>
                  <a:gd name="T20" fmla="*/ 90 w 147"/>
                  <a:gd name="T21" fmla="*/ 104 h 115"/>
                  <a:gd name="T22" fmla="*/ 90 w 147"/>
                  <a:gd name="T23" fmla="*/ 104 h 115"/>
                  <a:gd name="T24" fmla="*/ 82 w 147"/>
                  <a:gd name="T25" fmla="*/ 109 h 115"/>
                  <a:gd name="T26" fmla="*/ 73 w 147"/>
                  <a:gd name="T27" fmla="*/ 113 h 115"/>
                  <a:gd name="T28" fmla="*/ 64 w 147"/>
                  <a:gd name="T29" fmla="*/ 115 h 115"/>
                  <a:gd name="T30" fmla="*/ 55 w 147"/>
                  <a:gd name="T31" fmla="*/ 115 h 115"/>
                  <a:gd name="T32" fmla="*/ 0 w 147"/>
                  <a:gd name="T33" fmla="*/ 115 h 115"/>
                  <a:gd name="T34" fmla="*/ 0 w 147"/>
                  <a:gd name="T35" fmla="*/ 0 h 115"/>
                  <a:gd name="T36" fmla="*/ 32 w 147"/>
                  <a:gd name="T37" fmla="*/ 0 h 115"/>
                  <a:gd name="T38" fmla="*/ 32 w 147"/>
                  <a:gd name="T39" fmla="*/ 36 h 115"/>
                  <a:gd name="T40" fmla="*/ 59 w 147"/>
                  <a:gd name="T41" fmla="*/ 36 h 115"/>
                  <a:gd name="T42" fmla="*/ 59 w 147"/>
                  <a:gd name="T43" fmla="*/ 36 h 115"/>
                  <a:gd name="T44" fmla="*/ 68 w 147"/>
                  <a:gd name="T45" fmla="*/ 37 h 115"/>
                  <a:gd name="T46" fmla="*/ 76 w 147"/>
                  <a:gd name="T47" fmla="*/ 38 h 115"/>
                  <a:gd name="T48" fmla="*/ 84 w 147"/>
                  <a:gd name="T49" fmla="*/ 41 h 115"/>
                  <a:gd name="T50" fmla="*/ 91 w 147"/>
                  <a:gd name="T51" fmla="*/ 46 h 115"/>
                  <a:gd name="T52" fmla="*/ 91 w 147"/>
                  <a:gd name="T53" fmla="*/ 46 h 115"/>
                  <a:gd name="T54" fmla="*/ 66 w 147"/>
                  <a:gd name="T55" fmla="*/ 86 h 115"/>
                  <a:gd name="T56" fmla="*/ 66 w 147"/>
                  <a:gd name="T57" fmla="*/ 86 h 115"/>
                  <a:gd name="T58" fmla="*/ 68 w 147"/>
                  <a:gd name="T59" fmla="*/ 84 h 115"/>
                  <a:gd name="T60" fmla="*/ 69 w 147"/>
                  <a:gd name="T61" fmla="*/ 81 h 115"/>
                  <a:gd name="T62" fmla="*/ 70 w 147"/>
                  <a:gd name="T63" fmla="*/ 77 h 115"/>
                  <a:gd name="T64" fmla="*/ 71 w 147"/>
                  <a:gd name="T65" fmla="*/ 74 h 115"/>
                  <a:gd name="T66" fmla="*/ 71 w 147"/>
                  <a:gd name="T67" fmla="*/ 74 h 115"/>
                  <a:gd name="T68" fmla="*/ 70 w 147"/>
                  <a:gd name="T69" fmla="*/ 71 h 115"/>
                  <a:gd name="T70" fmla="*/ 70 w 147"/>
                  <a:gd name="T71" fmla="*/ 68 h 115"/>
                  <a:gd name="T72" fmla="*/ 68 w 147"/>
                  <a:gd name="T73" fmla="*/ 65 h 115"/>
                  <a:gd name="T74" fmla="*/ 66 w 147"/>
                  <a:gd name="T75" fmla="*/ 63 h 115"/>
                  <a:gd name="T76" fmla="*/ 64 w 147"/>
                  <a:gd name="T77" fmla="*/ 61 h 115"/>
                  <a:gd name="T78" fmla="*/ 61 w 147"/>
                  <a:gd name="T79" fmla="*/ 60 h 115"/>
                  <a:gd name="T80" fmla="*/ 53 w 147"/>
                  <a:gd name="T81" fmla="*/ 59 h 115"/>
                  <a:gd name="T82" fmla="*/ 32 w 147"/>
                  <a:gd name="T83" fmla="*/ 59 h 115"/>
                  <a:gd name="T84" fmla="*/ 32 w 147"/>
                  <a:gd name="T85" fmla="*/ 91 h 115"/>
                  <a:gd name="T86" fmla="*/ 53 w 147"/>
                  <a:gd name="T87" fmla="*/ 91 h 115"/>
                  <a:gd name="T88" fmla="*/ 53 w 147"/>
                  <a:gd name="T89" fmla="*/ 91 h 115"/>
                  <a:gd name="T90" fmla="*/ 56 w 147"/>
                  <a:gd name="T91" fmla="*/ 91 h 115"/>
                  <a:gd name="T92" fmla="*/ 60 w 147"/>
                  <a:gd name="T93" fmla="*/ 90 h 115"/>
                  <a:gd name="T94" fmla="*/ 63 w 147"/>
                  <a:gd name="T95" fmla="*/ 88 h 115"/>
                  <a:gd name="T96" fmla="*/ 66 w 147"/>
                  <a:gd name="T97" fmla="*/ 86 h 115"/>
                  <a:gd name="T98" fmla="*/ 66 w 147"/>
                  <a:gd name="T99" fmla="*/ 86 h 115"/>
                  <a:gd name="T100" fmla="*/ 115 w 147"/>
                  <a:gd name="T101" fmla="*/ 0 h 115"/>
                  <a:gd name="T102" fmla="*/ 147 w 147"/>
                  <a:gd name="T103" fmla="*/ 0 h 115"/>
                  <a:gd name="T104" fmla="*/ 147 w 147"/>
                  <a:gd name="T105" fmla="*/ 115 h 115"/>
                  <a:gd name="T106" fmla="*/ 115 w 147"/>
                  <a:gd name="T107" fmla="*/ 115 h 115"/>
                  <a:gd name="T108" fmla="*/ 115 w 147"/>
                  <a:gd name="T109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47" h="115">
                    <a:moveTo>
                      <a:pt x="91" y="46"/>
                    </a:moveTo>
                    <a:lnTo>
                      <a:pt x="91" y="46"/>
                    </a:lnTo>
                    <a:lnTo>
                      <a:pt x="97" y="51"/>
                    </a:lnTo>
                    <a:lnTo>
                      <a:pt x="100" y="58"/>
                    </a:lnTo>
                    <a:lnTo>
                      <a:pt x="103" y="66"/>
                    </a:lnTo>
                    <a:lnTo>
                      <a:pt x="103" y="73"/>
                    </a:lnTo>
                    <a:lnTo>
                      <a:pt x="103" y="73"/>
                    </a:lnTo>
                    <a:lnTo>
                      <a:pt x="102" y="82"/>
                    </a:lnTo>
                    <a:lnTo>
                      <a:pt x="100" y="90"/>
                    </a:lnTo>
                    <a:lnTo>
                      <a:pt x="96" y="97"/>
                    </a:lnTo>
                    <a:lnTo>
                      <a:pt x="90" y="104"/>
                    </a:lnTo>
                    <a:lnTo>
                      <a:pt x="90" y="104"/>
                    </a:lnTo>
                    <a:lnTo>
                      <a:pt x="82" y="109"/>
                    </a:lnTo>
                    <a:lnTo>
                      <a:pt x="73" y="113"/>
                    </a:lnTo>
                    <a:lnTo>
                      <a:pt x="64" y="115"/>
                    </a:lnTo>
                    <a:lnTo>
                      <a:pt x="55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2" y="0"/>
                    </a:lnTo>
                    <a:lnTo>
                      <a:pt x="32" y="36"/>
                    </a:lnTo>
                    <a:lnTo>
                      <a:pt x="59" y="36"/>
                    </a:lnTo>
                    <a:lnTo>
                      <a:pt x="59" y="36"/>
                    </a:lnTo>
                    <a:lnTo>
                      <a:pt x="68" y="37"/>
                    </a:lnTo>
                    <a:lnTo>
                      <a:pt x="76" y="38"/>
                    </a:lnTo>
                    <a:lnTo>
                      <a:pt x="84" y="41"/>
                    </a:lnTo>
                    <a:lnTo>
                      <a:pt x="91" y="46"/>
                    </a:lnTo>
                    <a:lnTo>
                      <a:pt x="91" y="46"/>
                    </a:lnTo>
                    <a:close/>
                    <a:moveTo>
                      <a:pt x="66" y="86"/>
                    </a:moveTo>
                    <a:lnTo>
                      <a:pt x="66" y="86"/>
                    </a:lnTo>
                    <a:lnTo>
                      <a:pt x="68" y="84"/>
                    </a:lnTo>
                    <a:lnTo>
                      <a:pt x="69" y="81"/>
                    </a:lnTo>
                    <a:lnTo>
                      <a:pt x="70" y="77"/>
                    </a:lnTo>
                    <a:lnTo>
                      <a:pt x="71" y="74"/>
                    </a:lnTo>
                    <a:lnTo>
                      <a:pt x="71" y="74"/>
                    </a:lnTo>
                    <a:lnTo>
                      <a:pt x="70" y="71"/>
                    </a:lnTo>
                    <a:lnTo>
                      <a:pt x="70" y="68"/>
                    </a:lnTo>
                    <a:lnTo>
                      <a:pt x="68" y="65"/>
                    </a:lnTo>
                    <a:lnTo>
                      <a:pt x="66" y="63"/>
                    </a:lnTo>
                    <a:lnTo>
                      <a:pt x="64" y="61"/>
                    </a:lnTo>
                    <a:lnTo>
                      <a:pt x="61" y="60"/>
                    </a:lnTo>
                    <a:lnTo>
                      <a:pt x="53" y="59"/>
                    </a:lnTo>
                    <a:lnTo>
                      <a:pt x="32" y="59"/>
                    </a:lnTo>
                    <a:lnTo>
                      <a:pt x="32" y="91"/>
                    </a:lnTo>
                    <a:lnTo>
                      <a:pt x="53" y="91"/>
                    </a:lnTo>
                    <a:lnTo>
                      <a:pt x="53" y="91"/>
                    </a:lnTo>
                    <a:lnTo>
                      <a:pt x="56" y="91"/>
                    </a:lnTo>
                    <a:lnTo>
                      <a:pt x="60" y="90"/>
                    </a:lnTo>
                    <a:lnTo>
                      <a:pt x="63" y="88"/>
                    </a:lnTo>
                    <a:lnTo>
                      <a:pt x="66" y="86"/>
                    </a:lnTo>
                    <a:lnTo>
                      <a:pt x="66" y="86"/>
                    </a:lnTo>
                    <a:close/>
                    <a:moveTo>
                      <a:pt x="115" y="0"/>
                    </a:moveTo>
                    <a:lnTo>
                      <a:pt x="147" y="0"/>
                    </a:lnTo>
                    <a:lnTo>
                      <a:pt x="147" y="115"/>
                    </a:lnTo>
                    <a:lnTo>
                      <a:pt x="115" y="115"/>
                    </a:lnTo>
                    <a:lnTo>
                      <a:pt x="11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16">
                <a:extLst>
                  <a:ext uri="{FF2B5EF4-FFF2-40B4-BE49-F238E27FC236}">
                    <a16:creationId xmlns:a16="http://schemas.microsoft.com/office/drawing/2014/main" id="{20208947-7B15-4366-A67E-2B3D191CA26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344154" y="1535113"/>
                <a:ext cx="85725" cy="90487"/>
              </a:xfrm>
              <a:custGeom>
                <a:avLst/>
                <a:gdLst>
                  <a:gd name="T0" fmla="*/ 109 w 109"/>
                  <a:gd name="T1" fmla="*/ 0 h 115"/>
                  <a:gd name="T2" fmla="*/ 109 w 109"/>
                  <a:gd name="T3" fmla="*/ 115 h 115"/>
                  <a:gd name="T4" fmla="*/ 77 w 109"/>
                  <a:gd name="T5" fmla="*/ 115 h 115"/>
                  <a:gd name="T6" fmla="*/ 77 w 109"/>
                  <a:gd name="T7" fmla="*/ 71 h 115"/>
                  <a:gd name="T8" fmla="*/ 32 w 109"/>
                  <a:gd name="T9" fmla="*/ 71 h 115"/>
                  <a:gd name="T10" fmla="*/ 32 w 109"/>
                  <a:gd name="T11" fmla="*/ 115 h 115"/>
                  <a:gd name="T12" fmla="*/ 0 w 109"/>
                  <a:gd name="T13" fmla="*/ 115 h 115"/>
                  <a:gd name="T14" fmla="*/ 0 w 109"/>
                  <a:gd name="T15" fmla="*/ 0 h 115"/>
                  <a:gd name="T16" fmla="*/ 32 w 109"/>
                  <a:gd name="T17" fmla="*/ 0 h 115"/>
                  <a:gd name="T18" fmla="*/ 32 w 109"/>
                  <a:gd name="T19" fmla="*/ 43 h 115"/>
                  <a:gd name="T20" fmla="*/ 77 w 109"/>
                  <a:gd name="T21" fmla="*/ 43 h 115"/>
                  <a:gd name="T22" fmla="*/ 77 w 109"/>
                  <a:gd name="T23" fmla="*/ 0 h 115"/>
                  <a:gd name="T24" fmla="*/ 109 w 109"/>
                  <a:gd name="T25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9" h="115">
                    <a:moveTo>
                      <a:pt x="109" y="0"/>
                    </a:moveTo>
                    <a:lnTo>
                      <a:pt x="109" y="115"/>
                    </a:lnTo>
                    <a:lnTo>
                      <a:pt x="77" y="115"/>
                    </a:lnTo>
                    <a:lnTo>
                      <a:pt x="77" y="71"/>
                    </a:lnTo>
                    <a:lnTo>
                      <a:pt x="32" y="71"/>
                    </a:lnTo>
                    <a:lnTo>
                      <a:pt x="3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2" y="0"/>
                    </a:lnTo>
                    <a:lnTo>
                      <a:pt x="32" y="43"/>
                    </a:lnTo>
                    <a:lnTo>
                      <a:pt x="77" y="43"/>
                    </a:lnTo>
                    <a:lnTo>
                      <a:pt x="77" y="0"/>
                    </a:lnTo>
                    <a:lnTo>
                      <a:pt x="109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17">
                <a:extLst>
                  <a:ext uri="{FF2B5EF4-FFF2-40B4-BE49-F238E27FC236}">
                    <a16:creationId xmlns:a16="http://schemas.microsoft.com/office/drawing/2014/main" id="{6D9518B5-AD4B-460E-8A7F-E898071BF9CC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447341" y="1533525"/>
                <a:ext cx="101600" cy="95250"/>
              </a:xfrm>
              <a:custGeom>
                <a:avLst/>
                <a:gdLst>
                  <a:gd name="T0" fmla="*/ 31 w 128"/>
                  <a:gd name="T1" fmla="*/ 112 h 120"/>
                  <a:gd name="T2" fmla="*/ 21 w 128"/>
                  <a:gd name="T3" fmla="*/ 105 h 120"/>
                  <a:gd name="T4" fmla="*/ 6 w 128"/>
                  <a:gd name="T5" fmla="*/ 88 h 120"/>
                  <a:gd name="T6" fmla="*/ 0 w 128"/>
                  <a:gd name="T7" fmla="*/ 67 h 120"/>
                  <a:gd name="T8" fmla="*/ 2 w 128"/>
                  <a:gd name="T9" fmla="*/ 43 h 120"/>
                  <a:gd name="T10" fmla="*/ 6 w 128"/>
                  <a:gd name="T11" fmla="*/ 32 h 120"/>
                  <a:gd name="T12" fmla="*/ 11 w 128"/>
                  <a:gd name="T13" fmla="*/ 25 h 120"/>
                  <a:gd name="T14" fmla="*/ 23 w 128"/>
                  <a:gd name="T15" fmla="*/ 12 h 120"/>
                  <a:gd name="T16" fmla="*/ 31 w 128"/>
                  <a:gd name="T17" fmla="*/ 8 h 120"/>
                  <a:gd name="T18" fmla="*/ 46 w 128"/>
                  <a:gd name="T19" fmla="*/ 2 h 120"/>
                  <a:gd name="T20" fmla="*/ 64 w 128"/>
                  <a:gd name="T21" fmla="*/ 0 h 120"/>
                  <a:gd name="T22" fmla="*/ 81 w 128"/>
                  <a:gd name="T23" fmla="*/ 2 h 120"/>
                  <a:gd name="T24" fmla="*/ 97 w 128"/>
                  <a:gd name="T25" fmla="*/ 8 h 120"/>
                  <a:gd name="T26" fmla="*/ 102 w 128"/>
                  <a:gd name="T27" fmla="*/ 11 h 120"/>
                  <a:gd name="T28" fmla="*/ 115 w 128"/>
                  <a:gd name="T29" fmla="*/ 22 h 120"/>
                  <a:gd name="T30" fmla="*/ 125 w 128"/>
                  <a:gd name="T31" fmla="*/ 42 h 120"/>
                  <a:gd name="T32" fmla="*/ 128 w 128"/>
                  <a:gd name="T33" fmla="*/ 65 h 120"/>
                  <a:gd name="T34" fmla="*/ 124 w 128"/>
                  <a:gd name="T35" fmla="*/ 82 h 120"/>
                  <a:gd name="T36" fmla="*/ 121 w 128"/>
                  <a:gd name="T37" fmla="*/ 87 h 120"/>
                  <a:gd name="T38" fmla="*/ 111 w 128"/>
                  <a:gd name="T39" fmla="*/ 101 h 120"/>
                  <a:gd name="T40" fmla="*/ 97 w 128"/>
                  <a:gd name="T41" fmla="*/ 112 h 120"/>
                  <a:gd name="T42" fmla="*/ 89 w 128"/>
                  <a:gd name="T43" fmla="*/ 115 h 120"/>
                  <a:gd name="T44" fmla="*/ 72 w 128"/>
                  <a:gd name="T45" fmla="*/ 119 h 120"/>
                  <a:gd name="T46" fmla="*/ 55 w 128"/>
                  <a:gd name="T47" fmla="*/ 119 h 120"/>
                  <a:gd name="T48" fmla="*/ 38 w 128"/>
                  <a:gd name="T49" fmla="*/ 115 h 120"/>
                  <a:gd name="T50" fmla="*/ 31 w 128"/>
                  <a:gd name="T51" fmla="*/ 112 h 120"/>
                  <a:gd name="T52" fmla="*/ 80 w 128"/>
                  <a:gd name="T53" fmla="*/ 89 h 120"/>
                  <a:gd name="T54" fmla="*/ 91 w 128"/>
                  <a:gd name="T55" fmla="*/ 77 h 120"/>
                  <a:gd name="T56" fmla="*/ 94 w 128"/>
                  <a:gd name="T57" fmla="*/ 69 h 120"/>
                  <a:gd name="T58" fmla="*/ 94 w 128"/>
                  <a:gd name="T59" fmla="*/ 52 h 120"/>
                  <a:gd name="T60" fmla="*/ 91 w 128"/>
                  <a:gd name="T61" fmla="*/ 42 h 120"/>
                  <a:gd name="T62" fmla="*/ 80 w 128"/>
                  <a:gd name="T63" fmla="*/ 31 h 120"/>
                  <a:gd name="T64" fmla="*/ 72 w 128"/>
                  <a:gd name="T65" fmla="*/ 28 h 120"/>
                  <a:gd name="T66" fmla="*/ 55 w 128"/>
                  <a:gd name="T67" fmla="*/ 28 h 120"/>
                  <a:gd name="T68" fmla="*/ 47 w 128"/>
                  <a:gd name="T69" fmla="*/ 31 h 120"/>
                  <a:gd name="T70" fmla="*/ 36 w 128"/>
                  <a:gd name="T71" fmla="*/ 42 h 120"/>
                  <a:gd name="T72" fmla="*/ 33 w 128"/>
                  <a:gd name="T73" fmla="*/ 52 h 120"/>
                  <a:gd name="T74" fmla="*/ 33 w 128"/>
                  <a:gd name="T75" fmla="*/ 69 h 120"/>
                  <a:gd name="T76" fmla="*/ 36 w 128"/>
                  <a:gd name="T77" fmla="*/ 77 h 120"/>
                  <a:gd name="T78" fmla="*/ 47 w 128"/>
                  <a:gd name="T79" fmla="*/ 89 h 120"/>
                  <a:gd name="T80" fmla="*/ 55 w 128"/>
                  <a:gd name="T81" fmla="*/ 92 h 120"/>
                  <a:gd name="T82" fmla="*/ 72 w 128"/>
                  <a:gd name="T83" fmla="*/ 92 h 120"/>
                  <a:gd name="T84" fmla="*/ 80 w 128"/>
                  <a:gd name="T85" fmla="*/ 89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28" h="120">
                    <a:moveTo>
                      <a:pt x="31" y="112"/>
                    </a:moveTo>
                    <a:lnTo>
                      <a:pt x="31" y="112"/>
                    </a:lnTo>
                    <a:lnTo>
                      <a:pt x="25" y="109"/>
                    </a:lnTo>
                    <a:lnTo>
                      <a:pt x="21" y="105"/>
                    </a:lnTo>
                    <a:lnTo>
                      <a:pt x="13" y="97"/>
                    </a:lnTo>
                    <a:lnTo>
                      <a:pt x="6" y="88"/>
                    </a:lnTo>
                    <a:lnTo>
                      <a:pt x="2" y="78"/>
                    </a:lnTo>
                    <a:lnTo>
                      <a:pt x="0" y="67"/>
                    </a:lnTo>
                    <a:lnTo>
                      <a:pt x="0" y="55"/>
                    </a:lnTo>
                    <a:lnTo>
                      <a:pt x="2" y="43"/>
                    </a:lnTo>
                    <a:lnTo>
                      <a:pt x="4" y="38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11" y="25"/>
                    </a:lnTo>
                    <a:lnTo>
                      <a:pt x="16" y="18"/>
                    </a:lnTo>
                    <a:lnTo>
                      <a:pt x="23" y="12"/>
                    </a:lnTo>
                    <a:lnTo>
                      <a:pt x="31" y="8"/>
                    </a:lnTo>
                    <a:lnTo>
                      <a:pt x="31" y="8"/>
                    </a:lnTo>
                    <a:lnTo>
                      <a:pt x="38" y="4"/>
                    </a:lnTo>
                    <a:lnTo>
                      <a:pt x="46" y="2"/>
                    </a:lnTo>
                    <a:lnTo>
                      <a:pt x="55" y="0"/>
                    </a:lnTo>
                    <a:lnTo>
                      <a:pt x="64" y="0"/>
                    </a:lnTo>
                    <a:lnTo>
                      <a:pt x="72" y="0"/>
                    </a:lnTo>
                    <a:lnTo>
                      <a:pt x="81" y="2"/>
                    </a:lnTo>
                    <a:lnTo>
                      <a:pt x="89" y="4"/>
                    </a:lnTo>
                    <a:lnTo>
                      <a:pt x="97" y="8"/>
                    </a:lnTo>
                    <a:lnTo>
                      <a:pt x="97" y="8"/>
                    </a:lnTo>
                    <a:lnTo>
                      <a:pt x="102" y="11"/>
                    </a:lnTo>
                    <a:lnTo>
                      <a:pt x="106" y="14"/>
                    </a:lnTo>
                    <a:lnTo>
                      <a:pt x="115" y="22"/>
                    </a:lnTo>
                    <a:lnTo>
                      <a:pt x="121" y="32"/>
                    </a:lnTo>
                    <a:lnTo>
                      <a:pt x="125" y="42"/>
                    </a:lnTo>
                    <a:lnTo>
                      <a:pt x="127" y="54"/>
                    </a:lnTo>
                    <a:lnTo>
                      <a:pt x="128" y="65"/>
                    </a:lnTo>
                    <a:lnTo>
                      <a:pt x="126" y="76"/>
                    </a:lnTo>
                    <a:lnTo>
                      <a:pt x="124" y="82"/>
                    </a:lnTo>
                    <a:lnTo>
                      <a:pt x="121" y="87"/>
                    </a:lnTo>
                    <a:lnTo>
                      <a:pt x="121" y="87"/>
                    </a:lnTo>
                    <a:lnTo>
                      <a:pt x="116" y="95"/>
                    </a:lnTo>
                    <a:lnTo>
                      <a:pt x="111" y="101"/>
                    </a:lnTo>
                    <a:lnTo>
                      <a:pt x="104" y="107"/>
                    </a:lnTo>
                    <a:lnTo>
                      <a:pt x="97" y="112"/>
                    </a:lnTo>
                    <a:lnTo>
                      <a:pt x="97" y="112"/>
                    </a:lnTo>
                    <a:lnTo>
                      <a:pt x="89" y="115"/>
                    </a:lnTo>
                    <a:lnTo>
                      <a:pt x="81" y="118"/>
                    </a:lnTo>
                    <a:lnTo>
                      <a:pt x="72" y="119"/>
                    </a:lnTo>
                    <a:lnTo>
                      <a:pt x="64" y="120"/>
                    </a:lnTo>
                    <a:lnTo>
                      <a:pt x="55" y="119"/>
                    </a:lnTo>
                    <a:lnTo>
                      <a:pt x="46" y="118"/>
                    </a:lnTo>
                    <a:lnTo>
                      <a:pt x="38" y="115"/>
                    </a:lnTo>
                    <a:lnTo>
                      <a:pt x="31" y="112"/>
                    </a:lnTo>
                    <a:lnTo>
                      <a:pt x="31" y="112"/>
                    </a:lnTo>
                    <a:close/>
                    <a:moveTo>
                      <a:pt x="80" y="89"/>
                    </a:moveTo>
                    <a:lnTo>
                      <a:pt x="80" y="89"/>
                    </a:lnTo>
                    <a:lnTo>
                      <a:pt x="86" y="84"/>
                    </a:lnTo>
                    <a:lnTo>
                      <a:pt x="91" y="77"/>
                    </a:lnTo>
                    <a:lnTo>
                      <a:pt x="91" y="77"/>
                    </a:lnTo>
                    <a:lnTo>
                      <a:pt x="94" y="69"/>
                    </a:lnTo>
                    <a:lnTo>
                      <a:pt x="95" y="60"/>
                    </a:lnTo>
                    <a:lnTo>
                      <a:pt x="94" y="52"/>
                    </a:lnTo>
                    <a:lnTo>
                      <a:pt x="91" y="42"/>
                    </a:lnTo>
                    <a:lnTo>
                      <a:pt x="91" y="42"/>
                    </a:lnTo>
                    <a:lnTo>
                      <a:pt x="86" y="36"/>
                    </a:lnTo>
                    <a:lnTo>
                      <a:pt x="80" y="31"/>
                    </a:lnTo>
                    <a:lnTo>
                      <a:pt x="80" y="31"/>
                    </a:lnTo>
                    <a:lnTo>
                      <a:pt x="72" y="28"/>
                    </a:lnTo>
                    <a:lnTo>
                      <a:pt x="64" y="27"/>
                    </a:lnTo>
                    <a:lnTo>
                      <a:pt x="55" y="28"/>
                    </a:lnTo>
                    <a:lnTo>
                      <a:pt x="47" y="31"/>
                    </a:lnTo>
                    <a:lnTo>
                      <a:pt x="47" y="31"/>
                    </a:lnTo>
                    <a:lnTo>
                      <a:pt x="41" y="36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3" y="52"/>
                    </a:lnTo>
                    <a:lnTo>
                      <a:pt x="32" y="60"/>
                    </a:lnTo>
                    <a:lnTo>
                      <a:pt x="33" y="69"/>
                    </a:lnTo>
                    <a:lnTo>
                      <a:pt x="36" y="77"/>
                    </a:lnTo>
                    <a:lnTo>
                      <a:pt x="36" y="77"/>
                    </a:lnTo>
                    <a:lnTo>
                      <a:pt x="41" y="84"/>
                    </a:lnTo>
                    <a:lnTo>
                      <a:pt x="47" y="89"/>
                    </a:lnTo>
                    <a:lnTo>
                      <a:pt x="47" y="89"/>
                    </a:lnTo>
                    <a:lnTo>
                      <a:pt x="55" y="92"/>
                    </a:lnTo>
                    <a:lnTo>
                      <a:pt x="64" y="93"/>
                    </a:lnTo>
                    <a:lnTo>
                      <a:pt x="72" y="92"/>
                    </a:lnTo>
                    <a:lnTo>
                      <a:pt x="80" y="89"/>
                    </a:lnTo>
                    <a:lnTo>
                      <a:pt x="80" y="8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18">
                <a:extLst>
                  <a:ext uri="{FF2B5EF4-FFF2-40B4-BE49-F238E27FC236}">
                    <a16:creationId xmlns:a16="http://schemas.microsoft.com/office/drawing/2014/main" id="{0C87169B-D04B-46C0-A605-1CD69E765C9B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564816" y="1535113"/>
                <a:ext cx="84138" cy="90487"/>
              </a:xfrm>
              <a:custGeom>
                <a:avLst/>
                <a:gdLst>
                  <a:gd name="T0" fmla="*/ 99 w 105"/>
                  <a:gd name="T1" fmla="*/ 66 h 115"/>
                  <a:gd name="T2" fmla="*/ 103 w 105"/>
                  <a:gd name="T3" fmla="*/ 74 h 115"/>
                  <a:gd name="T4" fmla="*/ 105 w 105"/>
                  <a:gd name="T5" fmla="*/ 83 h 115"/>
                  <a:gd name="T6" fmla="*/ 104 w 105"/>
                  <a:gd name="T7" fmla="*/ 90 h 115"/>
                  <a:gd name="T8" fmla="*/ 98 w 105"/>
                  <a:gd name="T9" fmla="*/ 102 h 115"/>
                  <a:gd name="T10" fmla="*/ 93 w 105"/>
                  <a:gd name="T11" fmla="*/ 107 h 115"/>
                  <a:gd name="T12" fmla="*/ 77 w 105"/>
                  <a:gd name="T13" fmla="*/ 114 h 115"/>
                  <a:gd name="T14" fmla="*/ 59 w 105"/>
                  <a:gd name="T15" fmla="*/ 115 h 115"/>
                  <a:gd name="T16" fmla="*/ 0 w 105"/>
                  <a:gd name="T17" fmla="*/ 0 h 115"/>
                  <a:gd name="T18" fmla="*/ 56 w 105"/>
                  <a:gd name="T19" fmla="*/ 0 h 115"/>
                  <a:gd name="T20" fmla="*/ 73 w 105"/>
                  <a:gd name="T21" fmla="*/ 2 h 115"/>
                  <a:gd name="T22" fmla="*/ 88 w 105"/>
                  <a:gd name="T23" fmla="*/ 8 h 115"/>
                  <a:gd name="T24" fmla="*/ 93 w 105"/>
                  <a:gd name="T25" fmla="*/ 12 h 115"/>
                  <a:gd name="T26" fmla="*/ 99 w 105"/>
                  <a:gd name="T27" fmla="*/ 24 h 115"/>
                  <a:gd name="T28" fmla="*/ 99 w 105"/>
                  <a:gd name="T29" fmla="*/ 30 h 115"/>
                  <a:gd name="T30" fmla="*/ 95 w 105"/>
                  <a:gd name="T31" fmla="*/ 45 h 115"/>
                  <a:gd name="T32" fmla="*/ 90 w 105"/>
                  <a:gd name="T33" fmla="*/ 52 h 115"/>
                  <a:gd name="T34" fmla="*/ 84 w 105"/>
                  <a:gd name="T35" fmla="*/ 56 h 115"/>
                  <a:gd name="T36" fmla="*/ 92 w 105"/>
                  <a:gd name="T37" fmla="*/ 60 h 115"/>
                  <a:gd name="T38" fmla="*/ 99 w 105"/>
                  <a:gd name="T39" fmla="*/ 66 h 115"/>
                  <a:gd name="T40" fmla="*/ 32 w 105"/>
                  <a:gd name="T41" fmla="*/ 46 h 115"/>
                  <a:gd name="T42" fmla="*/ 53 w 105"/>
                  <a:gd name="T43" fmla="*/ 46 h 115"/>
                  <a:gd name="T44" fmla="*/ 63 w 105"/>
                  <a:gd name="T45" fmla="*/ 43 h 115"/>
                  <a:gd name="T46" fmla="*/ 67 w 105"/>
                  <a:gd name="T47" fmla="*/ 35 h 115"/>
                  <a:gd name="T48" fmla="*/ 66 w 105"/>
                  <a:gd name="T49" fmla="*/ 30 h 115"/>
                  <a:gd name="T50" fmla="*/ 59 w 105"/>
                  <a:gd name="T51" fmla="*/ 24 h 115"/>
                  <a:gd name="T52" fmla="*/ 32 w 105"/>
                  <a:gd name="T53" fmla="*/ 23 h 115"/>
                  <a:gd name="T54" fmla="*/ 72 w 105"/>
                  <a:gd name="T55" fmla="*/ 80 h 115"/>
                  <a:gd name="T56" fmla="*/ 71 w 105"/>
                  <a:gd name="T57" fmla="*/ 75 h 115"/>
                  <a:gd name="T58" fmla="*/ 64 w 105"/>
                  <a:gd name="T59" fmla="*/ 69 h 115"/>
                  <a:gd name="T60" fmla="*/ 32 w 105"/>
                  <a:gd name="T61" fmla="*/ 69 h 115"/>
                  <a:gd name="T62" fmla="*/ 58 w 105"/>
                  <a:gd name="T63" fmla="*/ 92 h 115"/>
                  <a:gd name="T64" fmla="*/ 64 w 105"/>
                  <a:gd name="T65" fmla="*/ 91 h 115"/>
                  <a:gd name="T66" fmla="*/ 71 w 105"/>
                  <a:gd name="T67" fmla="*/ 85 h 115"/>
                  <a:gd name="T68" fmla="*/ 72 w 105"/>
                  <a:gd name="T69" fmla="*/ 8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5" h="115">
                    <a:moveTo>
                      <a:pt x="99" y="66"/>
                    </a:moveTo>
                    <a:lnTo>
                      <a:pt x="99" y="66"/>
                    </a:lnTo>
                    <a:lnTo>
                      <a:pt x="102" y="70"/>
                    </a:lnTo>
                    <a:lnTo>
                      <a:pt x="103" y="74"/>
                    </a:lnTo>
                    <a:lnTo>
                      <a:pt x="104" y="78"/>
                    </a:lnTo>
                    <a:lnTo>
                      <a:pt x="105" y="83"/>
                    </a:lnTo>
                    <a:lnTo>
                      <a:pt x="105" y="83"/>
                    </a:lnTo>
                    <a:lnTo>
                      <a:pt x="104" y="90"/>
                    </a:lnTo>
                    <a:lnTo>
                      <a:pt x="102" y="96"/>
                    </a:lnTo>
                    <a:lnTo>
                      <a:pt x="98" y="102"/>
                    </a:lnTo>
                    <a:lnTo>
                      <a:pt x="93" y="107"/>
                    </a:lnTo>
                    <a:lnTo>
                      <a:pt x="93" y="107"/>
                    </a:lnTo>
                    <a:lnTo>
                      <a:pt x="85" y="111"/>
                    </a:lnTo>
                    <a:lnTo>
                      <a:pt x="77" y="114"/>
                    </a:lnTo>
                    <a:lnTo>
                      <a:pt x="68" y="115"/>
                    </a:lnTo>
                    <a:lnTo>
                      <a:pt x="59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5" y="1"/>
                    </a:lnTo>
                    <a:lnTo>
                      <a:pt x="73" y="2"/>
                    </a:lnTo>
                    <a:lnTo>
                      <a:pt x="81" y="4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93" y="12"/>
                    </a:lnTo>
                    <a:lnTo>
                      <a:pt x="97" y="18"/>
                    </a:lnTo>
                    <a:lnTo>
                      <a:pt x="99" y="24"/>
                    </a:lnTo>
                    <a:lnTo>
                      <a:pt x="99" y="30"/>
                    </a:lnTo>
                    <a:lnTo>
                      <a:pt x="99" y="30"/>
                    </a:lnTo>
                    <a:lnTo>
                      <a:pt x="98" y="38"/>
                    </a:lnTo>
                    <a:lnTo>
                      <a:pt x="95" y="45"/>
                    </a:lnTo>
                    <a:lnTo>
                      <a:pt x="95" y="45"/>
                    </a:lnTo>
                    <a:lnTo>
                      <a:pt x="90" y="52"/>
                    </a:lnTo>
                    <a:lnTo>
                      <a:pt x="84" y="56"/>
                    </a:lnTo>
                    <a:lnTo>
                      <a:pt x="84" y="56"/>
                    </a:lnTo>
                    <a:lnTo>
                      <a:pt x="88" y="57"/>
                    </a:lnTo>
                    <a:lnTo>
                      <a:pt x="92" y="60"/>
                    </a:lnTo>
                    <a:lnTo>
                      <a:pt x="96" y="62"/>
                    </a:lnTo>
                    <a:lnTo>
                      <a:pt x="99" y="66"/>
                    </a:lnTo>
                    <a:lnTo>
                      <a:pt x="99" y="66"/>
                    </a:lnTo>
                    <a:close/>
                    <a:moveTo>
                      <a:pt x="32" y="46"/>
                    </a:moveTo>
                    <a:lnTo>
                      <a:pt x="53" y="46"/>
                    </a:lnTo>
                    <a:lnTo>
                      <a:pt x="53" y="46"/>
                    </a:lnTo>
                    <a:lnTo>
                      <a:pt x="59" y="45"/>
                    </a:lnTo>
                    <a:lnTo>
                      <a:pt x="63" y="43"/>
                    </a:lnTo>
                    <a:lnTo>
                      <a:pt x="66" y="40"/>
                    </a:lnTo>
                    <a:lnTo>
                      <a:pt x="67" y="35"/>
                    </a:lnTo>
                    <a:lnTo>
                      <a:pt x="67" y="35"/>
                    </a:lnTo>
                    <a:lnTo>
                      <a:pt x="66" y="30"/>
                    </a:lnTo>
                    <a:lnTo>
                      <a:pt x="63" y="26"/>
                    </a:lnTo>
                    <a:lnTo>
                      <a:pt x="59" y="24"/>
                    </a:lnTo>
                    <a:lnTo>
                      <a:pt x="53" y="23"/>
                    </a:lnTo>
                    <a:lnTo>
                      <a:pt x="32" y="23"/>
                    </a:lnTo>
                    <a:lnTo>
                      <a:pt x="32" y="46"/>
                    </a:lnTo>
                    <a:close/>
                    <a:moveTo>
                      <a:pt x="72" y="80"/>
                    </a:moveTo>
                    <a:lnTo>
                      <a:pt x="72" y="80"/>
                    </a:lnTo>
                    <a:lnTo>
                      <a:pt x="71" y="75"/>
                    </a:lnTo>
                    <a:lnTo>
                      <a:pt x="69" y="72"/>
                    </a:lnTo>
                    <a:lnTo>
                      <a:pt x="64" y="69"/>
                    </a:lnTo>
                    <a:lnTo>
                      <a:pt x="58" y="69"/>
                    </a:lnTo>
                    <a:lnTo>
                      <a:pt x="32" y="69"/>
                    </a:lnTo>
                    <a:lnTo>
                      <a:pt x="32" y="92"/>
                    </a:lnTo>
                    <a:lnTo>
                      <a:pt x="58" y="92"/>
                    </a:lnTo>
                    <a:lnTo>
                      <a:pt x="58" y="92"/>
                    </a:lnTo>
                    <a:lnTo>
                      <a:pt x="64" y="91"/>
                    </a:lnTo>
                    <a:lnTo>
                      <a:pt x="69" y="89"/>
                    </a:lnTo>
                    <a:lnTo>
                      <a:pt x="71" y="85"/>
                    </a:lnTo>
                    <a:lnTo>
                      <a:pt x="72" y="80"/>
                    </a:lnTo>
                    <a:lnTo>
                      <a:pt x="72" y="8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19">
                <a:extLst>
                  <a:ext uri="{FF2B5EF4-FFF2-40B4-BE49-F238E27FC236}">
                    <a16:creationId xmlns:a16="http://schemas.microsoft.com/office/drawing/2014/main" id="{2CBC1911-C380-4213-BD70-B92214D6C075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664829" y="1535113"/>
                <a:ext cx="115888" cy="90487"/>
              </a:xfrm>
              <a:custGeom>
                <a:avLst/>
                <a:gdLst>
                  <a:gd name="T0" fmla="*/ 92 w 147"/>
                  <a:gd name="T1" fmla="*/ 46 h 115"/>
                  <a:gd name="T2" fmla="*/ 92 w 147"/>
                  <a:gd name="T3" fmla="*/ 46 h 115"/>
                  <a:gd name="T4" fmla="*/ 97 w 147"/>
                  <a:gd name="T5" fmla="*/ 53 h 115"/>
                  <a:gd name="T6" fmla="*/ 101 w 147"/>
                  <a:gd name="T7" fmla="*/ 60 h 115"/>
                  <a:gd name="T8" fmla="*/ 103 w 147"/>
                  <a:gd name="T9" fmla="*/ 67 h 115"/>
                  <a:gd name="T10" fmla="*/ 103 w 147"/>
                  <a:gd name="T11" fmla="*/ 75 h 115"/>
                  <a:gd name="T12" fmla="*/ 103 w 147"/>
                  <a:gd name="T13" fmla="*/ 75 h 115"/>
                  <a:gd name="T14" fmla="*/ 103 w 147"/>
                  <a:gd name="T15" fmla="*/ 83 h 115"/>
                  <a:gd name="T16" fmla="*/ 100 w 147"/>
                  <a:gd name="T17" fmla="*/ 91 h 115"/>
                  <a:gd name="T18" fmla="*/ 96 w 147"/>
                  <a:gd name="T19" fmla="*/ 99 h 115"/>
                  <a:gd name="T20" fmla="*/ 90 w 147"/>
                  <a:gd name="T21" fmla="*/ 105 h 115"/>
                  <a:gd name="T22" fmla="*/ 90 w 147"/>
                  <a:gd name="T23" fmla="*/ 105 h 115"/>
                  <a:gd name="T24" fmla="*/ 82 w 147"/>
                  <a:gd name="T25" fmla="*/ 110 h 115"/>
                  <a:gd name="T26" fmla="*/ 74 w 147"/>
                  <a:gd name="T27" fmla="*/ 113 h 115"/>
                  <a:gd name="T28" fmla="*/ 65 w 147"/>
                  <a:gd name="T29" fmla="*/ 115 h 115"/>
                  <a:gd name="T30" fmla="*/ 55 w 147"/>
                  <a:gd name="T31" fmla="*/ 115 h 115"/>
                  <a:gd name="T32" fmla="*/ 0 w 147"/>
                  <a:gd name="T33" fmla="*/ 115 h 115"/>
                  <a:gd name="T34" fmla="*/ 0 w 147"/>
                  <a:gd name="T35" fmla="*/ 1 h 115"/>
                  <a:gd name="T36" fmla="*/ 32 w 147"/>
                  <a:gd name="T37" fmla="*/ 1 h 115"/>
                  <a:gd name="T38" fmla="*/ 32 w 147"/>
                  <a:gd name="T39" fmla="*/ 37 h 115"/>
                  <a:gd name="T40" fmla="*/ 59 w 147"/>
                  <a:gd name="T41" fmla="*/ 37 h 115"/>
                  <a:gd name="T42" fmla="*/ 59 w 147"/>
                  <a:gd name="T43" fmla="*/ 37 h 115"/>
                  <a:gd name="T44" fmla="*/ 68 w 147"/>
                  <a:gd name="T45" fmla="*/ 37 h 115"/>
                  <a:gd name="T46" fmla="*/ 76 w 147"/>
                  <a:gd name="T47" fmla="*/ 39 h 115"/>
                  <a:gd name="T48" fmla="*/ 84 w 147"/>
                  <a:gd name="T49" fmla="*/ 42 h 115"/>
                  <a:gd name="T50" fmla="*/ 92 w 147"/>
                  <a:gd name="T51" fmla="*/ 46 h 115"/>
                  <a:gd name="T52" fmla="*/ 92 w 147"/>
                  <a:gd name="T53" fmla="*/ 46 h 115"/>
                  <a:gd name="T54" fmla="*/ 66 w 147"/>
                  <a:gd name="T55" fmla="*/ 88 h 115"/>
                  <a:gd name="T56" fmla="*/ 66 w 147"/>
                  <a:gd name="T57" fmla="*/ 88 h 115"/>
                  <a:gd name="T58" fmla="*/ 68 w 147"/>
                  <a:gd name="T59" fmla="*/ 85 h 115"/>
                  <a:gd name="T60" fmla="*/ 70 w 147"/>
                  <a:gd name="T61" fmla="*/ 82 h 115"/>
                  <a:gd name="T62" fmla="*/ 71 w 147"/>
                  <a:gd name="T63" fmla="*/ 79 h 115"/>
                  <a:gd name="T64" fmla="*/ 71 w 147"/>
                  <a:gd name="T65" fmla="*/ 76 h 115"/>
                  <a:gd name="T66" fmla="*/ 71 w 147"/>
                  <a:gd name="T67" fmla="*/ 76 h 115"/>
                  <a:gd name="T68" fmla="*/ 71 w 147"/>
                  <a:gd name="T69" fmla="*/ 72 h 115"/>
                  <a:gd name="T70" fmla="*/ 70 w 147"/>
                  <a:gd name="T71" fmla="*/ 69 h 115"/>
                  <a:gd name="T72" fmla="*/ 68 w 147"/>
                  <a:gd name="T73" fmla="*/ 67 h 115"/>
                  <a:gd name="T74" fmla="*/ 66 w 147"/>
                  <a:gd name="T75" fmla="*/ 64 h 115"/>
                  <a:gd name="T76" fmla="*/ 64 w 147"/>
                  <a:gd name="T77" fmla="*/ 63 h 115"/>
                  <a:gd name="T78" fmla="*/ 61 w 147"/>
                  <a:gd name="T79" fmla="*/ 62 h 115"/>
                  <a:gd name="T80" fmla="*/ 53 w 147"/>
                  <a:gd name="T81" fmla="*/ 61 h 115"/>
                  <a:gd name="T82" fmla="*/ 32 w 147"/>
                  <a:gd name="T83" fmla="*/ 61 h 115"/>
                  <a:gd name="T84" fmla="*/ 32 w 147"/>
                  <a:gd name="T85" fmla="*/ 92 h 115"/>
                  <a:gd name="T86" fmla="*/ 53 w 147"/>
                  <a:gd name="T87" fmla="*/ 92 h 115"/>
                  <a:gd name="T88" fmla="*/ 53 w 147"/>
                  <a:gd name="T89" fmla="*/ 92 h 115"/>
                  <a:gd name="T90" fmla="*/ 57 w 147"/>
                  <a:gd name="T91" fmla="*/ 92 h 115"/>
                  <a:gd name="T92" fmla="*/ 60 w 147"/>
                  <a:gd name="T93" fmla="*/ 91 h 115"/>
                  <a:gd name="T94" fmla="*/ 63 w 147"/>
                  <a:gd name="T95" fmla="*/ 90 h 115"/>
                  <a:gd name="T96" fmla="*/ 66 w 147"/>
                  <a:gd name="T97" fmla="*/ 88 h 115"/>
                  <a:gd name="T98" fmla="*/ 66 w 147"/>
                  <a:gd name="T99" fmla="*/ 88 h 115"/>
                  <a:gd name="T100" fmla="*/ 116 w 147"/>
                  <a:gd name="T101" fmla="*/ 0 h 115"/>
                  <a:gd name="T102" fmla="*/ 147 w 147"/>
                  <a:gd name="T103" fmla="*/ 0 h 115"/>
                  <a:gd name="T104" fmla="*/ 147 w 147"/>
                  <a:gd name="T105" fmla="*/ 115 h 115"/>
                  <a:gd name="T106" fmla="*/ 116 w 147"/>
                  <a:gd name="T107" fmla="*/ 115 h 115"/>
                  <a:gd name="T108" fmla="*/ 116 w 147"/>
                  <a:gd name="T109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47" h="115">
                    <a:moveTo>
                      <a:pt x="92" y="46"/>
                    </a:moveTo>
                    <a:lnTo>
                      <a:pt x="92" y="46"/>
                    </a:lnTo>
                    <a:lnTo>
                      <a:pt x="97" y="53"/>
                    </a:lnTo>
                    <a:lnTo>
                      <a:pt x="101" y="60"/>
                    </a:lnTo>
                    <a:lnTo>
                      <a:pt x="103" y="67"/>
                    </a:lnTo>
                    <a:lnTo>
                      <a:pt x="103" y="75"/>
                    </a:lnTo>
                    <a:lnTo>
                      <a:pt x="103" y="75"/>
                    </a:lnTo>
                    <a:lnTo>
                      <a:pt x="103" y="83"/>
                    </a:lnTo>
                    <a:lnTo>
                      <a:pt x="100" y="91"/>
                    </a:lnTo>
                    <a:lnTo>
                      <a:pt x="96" y="99"/>
                    </a:lnTo>
                    <a:lnTo>
                      <a:pt x="90" y="105"/>
                    </a:lnTo>
                    <a:lnTo>
                      <a:pt x="90" y="105"/>
                    </a:lnTo>
                    <a:lnTo>
                      <a:pt x="82" y="110"/>
                    </a:lnTo>
                    <a:lnTo>
                      <a:pt x="74" y="113"/>
                    </a:lnTo>
                    <a:lnTo>
                      <a:pt x="65" y="115"/>
                    </a:lnTo>
                    <a:lnTo>
                      <a:pt x="55" y="115"/>
                    </a:lnTo>
                    <a:lnTo>
                      <a:pt x="0" y="115"/>
                    </a:lnTo>
                    <a:lnTo>
                      <a:pt x="0" y="1"/>
                    </a:lnTo>
                    <a:lnTo>
                      <a:pt x="32" y="1"/>
                    </a:lnTo>
                    <a:lnTo>
                      <a:pt x="32" y="37"/>
                    </a:lnTo>
                    <a:lnTo>
                      <a:pt x="59" y="37"/>
                    </a:lnTo>
                    <a:lnTo>
                      <a:pt x="59" y="37"/>
                    </a:lnTo>
                    <a:lnTo>
                      <a:pt x="68" y="37"/>
                    </a:lnTo>
                    <a:lnTo>
                      <a:pt x="76" y="39"/>
                    </a:lnTo>
                    <a:lnTo>
                      <a:pt x="84" y="42"/>
                    </a:lnTo>
                    <a:lnTo>
                      <a:pt x="92" y="46"/>
                    </a:lnTo>
                    <a:lnTo>
                      <a:pt x="92" y="46"/>
                    </a:lnTo>
                    <a:close/>
                    <a:moveTo>
                      <a:pt x="66" y="88"/>
                    </a:moveTo>
                    <a:lnTo>
                      <a:pt x="66" y="88"/>
                    </a:lnTo>
                    <a:lnTo>
                      <a:pt x="68" y="85"/>
                    </a:lnTo>
                    <a:lnTo>
                      <a:pt x="70" y="82"/>
                    </a:lnTo>
                    <a:lnTo>
                      <a:pt x="71" y="79"/>
                    </a:lnTo>
                    <a:lnTo>
                      <a:pt x="71" y="76"/>
                    </a:lnTo>
                    <a:lnTo>
                      <a:pt x="71" y="76"/>
                    </a:lnTo>
                    <a:lnTo>
                      <a:pt x="71" y="72"/>
                    </a:lnTo>
                    <a:lnTo>
                      <a:pt x="70" y="69"/>
                    </a:lnTo>
                    <a:lnTo>
                      <a:pt x="68" y="67"/>
                    </a:lnTo>
                    <a:lnTo>
                      <a:pt x="66" y="64"/>
                    </a:lnTo>
                    <a:lnTo>
                      <a:pt x="64" y="63"/>
                    </a:lnTo>
                    <a:lnTo>
                      <a:pt x="61" y="62"/>
                    </a:lnTo>
                    <a:lnTo>
                      <a:pt x="53" y="61"/>
                    </a:lnTo>
                    <a:lnTo>
                      <a:pt x="32" y="61"/>
                    </a:lnTo>
                    <a:lnTo>
                      <a:pt x="32" y="92"/>
                    </a:lnTo>
                    <a:lnTo>
                      <a:pt x="53" y="92"/>
                    </a:lnTo>
                    <a:lnTo>
                      <a:pt x="53" y="92"/>
                    </a:lnTo>
                    <a:lnTo>
                      <a:pt x="57" y="92"/>
                    </a:lnTo>
                    <a:lnTo>
                      <a:pt x="60" y="91"/>
                    </a:lnTo>
                    <a:lnTo>
                      <a:pt x="63" y="90"/>
                    </a:lnTo>
                    <a:lnTo>
                      <a:pt x="66" y="88"/>
                    </a:lnTo>
                    <a:lnTo>
                      <a:pt x="66" y="88"/>
                    </a:lnTo>
                    <a:close/>
                    <a:moveTo>
                      <a:pt x="116" y="0"/>
                    </a:moveTo>
                    <a:lnTo>
                      <a:pt x="147" y="0"/>
                    </a:lnTo>
                    <a:lnTo>
                      <a:pt x="147" y="115"/>
                    </a:lnTo>
                    <a:lnTo>
                      <a:pt x="116" y="115"/>
                    </a:lnTo>
                    <a:lnTo>
                      <a:pt x="116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20">
                <a:extLst>
                  <a:ext uri="{FF2B5EF4-FFF2-40B4-BE49-F238E27FC236}">
                    <a16:creationId xmlns:a16="http://schemas.microsoft.com/office/drawing/2014/main" id="{598842C0-0FC5-4E24-B7F4-79BA73C2AEF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802941" y="1535113"/>
                <a:ext cx="74613" cy="90487"/>
              </a:xfrm>
              <a:custGeom>
                <a:avLst/>
                <a:gdLst>
                  <a:gd name="T0" fmla="*/ 92 w 92"/>
                  <a:gd name="T1" fmla="*/ 90 h 115"/>
                  <a:gd name="T2" fmla="*/ 92 w 92"/>
                  <a:gd name="T3" fmla="*/ 115 h 115"/>
                  <a:gd name="T4" fmla="*/ 0 w 92"/>
                  <a:gd name="T5" fmla="*/ 115 h 115"/>
                  <a:gd name="T6" fmla="*/ 0 w 92"/>
                  <a:gd name="T7" fmla="*/ 0 h 115"/>
                  <a:gd name="T8" fmla="*/ 90 w 92"/>
                  <a:gd name="T9" fmla="*/ 0 h 115"/>
                  <a:gd name="T10" fmla="*/ 90 w 92"/>
                  <a:gd name="T11" fmla="*/ 25 h 115"/>
                  <a:gd name="T12" fmla="*/ 32 w 92"/>
                  <a:gd name="T13" fmla="*/ 25 h 115"/>
                  <a:gd name="T14" fmla="*/ 32 w 92"/>
                  <a:gd name="T15" fmla="*/ 44 h 115"/>
                  <a:gd name="T16" fmla="*/ 83 w 92"/>
                  <a:gd name="T17" fmla="*/ 44 h 115"/>
                  <a:gd name="T18" fmla="*/ 83 w 92"/>
                  <a:gd name="T19" fmla="*/ 69 h 115"/>
                  <a:gd name="T20" fmla="*/ 32 w 92"/>
                  <a:gd name="T21" fmla="*/ 69 h 115"/>
                  <a:gd name="T22" fmla="*/ 32 w 92"/>
                  <a:gd name="T23" fmla="*/ 90 h 115"/>
                  <a:gd name="T24" fmla="*/ 92 w 92"/>
                  <a:gd name="T25" fmla="*/ 9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2" h="115">
                    <a:moveTo>
                      <a:pt x="92" y="90"/>
                    </a:moveTo>
                    <a:lnTo>
                      <a:pt x="9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25"/>
                    </a:lnTo>
                    <a:lnTo>
                      <a:pt x="32" y="25"/>
                    </a:lnTo>
                    <a:lnTo>
                      <a:pt x="32" y="44"/>
                    </a:lnTo>
                    <a:lnTo>
                      <a:pt x="83" y="44"/>
                    </a:lnTo>
                    <a:lnTo>
                      <a:pt x="83" y="69"/>
                    </a:lnTo>
                    <a:lnTo>
                      <a:pt x="32" y="69"/>
                    </a:lnTo>
                    <a:lnTo>
                      <a:pt x="32" y="90"/>
                    </a:lnTo>
                    <a:lnTo>
                      <a:pt x="92" y="9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21">
                <a:extLst>
                  <a:ext uri="{FF2B5EF4-FFF2-40B4-BE49-F238E27FC236}">
                    <a16:creationId xmlns:a16="http://schemas.microsoft.com/office/drawing/2014/main" id="{5D0568EF-A402-472D-8C5C-88D15C3CADBA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934704" y="1535113"/>
                <a:ext cx="82550" cy="90487"/>
              </a:xfrm>
              <a:custGeom>
                <a:avLst/>
                <a:gdLst>
                  <a:gd name="T0" fmla="*/ 79 w 104"/>
                  <a:gd name="T1" fmla="*/ 5 h 115"/>
                  <a:gd name="T2" fmla="*/ 79 w 104"/>
                  <a:gd name="T3" fmla="*/ 5 h 115"/>
                  <a:gd name="T4" fmla="*/ 85 w 104"/>
                  <a:gd name="T5" fmla="*/ 8 h 115"/>
                  <a:gd name="T6" fmla="*/ 90 w 104"/>
                  <a:gd name="T7" fmla="*/ 12 h 115"/>
                  <a:gd name="T8" fmla="*/ 94 w 104"/>
                  <a:gd name="T9" fmla="*/ 16 h 115"/>
                  <a:gd name="T10" fmla="*/ 98 w 104"/>
                  <a:gd name="T11" fmla="*/ 20 h 115"/>
                  <a:gd name="T12" fmla="*/ 98 w 104"/>
                  <a:gd name="T13" fmla="*/ 20 h 115"/>
                  <a:gd name="T14" fmla="*/ 101 w 104"/>
                  <a:gd name="T15" fmla="*/ 27 h 115"/>
                  <a:gd name="T16" fmla="*/ 104 w 104"/>
                  <a:gd name="T17" fmla="*/ 35 h 115"/>
                  <a:gd name="T18" fmla="*/ 104 w 104"/>
                  <a:gd name="T19" fmla="*/ 43 h 115"/>
                  <a:gd name="T20" fmla="*/ 104 w 104"/>
                  <a:gd name="T21" fmla="*/ 51 h 115"/>
                  <a:gd name="T22" fmla="*/ 102 w 104"/>
                  <a:gd name="T23" fmla="*/ 59 h 115"/>
                  <a:gd name="T24" fmla="*/ 98 w 104"/>
                  <a:gd name="T25" fmla="*/ 66 h 115"/>
                  <a:gd name="T26" fmla="*/ 93 w 104"/>
                  <a:gd name="T27" fmla="*/ 72 h 115"/>
                  <a:gd name="T28" fmla="*/ 87 w 104"/>
                  <a:gd name="T29" fmla="*/ 77 h 115"/>
                  <a:gd name="T30" fmla="*/ 87 w 104"/>
                  <a:gd name="T31" fmla="*/ 77 h 115"/>
                  <a:gd name="T32" fmla="*/ 79 w 104"/>
                  <a:gd name="T33" fmla="*/ 81 h 115"/>
                  <a:gd name="T34" fmla="*/ 79 w 104"/>
                  <a:gd name="T35" fmla="*/ 81 h 115"/>
                  <a:gd name="T36" fmla="*/ 72 w 104"/>
                  <a:gd name="T37" fmla="*/ 83 h 115"/>
                  <a:gd name="T38" fmla="*/ 66 w 104"/>
                  <a:gd name="T39" fmla="*/ 85 h 115"/>
                  <a:gd name="T40" fmla="*/ 59 w 104"/>
                  <a:gd name="T41" fmla="*/ 85 h 115"/>
                  <a:gd name="T42" fmla="*/ 52 w 104"/>
                  <a:gd name="T43" fmla="*/ 86 h 115"/>
                  <a:gd name="T44" fmla="*/ 32 w 104"/>
                  <a:gd name="T45" fmla="*/ 86 h 115"/>
                  <a:gd name="T46" fmla="*/ 32 w 104"/>
                  <a:gd name="T47" fmla="*/ 115 h 115"/>
                  <a:gd name="T48" fmla="*/ 0 w 104"/>
                  <a:gd name="T49" fmla="*/ 115 h 115"/>
                  <a:gd name="T50" fmla="*/ 0 w 104"/>
                  <a:gd name="T51" fmla="*/ 0 h 115"/>
                  <a:gd name="T52" fmla="*/ 52 w 104"/>
                  <a:gd name="T53" fmla="*/ 0 h 115"/>
                  <a:gd name="T54" fmla="*/ 52 w 104"/>
                  <a:gd name="T55" fmla="*/ 0 h 115"/>
                  <a:gd name="T56" fmla="*/ 59 w 104"/>
                  <a:gd name="T57" fmla="*/ 1 h 115"/>
                  <a:gd name="T58" fmla="*/ 66 w 104"/>
                  <a:gd name="T59" fmla="*/ 2 h 115"/>
                  <a:gd name="T60" fmla="*/ 73 w 104"/>
                  <a:gd name="T61" fmla="*/ 3 h 115"/>
                  <a:gd name="T62" fmla="*/ 79 w 104"/>
                  <a:gd name="T63" fmla="*/ 5 h 115"/>
                  <a:gd name="T64" fmla="*/ 79 w 104"/>
                  <a:gd name="T65" fmla="*/ 5 h 115"/>
                  <a:gd name="T66" fmla="*/ 65 w 104"/>
                  <a:gd name="T67" fmla="*/ 56 h 115"/>
                  <a:gd name="T68" fmla="*/ 65 w 104"/>
                  <a:gd name="T69" fmla="*/ 56 h 115"/>
                  <a:gd name="T70" fmla="*/ 67 w 104"/>
                  <a:gd name="T71" fmla="*/ 53 h 115"/>
                  <a:gd name="T72" fmla="*/ 69 w 104"/>
                  <a:gd name="T73" fmla="*/ 50 h 115"/>
                  <a:gd name="T74" fmla="*/ 70 w 104"/>
                  <a:gd name="T75" fmla="*/ 46 h 115"/>
                  <a:gd name="T76" fmla="*/ 70 w 104"/>
                  <a:gd name="T77" fmla="*/ 43 h 115"/>
                  <a:gd name="T78" fmla="*/ 70 w 104"/>
                  <a:gd name="T79" fmla="*/ 43 h 115"/>
                  <a:gd name="T80" fmla="*/ 70 w 104"/>
                  <a:gd name="T81" fmla="*/ 39 h 115"/>
                  <a:gd name="T82" fmla="*/ 69 w 104"/>
                  <a:gd name="T83" fmla="*/ 36 h 115"/>
                  <a:gd name="T84" fmla="*/ 67 w 104"/>
                  <a:gd name="T85" fmla="*/ 33 h 115"/>
                  <a:gd name="T86" fmla="*/ 65 w 104"/>
                  <a:gd name="T87" fmla="*/ 30 h 115"/>
                  <a:gd name="T88" fmla="*/ 65 w 104"/>
                  <a:gd name="T89" fmla="*/ 30 h 115"/>
                  <a:gd name="T90" fmla="*/ 62 w 104"/>
                  <a:gd name="T91" fmla="*/ 28 h 115"/>
                  <a:gd name="T92" fmla="*/ 58 w 104"/>
                  <a:gd name="T93" fmla="*/ 27 h 115"/>
                  <a:gd name="T94" fmla="*/ 54 w 104"/>
                  <a:gd name="T95" fmla="*/ 26 h 115"/>
                  <a:gd name="T96" fmla="*/ 50 w 104"/>
                  <a:gd name="T97" fmla="*/ 26 h 115"/>
                  <a:gd name="T98" fmla="*/ 32 w 104"/>
                  <a:gd name="T99" fmla="*/ 26 h 115"/>
                  <a:gd name="T100" fmla="*/ 32 w 104"/>
                  <a:gd name="T101" fmla="*/ 60 h 115"/>
                  <a:gd name="T102" fmla="*/ 50 w 104"/>
                  <a:gd name="T103" fmla="*/ 60 h 115"/>
                  <a:gd name="T104" fmla="*/ 50 w 104"/>
                  <a:gd name="T105" fmla="*/ 60 h 115"/>
                  <a:gd name="T106" fmla="*/ 54 w 104"/>
                  <a:gd name="T107" fmla="*/ 60 h 115"/>
                  <a:gd name="T108" fmla="*/ 58 w 104"/>
                  <a:gd name="T109" fmla="*/ 59 h 115"/>
                  <a:gd name="T110" fmla="*/ 62 w 104"/>
                  <a:gd name="T111" fmla="*/ 58 h 115"/>
                  <a:gd name="T112" fmla="*/ 65 w 104"/>
                  <a:gd name="T113" fmla="*/ 56 h 115"/>
                  <a:gd name="T114" fmla="*/ 65 w 104"/>
                  <a:gd name="T115" fmla="*/ 56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04" h="115">
                    <a:moveTo>
                      <a:pt x="79" y="5"/>
                    </a:moveTo>
                    <a:lnTo>
                      <a:pt x="79" y="5"/>
                    </a:lnTo>
                    <a:lnTo>
                      <a:pt x="85" y="8"/>
                    </a:lnTo>
                    <a:lnTo>
                      <a:pt x="90" y="12"/>
                    </a:lnTo>
                    <a:lnTo>
                      <a:pt x="94" y="16"/>
                    </a:lnTo>
                    <a:lnTo>
                      <a:pt x="98" y="20"/>
                    </a:lnTo>
                    <a:lnTo>
                      <a:pt x="98" y="20"/>
                    </a:lnTo>
                    <a:lnTo>
                      <a:pt x="101" y="27"/>
                    </a:lnTo>
                    <a:lnTo>
                      <a:pt x="104" y="35"/>
                    </a:lnTo>
                    <a:lnTo>
                      <a:pt x="104" y="43"/>
                    </a:lnTo>
                    <a:lnTo>
                      <a:pt x="104" y="51"/>
                    </a:lnTo>
                    <a:lnTo>
                      <a:pt x="102" y="59"/>
                    </a:lnTo>
                    <a:lnTo>
                      <a:pt x="98" y="66"/>
                    </a:lnTo>
                    <a:lnTo>
                      <a:pt x="93" y="72"/>
                    </a:lnTo>
                    <a:lnTo>
                      <a:pt x="87" y="77"/>
                    </a:lnTo>
                    <a:lnTo>
                      <a:pt x="87" y="77"/>
                    </a:lnTo>
                    <a:lnTo>
                      <a:pt x="79" y="81"/>
                    </a:lnTo>
                    <a:lnTo>
                      <a:pt x="79" y="81"/>
                    </a:lnTo>
                    <a:lnTo>
                      <a:pt x="72" y="83"/>
                    </a:lnTo>
                    <a:lnTo>
                      <a:pt x="66" y="85"/>
                    </a:lnTo>
                    <a:lnTo>
                      <a:pt x="59" y="85"/>
                    </a:lnTo>
                    <a:lnTo>
                      <a:pt x="52" y="86"/>
                    </a:lnTo>
                    <a:lnTo>
                      <a:pt x="32" y="86"/>
                    </a:lnTo>
                    <a:lnTo>
                      <a:pt x="3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52" y="0"/>
                    </a:lnTo>
                    <a:lnTo>
                      <a:pt x="52" y="0"/>
                    </a:lnTo>
                    <a:lnTo>
                      <a:pt x="59" y="1"/>
                    </a:lnTo>
                    <a:lnTo>
                      <a:pt x="66" y="2"/>
                    </a:lnTo>
                    <a:lnTo>
                      <a:pt x="73" y="3"/>
                    </a:lnTo>
                    <a:lnTo>
                      <a:pt x="79" y="5"/>
                    </a:lnTo>
                    <a:lnTo>
                      <a:pt x="79" y="5"/>
                    </a:lnTo>
                    <a:close/>
                    <a:moveTo>
                      <a:pt x="65" y="56"/>
                    </a:moveTo>
                    <a:lnTo>
                      <a:pt x="65" y="56"/>
                    </a:lnTo>
                    <a:lnTo>
                      <a:pt x="67" y="53"/>
                    </a:lnTo>
                    <a:lnTo>
                      <a:pt x="69" y="50"/>
                    </a:lnTo>
                    <a:lnTo>
                      <a:pt x="70" y="46"/>
                    </a:lnTo>
                    <a:lnTo>
                      <a:pt x="70" y="43"/>
                    </a:lnTo>
                    <a:lnTo>
                      <a:pt x="70" y="43"/>
                    </a:lnTo>
                    <a:lnTo>
                      <a:pt x="70" y="39"/>
                    </a:lnTo>
                    <a:lnTo>
                      <a:pt x="69" y="36"/>
                    </a:lnTo>
                    <a:lnTo>
                      <a:pt x="67" y="33"/>
                    </a:lnTo>
                    <a:lnTo>
                      <a:pt x="65" y="30"/>
                    </a:lnTo>
                    <a:lnTo>
                      <a:pt x="65" y="30"/>
                    </a:lnTo>
                    <a:lnTo>
                      <a:pt x="62" y="28"/>
                    </a:lnTo>
                    <a:lnTo>
                      <a:pt x="58" y="27"/>
                    </a:lnTo>
                    <a:lnTo>
                      <a:pt x="54" y="26"/>
                    </a:lnTo>
                    <a:lnTo>
                      <a:pt x="50" y="26"/>
                    </a:lnTo>
                    <a:lnTo>
                      <a:pt x="32" y="26"/>
                    </a:lnTo>
                    <a:lnTo>
                      <a:pt x="32" y="60"/>
                    </a:lnTo>
                    <a:lnTo>
                      <a:pt x="50" y="60"/>
                    </a:lnTo>
                    <a:lnTo>
                      <a:pt x="50" y="60"/>
                    </a:lnTo>
                    <a:lnTo>
                      <a:pt x="54" y="60"/>
                    </a:lnTo>
                    <a:lnTo>
                      <a:pt x="58" y="59"/>
                    </a:lnTo>
                    <a:lnTo>
                      <a:pt x="62" y="58"/>
                    </a:lnTo>
                    <a:lnTo>
                      <a:pt x="65" y="56"/>
                    </a:lnTo>
                    <a:lnTo>
                      <a:pt x="65" y="5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22">
                <a:extLst>
                  <a:ext uri="{FF2B5EF4-FFF2-40B4-BE49-F238E27FC236}">
                    <a16:creationId xmlns:a16="http://schemas.microsoft.com/office/drawing/2014/main" id="{0212BF71-02BE-41B1-92B3-11E6D0615D6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029954" y="1535113"/>
                <a:ext cx="74613" cy="90487"/>
              </a:xfrm>
              <a:custGeom>
                <a:avLst/>
                <a:gdLst>
                  <a:gd name="T0" fmla="*/ 93 w 93"/>
                  <a:gd name="T1" fmla="*/ 90 h 115"/>
                  <a:gd name="T2" fmla="*/ 93 w 93"/>
                  <a:gd name="T3" fmla="*/ 115 h 115"/>
                  <a:gd name="T4" fmla="*/ 0 w 93"/>
                  <a:gd name="T5" fmla="*/ 115 h 115"/>
                  <a:gd name="T6" fmla="*/ 0 w 93"/>
                  <a:gd name="T7" fmla="*/ 0 h 115"/>
                  <a:gd name="T8" fmla="*/ 91 w 93"/>
                  <a:gd name="T9" fmla="*/ 0 h 115"/>
                  <a:gd name="T10" fmla="*/ 91 w 93"/>
                  <a:gd name="T11" fmla="*/ 25 h 115"/>
                  <a:gd name="T12" fmla="*/ 32 w 93"/>
                  <a:gd name="T13" fmla="*/ 25 h 115"/>
                  <a:gd name="T14" fmla="*/ 32 w 93"/>
                  <a:gd name="T15" fmla="*/ 44 h 115"/>
                  <a:gd name="T16" fmla="*/ 83 w 93"/>
                  <a:gd name="T17" fmla="*/ 44 h 115"/>
                  <a:gd name="T18" fmla="*/ 83 w 93"/>
                  <a:gd name="T19" fmla="*/ 69 h 115"/>
                  <a:gd name="T20" fmla="*/ 32 w 93"/>
                  <a:gd name="T21" fmla="*/ 69 h 115"/>
                  <a:gd name="T22" fmla="*/ 32 w 93"/>
                  <a:gd name="T23" fmla="*/ 90 h 115"/>
                  <a:gd name="T24" fmla="*/ 93 w 93"/>
                  <a:gd name="T25" fmla="*/ 9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3" h="115">
                    <a:moveTo>
                      <a:pt x="93" y="90"/>
                    </a:moveTo>
                    <a:lnTo>
                      <a:pt x="93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91" y="0"/>
                    </a:lnTo>
                    <a:lnTo>
                      <a:pt x="91" y="25"/>
                    </a:lnTo>
                    <a:lnTo>
                      <a:pt x="32" y="25"/>
                    </a:lnTo>
                    <a:lnTo>
                      <a:pt x="32" y="44"/>
                    </a:lnTo>
                    <a:lnTo>
                      <a:pt x="83" y="44"/>
                    </a:lnTo>
                    <a:lnTo>
                      <a:pt x="83" y="69"/>
                    </a:lnTo>
                    <a:lnTo>
                      <a:pt x="32" y="69"/>
                    </a:lnTo>
                    <a:lnTo>
                      <a:pt x="32" y="90"/>
                    </a:lnTo>
                    <a:lnTo>
                      <a:pt x="93" y="9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23">
                <a:extLst>
                  <a:ext uri="{FF2B5EF4-FFF2-40B4-BE49-F238E27FC236}">
                    <a16:creationId xmlns:a16="http://schemas.microsoft.com/office/drawing/2014/main" id="{8F625688-E093-41BA-AE2F-1D7DF32A9E5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122029" y="1535113"/>
                <a:ext cx="122238" cy="90487"/>
              </a:xfrm>
              <a:custGeom>
                <a:avLst/>
                <a:gdLst>
                  <a:gd name="T0" fmla="*/ 155 w 155"/>
                  <a:gd name="T1" fmla="*/ 0 h 115"/>
                  <a:gd name="T2" fmla="*/ 155 w 155"/>
                  <a:gd name="T3" fmla="*/ 115 h 115"/>
                  <a:gd name="T4" fmla="*/ 0 w 155"/>
                  <a:gd name="T5" fmla="*/ 115 h 115"/>
                  <a:gd name="T6" fmla="*/ 0 w 155"/>
                  <a:gd name="T7" fmla="*/ 0 h 115"/>
                  <a:gd name="T8" fmla="*/ 31 w 155"/>
                  <a:gd name="T9" fmla="*/ 0 h 115"/>
                  <a:gd name="T10" fmla="*/ 31 w 155"/>
                  <a:gd name="T11" fmla="*/ 90 h 115"/>
                  <a:gd name="T12" fmla="*/ 61 w 155"/>
                  <a:gd name="T13" fmla="*/ 90 h 115"/>
                  <a:gd name="T14" fmla="*/ 61 w 155"/>
                  <a:gd name="T15" fmla="*/ 0 h 115"/>
                  <a:gd name="T16" fmla="*/ 93 w 155"/>
                  <a:gd name="T17" fmla="*/ 0 h 115"/>
                  <a:gd name="T18" fmla="*/ 93 w 155"/>
                  <a:gd name="T19" fmla="*/ 90 h 115"/>
                  <a:gd name="T20" fmla="*/ 123 w 155"/>
                  <a:gd name="T21" fmla="*/ 90 h 115"/>
                  <a:gd name="T22" fmla="*/ 123 w 155"/>
                  <a:gd name="T23" fmla="*/ 0 h 115"/>
                  <a:gd name="T24" fmla="*/ 155 w 155"/>
                  <a:gd name="T25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5" h="115">
                    <a:moveTo>
                      <a:pt x="155" y="0"/>
                    </a:moveTo>
                    <a:lnTo>
                      <a:pt x="155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1" y="0"/>
                    </a:lnTo>
                    <a:lnTo>
                      <a:pt x="31" y="90"/>
                    </a:lnTo>
                    <a:lnTo>
                      <a:pt x="61" y="90"/>
                    </a:lnTo>
                    <a:lnTo>
                      <a:pt x="61" y="0"/>
                    </a:lnTo>
                    <a:lnTo>
                      <a:pt x="93" y="0"/>
                    </a:lnTo>
                    <a:lnTo>
                      <a:pt x="93" y="90"/>
                    </a:lnTo>
                    <a:lnTo>
                      <a:pt x="123" y="90"/>
                    </a:lnTo>
                    <a:lnTo>
                      <a:pt x="123" y="0"/>
                    </a:lnTo>
                    <a:lnTo>
                      <a:pt x="15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24">
                <a:extLst>
                  <a:ext uri="{FF2B5EF4-FFF2-40B4-BE49-F238E27FC236}">
                    <a16:creationId xmlns:a16="http://schemas.microsoft.com/office/drawing/2014/main" id="{F089985D-16F2-4B5A-9F69-4430D4BF842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268079" y="1535113"/>
                <a:ext cx="71438" cy="90487"/>
              </a:xfrm>
              <a:custGeom>
                <a:avLst/>
                <a:gdLst>
                  <a:gd name="T0" fmla="*/ 92 w 92"/>
                  <a:gd name="T1" fmla="*/ 90 h 115"/>
                  <a:gd name="T2" fmla="*/ 92 w 92"/>
                  <a:gd name="T3" fmla="*/ 115 h 115"/>
                  <a:gd name="T4" fmla="*/ 0 w 92"/>
                  <a:gd name="T5" fmla="*/ 115 h 115"/>
                  <a:gd name="T6" fmla="*/ 0 w 92"/>
                  <a:gd name="T7" fmla="*/ 0 h 115"/>
                  <a:gd name="T8" fmla="*/ 90 w 92"/>
                  <a:gd name="T9" fmla="*/ 0 h 115"/>
                  <a:gd name="T10" fmla="*/ 90 w 92"/>
                  <a:gd name="T11" fmla="*/ 25 h 115"/>
                  <a:gd name="T12" fmla="*/ 32 w 92"/>
                  <a:gd name="T13" fmla="*/ 25 h 115"/>
                  <a:gd name="T14" fmla="*/ 32 w 92"/>
                  <a:gd name="T15" fmla="*/ 44 h 115"/>
                  <a:gd name="T16" fmla="*/ 83 w 92"/>
                  <a:gd name="T17" fmla="*/ 44 h 115"/>
                  <a:gd name="T18" fmla="*/ 83 w 92"/>
                  <a:gd name="T19" fmla="*/ 69 h 115"/>
                  <a:gd name="T20" fmla="*/ 32 w 92"/>
                  <a:gd name="T21" fmla="*/ 69 h 115"/>
                  <a:gd name="T22" fmla="*/ 32 w 92"/>
                  <a:gd name="T23" fmla="*/ 90 h 115"/>
                  <a:gd name="T24" fmla="*/ 92 w 92"/>
                  <a:gd name="T25" fmla="*/ 9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2" h="115">
                    <a:moveTo>
                      <a:pt x="92" y="90"/>
                    </a:moveTo>
                    <a:lnTo>
                      <a:pt x="9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25"/>
                    </a:lnTo>
                    <a:lnTo>
                      <a:pt x="32" y="25"/>
                    </a:lnTo>
                    <a:lnTo>
                      <a:pt x="32" y="44"/>
                    </a:lnTo>
                    <a:lnTo>
                      <a:pt x="83" y="44"/>
                    </a:lnTo>
                    <a:lnTo>
                      <a:pt x="83" y="69"/>
                    </a:lnTo>
                    <a:lnTo>
                      <a:pt x="32" y="69"/>
                    </a:lnTo>
                    <a:lnTo>
                      <a:pt x="32" y="90"/>
                    </a:lnTo>
                    <a:lnTo>
                      <a:pt x="92" y="9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25">
                <a:extLst>
                  <a:ext uri="{FF2B5EF4-FFF2-40B4-BE49-F238E27FC236}">
                    <a16:creationId xmlns:a16="http://schemas.microsoft.com/office/drawing/2014/main" id="{75F6146E-3984-4014-9647-DBD56595460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358566" y="1535113"/>
                <a:ext cx="85725" cy="90487"/>
              </a:xfrm>
              <a:custGeom>
                <a:avLst/>
                <a:gdLst>
                  <a:gd name="T0" fmla="*/ 109 w 109"/>
                  <a:gd name="T1" fmla="*/ 0 h 115"/>
                  <a:gd name="T2" fmla="*/ 109 w 109"/>
                  <a:gd name="T3" fmla="*/ 115 h 115"/>
                  <a:gd name="T4" fmla="*/ 77 w 109"/>
                  <a:gd name="T5" fmla="*/ 115 h 115"/>
                  <a:gd name="T6" fmla="*/ 77 w 109"/>
                  <a:gd name="T7" fmla="*/ 71 h 115"/>
                  <a:gd name="T8" fmla="*/ 32 w 109"/>
                  <a:gd name="T9" fmla="*/ 71 h 115"/>
                  <a:gd name="T10" fmla="*/ 32 w 109"/>
                  <a:gd name="T11" fmla="*/ 115 h 115"/>
                  <a:gd name="T12" fmla="*/ 0 w 109"/>
                  <a:gd name="T13" fmla="*/ 115 h 115"/>
                  <a:gd name="T14" fmla="*/ 0 w 109"/>
                  <a:gd name="T15" fmla="*/ 0 h 115"/>
                  <a:gd name="T16" fmla="*/ 32 w 109"/>
                  <a:gd name="T17" fmla="*/ 0 h 115"/>
                  <a:gd name="T18" fmla="*/ 32 w 109"/>
                  <a:gd name="T19" fmla="*/ 43 h 115"/>
                  <a:gd name="T20" fmla="*/ 77 w 109"/>
                  <a:gd name="T21" fmla="*/ 43 h 115"/>
                  <a:gd name="T22" fmla="*/ 77 w 109"/>
                  <a:gd name="T23" fmla="*/ 0 h 115"/>
                  <a:gd name="T24" fmla="*/ 109 w 109"/>
                  <a:gd name="T25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9" h="115">
                    <a:moveTo>
                      <a:pt x="109" y="0"/>
                    </a:moveTo>
                    <a:lnTo>
                      <a:pt x="109" y="115"/>
                    </a:lnTo>
                    <a:lnTo>
                      <a:pt x="77" y="115"/>
                    </a:lnTo>
                    <a:lnTo>
                      <a:pt x="77" y="71"/>
                    </a:lnTo>
                    <a:lnTo>
                      <a:pt x="32" y="71"/>
                    </a:lnTo>
                    <a:lnTo>
                      <a:pt x="3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2" y="0"/>
                    </a:lnTo>
                    <a:lnTo>
                      <a:pt x="32" y="43"/>
                    </a:lnTo>
                    <a:lnTo>
                      <a:pt x="77" y="43"/>
                    </a:lnTo>
                    <a:lnTo>
                      <a:pt x="77" y="0"/>
                    </a:lnTo>
                    <a:lnTo>
                      <a:pt x="109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26">
                <a:extLst>
                  <a:ext uri="{FF2B5EF4-FFF2-40B4-BE49-F238E27FC236}">
                    <a16:creationId xmlns:a16="http://schemas.microsoft.com/office/drawing/2014/main" id="{77F8B056-3281-4454-A3DE-6F2DC014861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466516" y="1535113"/>
                <a:ext cx="87313" cy="90487"/>
              </a:xfrm>
              <a:custGeom>
                <a:avLst/>
                <a:gdLst>
                  <a:gd name="T0" fmla="*/ 0 w 110"/>
                  <a:gd name="T1" fmla="*/ 0 h 115"/>
                  <a:gd name="T2" fmla="*/ 32 w 110"/>
                  <a:gd name="T3" fmla="*/ 0 h 115"/>
                  <a:gd name="T4" fmla="*/ 32 w 110"/>
                  <a:gd name="T5" fmla="*/ 68 h 115"/>
                  <a:gd name="T6" fmla="*/ 80 w 110"/>
                  <a:gd name="T7" fmla="*/ 0 h 115"/>
                  <a:gd name="T8" fmla="*/ 110 w 110"/>
                  <a:gd name="T9" fmla="*/ 0 h 115"/>
                  <a:gd name="T10" fmla="*/ 110 w 110"/>
                  <a:gd name="T11" fmla="*/ 115 h 115"/>
                  <a:gd name="T12" fmla="*/ 78 w 110"/>
                  <a:gd name="T13" fmla="*/ 115 h 115"/>
                  <a:gd name="T14" fmla="*/ 78 w 110"/>
                  <a:gd name="T15" fmla="*/ 48 h 115"/>
                  <a:gd name="T16" fmla="*/ 30 w 110"/>
                  <a:gd name="T17" fmla="*/ 115 h 115"/>
                  <a:gd name="T18" fmla="*/ 0 w 110"/>
                  <a:gd name="T19" fmla="*/ 115 h 115"/>
                  <a:gd name="T20" fmla="*/ 0 w 110"/>
                  <a:gd name="T21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0" h="115">
                    <a:moveTo>
                      <a:pt x="0" y="0"/>
                    </a:moveTo>
                    <a:lnTo>
                      <a:pt x="32" y="0"/>
                    </a:lnTo>
                    <a:lnTo>
                      <a:pt x="32" y="68"/>
                    </a:lnTo>
                    <a:lnTo>
                      <a:pt x="80" y="0"/>
                    </a:lnTo>
                    <a:lnTo>
                      <a:pt x="110" y="0"/>
                    </a:lnTo>
                    <a:lnTo>
                      <a:pt x="110" y="115"/>
                    </a:lnTo>
                    <a:lnTo>
                      <a:pt x="78" y="115"/>
                    </a:lnTo>
                    <a:lnTo>
                      <a:pt x="78" y="48"/>
                    </a:lnTo>
                    <a:lnTo>
                      <a:pt x="30" y="115"/>
                    </a:lnTo>
                    <a:lnTo>
                      <a:pt x="0" y="11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27">
                <a:extLst>
                  <a:ext uri="{FF2B5EF4-FFF2-40B4-BE49-F238E27FC236}">
                    <a16:creationId xmlns:a16="http://schemas.microsoft.com/office/drawing/2014/main" id="{D66C1EF3-B796-46D5-AF30-7CB289FD860A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1571291" y="1535113"/>
                <a:ext cx="80963" cy="90487"/>
              </a:xfrm>
              <a:custGeom>
                <a:avLst/>
                <a:gdLst>
                  <a:gd name="T0" fmla="*/ 103 w 103"/>
                  <a:gd name="T1" fmla="*/ 0 h 115"/>
                  <a:gd name="T2" fmla="*/ 103 w 103"/>
                  <a:gd name="T3" fmla="*/ 115 h 115"/>
                  <a:gd name="T4" fmla="*/ 71 w 103"/>
                  <a:gd name="T5" fmla="*/ 115 h 115"/>
                  <a:gd name="T6" fmla="*/ 71 w 103"/>
                  <a:gd name="T7" fmla="*/ 87 h 115"/>
                  <a:gd name="T8" fmla="*/ 54 w 103"/>
                  <a:gd name="T9" fmla="*/ 87 h 115"/>
                  <a:gd name="T10" fmla="*/ 34 w 103"/>
                  <a:gd name="T11" fmla="*/ 115 h 115"/>
                  <a:gd name="T12" fmla="*/ 0 w 103"/>
                  <a:gd name="T13" fmla="*/ 115 h 115"/>
                  <a:gd name="T14" fmla="*/ 23 w 103"/>
                  <a:gd name="T15" fmla="*/ 82 h 115"/>
                  <a:gd name="T16" fmla="*/ 23 w 103"/>
                  <a:gd name="T17" fmla="*/ 82 h 115"/>
                  <a:gd name="T18" fmla="*/ 18 w 103"/>
                  <a:gd name="T19" fmla="*/ 79 h 115"/>
                  <a:gd name="T20" fmla="*/ 13 w 103"/>
                  <a:gd name="T21" fmla="*/ 76 h 115"/>
                  <a:gd name="T22" fmla="*/ 9 w 103"/>
                  <a:gd name="T23" fmla="*/ 72 h 115"/>
                  <a:gd name="T24" fmla="*/ 6 w 103"/>
                  <a:gd name="T25" fmla="*/ 67 h 115"/>
                  <a:gd name="T26" fmla="*/ 6 w 103"/>
                  <a:gd name="T27" fmla="*/ 67 h 115"/>
                  <a:gd name="T28" fmla="*/ 3 w 103"/>
                  <a:gd name="T29" fmla="*/ 62 h 115"/>
                  <a:gd name="T30" fmla="*/ 1 w 103"/>
                  <a:gd name="T31" fmla="*/ 57 h 115"/>
                  <a:gd name="T32" fmla="*/ 0 w 103"/>
                  <a:gd name="T33" fmla="*/ 51 h 115"/>
                  <a:gd name="T34" fmla="*/ 0 w 103"/>
                  <a:gd name="T35" fmla="*/ 44 h 115"/>
                  <a:gd name="T36" fmla="*/ 0 w 103"/>
                  <a:gd name="T37" fmla="*/ 44 h 115"/>
                  <a:gd name="T38" fmla="*/ 0 w 103"/>
                  <a:gd name="T39" fmla="*/ 38 h 115"/>
                  <a:gd name="T40" fmla="*/ 1 w 103"/>
                  <a:gd name="T41" fmla="*/ 32 h 115"/>
                  <a:gd name="T42" fmla="*/ 3 w 103"/>
                  <a:gd name="T43" fmla="*/ 26 h 115"/>
                  <a:gd name="T44" fmla="*/ 6 w 103"/>
                  <a:gd name="T45" fmla="*/ 21 h 115"/>
                  <a:gd name="T46" fmla="*/ 6 w 103"/>
                  <a:gd name="T47" fmla="*/ 21 h 115"/>
                  <a:gd name="T48" fmla="*/ 10 w 103"/>
                  <a:gd name="T49" fmla="*/ 16 h 115"/>
                  <a:gd name="T50" fmla="*/ 14 w 103"/>
                  <a:gd name="T51" fmla="*/ 12 h 115"/>
                  <a:gd name="T52" fmla="*/ 19 w 103"/>
                  <a:gd name="T53" fmla="*/ 8 h 115"/>
                  <a:gd name="T54" fmla="*/ 24 w 103"/>
                  <a:gd name="T55" fmla="*/ 6 h 115"/>
                  <a:gd name="T56" fmla="*/ 24 w 103"/>
                  <a:gd name="T57" fmla="*/ 6 h 115"/>
                  <a:gd name="T58" fmla="*/ 30 w 103"/>
                  <a:gd name="T59" fmla="*/ 3 h 115"/>
                  <a:gd name="T60" fmla="*/ 37 w 103"/>
                  <a:gd name="T61" fmla="*/ 2 h 115"/>
                  <a:gd name="T62" fmla="*/ 45 w 103"/>
                  <a:gd name="T63" fmla="*/ 1 h 115"/>
                  <a:gd name="T64" fmla="*/ 52 w 103"/>
                  <a:gd name="T65" fmla="*/ 1 h 115"/>
                  <a:gd name="T66" fmla="*/ 103 w 103"/>
                  <a:gd name="T67" fmla="*/ 0 h 115"/>
                  <a:gd name="T68" fmla="*/ 32 w 103"/>
                  <a:gd name="T69" fmla="*/ 43 h 115"/>
                  <a:gd name="T70" fmla="*/ 32 w 103"/>
                  <a:gd name="T71" fmla="*/ 43 h 115"/>
                  <a:gd name="T72" fmla="*/ 33 w 103"/>
                  <a:gd name="T73" fmla="*/ 48 h 115"/>
                  <a:gd name="T74" fmla="*/ 34 w 103"/>
                  <a:gd name="T75" fmla="*/ 51 h 115"/>
                  <a:gd name="T76" fmla="*/ 35 w 103"/>
                  <a:gd name="T77" fmla="*/ 54 h 115"/>
                  <a:gd name="T78" fmla="*/ 37 w 103"/>
                  <a:gd name="T79" fmla="*/ 57 h 115"/>
                  <a:gd name="T80" fmla="*/ 37 w 103"/>
                  <a:gd name="T81" fmla="*/ 57 h 115"/>
                  <a:gd name="T82" fmla="*/ 42 w 103"/>
                  <a:gd name="T83" fmla="*/ 59 h 115"/>
                  <a:gd name="T84" fmla="*/ 45 w 103"/>
                  <a:gd name="T85" fmla="*/ 61 h 115"/>
                  <a:gd name="T86" fmla="*/ 49 w 103"/>
                  <a:gd name="T87" fmla="*/ 62 h 115"/>
                  <a:gd name="T88" fmla="*/ 52 w 103"/>
                  <a:gd name="T89" fmla="*/ 62 h 115"/>
                  <a:gd name="T90" fmla="*/ 72 w 103"/>
                  <a:gd name="T91" fmla="*/ 62 h 115"/>
                  <a:gd name="T92" fmla="*/ 72 w 103"/>
                  <a:gd name="T93" fmla="*/ 26 h 115"/>
                  <a:gd name="T94" fmla="*/ 53 w 103"/>
                  <a:gd name="T95" fmla="*/ 26 h 115"/>
                  <a:gd name="T96" fmla="*/ 53 w 103"/>
                  <a:gd name="T97" fmla="*/ 26 h 115"/>
                  <a:gd name="T98" fmla="*/ 48 w 103"/>
                  <a:gd name="T99" fmla="*/ 26 h 115"/>
                  <a:gd name="T100" fmla="*/ 44 w 103"/>
                  <a:gd name="T101" fmla="*/ 27 h 115"/>
                  <a:gd name="T102" fmla="*/ 41 w 103"/>
                  <a:gd name="T103" fmla="*/ 28 h 115"/>
                  <a:gd name="T104" fmla="*/ 37 w 103"/>
                  <a:gd name="T105" fmla="*/ 30 h 115"/>
                  <a:gd name="T106" fmla="*/ 35 w 103"/>
                  <a:gd name="T107" fmla="*/ 32 h 115"/>
                  <a:gd name="T108" fmla="*/ 34 w 103"/>
                  <a:gd name="T109" fmla="*/ 35 h 115"/>
                  <a:gd name="T110" fmla="*/ 33 w 103"/>
                  <a:gd name="T111" fmla="*/ 39 h 115"/>
                  <a:gd name="T112" fmla="*/ 32 w 103"/>
                  <a:gd name="T113" fmla="*/ 43 h 115"/>
                  <a:gd name="T114" fmla="*/ 32 w 103"/>
                  <a:gd name="T115" fmla="*/ 43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03" h="115">
                    <a:moveTo>
                      <a:pt x="103" y="0"/>
                    </a:moveTo>
                    <a:lnTo>
                      <a:pt x="103" y="115"/>
                    </a:lnTo>
                    <a:lnTo>
                      <a:pt x="71" y="115"/>
                    </a:lnTo>
                    <a:lnTo>
                      <a:pt x="71" y="87"/>
                    </a:lnTo>
                    <a:lnTo>
                      <a:pt x="54" y="87"/>
                    </a:lnTo>
                    <a:lnTo>
                      <a:pt x="34" y="115"/>
                    </a:lnTo>
                    <a:lnTo>
                      <a:pt x="0" y="115"/>
                    </a:lnTo>
                    <a:lnTo>
                      <a:pt x="23" y="82"/>
                    </a:lnTo>
                    <a:lnTo>
                      <a:pt x="23" y="82"/>
                    </a:lnTo>
                    <a:lnTo>
                      <a:pt x="18" y="79"/>
                    </a:lnTo>
                    <a:lnTo>
                      <a:pt x="13" y="76"/>
                    </a:lnTo>
                    <a:lnTo>
                      <a:pt x="9" y="72"/>
                    </a:lnTo>
                    <a:lnTo>
                      <a:pt x="6" y="67"/>
                    </a:lnTo>
                    <a:lnTo>
                      <a:pt x="6" y="67"/>
                    </a:lnTo>
                    <a:lnTo>
                      <a:pt x="3" y="62"/>
                    </a:lnTo>
                    <a:lnTo>
                      <a:pt x="1" y="57"/>
                    </a:lnTo>
                    <a:lnTo>
                      <a:pt x="0" y="51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38"/>
                    </a:lnTo>
                    <a:lnTo>
                      <a:pt x="1" y="32"/>
                    </a:lnTo>
                    <a:lnTo>
                      <a:pt x="3" y="26"/>
                    </a:lnTo>
                    <a:lnTo>
                      <a:pt x="6" y="21"/>
                    </a:lnTo>
                    <a:lnTo>
                      <a:pt x="6" y="21"/>
                    </a:lnTo>
                    <a:lnTo>
                      <a:pt x="10" y="16"/>
                    </a:lnTo>
                    <a:lnTo>
                      <a:pt x="14" y="12"/>
                    </a:lnTo>
                    <a:lnTo>
                      <a:pt x="19" y="8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30" y="3"/>
                    </a:lnTo>
                    <a:lnTo>
                      <a:pt x="37" y="2"/>
                    </a:lnTo>
                    <a:lnTo>
                      <a:pt x="45" y="1"/>
                    </a:lnTo>
                    <a:lnTo>
                      <a:pt x="52" y="1"/>
                    </a:lnTo>
                    <a:lnTo>
                      <a:pt x="103" y="0"/>
                    </a:lnTo>
                    <a:close/>
                    <a:moveTo>
                      <a:pt x="32" y="43"/>
                    </a:moveTo>
                    <a:lnTo>
                      <a:pt x="32" y="43"/>
                    </a:lnTo>
                    <a:lnTo>
                      <a:pt x="33" y="48"/>
                    </a:lnTo>
                    <a:lnTo>
                      <a:pt x="34" y="51"/>
                    </a:lnTo>
                    <a:lnTo>
                      <a:pt x="35" y="54"/>
                    </a:lnTo>
                    <a:lnTo>
                      <a:pt x="37" y="57"/>
                    </a:lnTo>
                    <a:lnTo>
                      <a:pt x="37" y="57"/>
                    </a:lnTo>
                    <a:lnTo>
                      <a:pt x="42" y="59"/>
                    </a:lnTo>
                    <a:lnTo>
                      <a:pt x="45" y="61"/>
                    </a:lnTo>
                    <a:lnTo>
                      <a:pt x="49" y="62"/>
                    </a:lnTo>
                    <a:lnTo>
                      <a:pt x="52" y="62"/>
                    </a:lnTo>
                    <a:lnTo>
                      <a:pt x="72" y="62"/>
                    </a:lnTo>
                    <a:lnTo>
                      <a:pt x="72" y="26"/>
                    </a:lnTo>
                    <a:lnTo>
                      <a:pt x="53" y="26"/>
                    </a:lnTo>
                    <a:lnTo>
                      <a:pt x="53" y="26"/>
                    </a:lnTo>
                    <a:lnTo>
                      <a:pt x="48" y="26"/>
                    </a:lnTo>
                    <a:lnTo>
                      <a:pt x="44" y="27"/>
                    </a:lnTo>
                    <a:lnTo>
                      <a:pt x="41" y="28"/>
                    </a:lnTo>
                    <a:lnTo>
                      <a:pt x="37" y="30"/>
                    </a:lnTo>
                    <a:lnTo>
                      <a:pt x="35" y="32"/>
                    </a:lnTo>
                    <a:lnTo>
                      <a:pt x="34" y="35"/>
                    </a:lnTo>
                    <a:lnTo>
                      <a:pt x="33" y="39"/>
                    </a:lnTo>
                    <a:lnTo>
                      <a:pt x="32" y="43"/>
                    </a:lnTo>
                    <a:lnTo>
                      <a:pt x="32" y="4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303B997F-C5C4-4FD4-9B1E-D1B7163E95DE}"/>
                </a:ext>
              </a:extLst>
            </p:cNvPr>
            <p:cNvGrpSpPr/>
            <p:nvPr userDrawn="1"/>
          </p:nvGrpSpPr>
          <p:grpSpPr>
            <a:xfrm>
              <a:off x="10332720" y="658368"/>
              <a:ext cx="670092" cy="617763"/>
              <a:chOff x="10301291" y="611188"/>
              <a:chExt cx="731838" cy="674687"/>
            </a:xfrm>
          </p:grpSpPr>
          <p:sp>
            <p:nvSpPr>
              <p:cNvPr id="42" name="Freeform 28">
                <a:extLst>
                  <a:ext uri="{FF2B5EF4-FFF2-40B4-BE49-F238E27FC236}">
                    <a16:creationId xmlns:a16="http://schemas.microsoft.com/office/drawing/2014/main" id="{AAEEC93F-2258-4131-8B31-14361222E82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301291" y="611188"/>
                <a:ext cx="731838" cy="674687"/>
              </a:xfrm>
              <a:custGeom>
                <a:avLst/>
                <a:gdLst>
                  <a:gd name="T0" fmla="*/ 922 w 922"/>
                  <a:gd name="T1" fmla="*/ 0 h 850"/>
                  <a:gd name="T2" fmla="*/ 922 w 922"/>
                  <a:gd name="T3" fmla="*/ 850 h 850"/>
                  <a:gd name="T4" fmla="*/ 0 w 922"/>
                  <a:gd name="T5" fmla="*/ 850 h 850"/>
                  <a:gd name="T6" fmla="*/ 922 w 922"/>
                  <a:gd name="T7" fmla="*/ 0 h 8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22" h="850">
                    <a:moveTo>
                      <a:pt x="922" y="0"/>
                    </a:moveTo>
                    <a:lnTo>
                      <a:pt x="922" y="850"/>
                    </a:lnTo>
                    <a:lnTo>
                      <a:pt x="0" y="850"/>
                    </a:lnTo>
                    <a:lnTo>
                      <a:pt x="922" y="0"/>
                    </a:lnTo>
                    <a:close/>
                  </a:path>
                </a:pathLst>
              </a:custGeom>
              <a:solidFill>
                <a:srgbClr val="46AC4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29">
                <a:extLst>
                  <a:ext uri="{FF2B5EF4-FFF2-40B4-BE49-F238E27FC236}">
                    <a16:creationId xmlns:a16="http://schemas.microsoft.com/office/drawing/2014/main" id="{46BB24D3-FD0B-43CB-B665-E8306C19E4D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877554" y="611188"/>
                <a:ext cx="155575" cy="674687"/>
              </a:xfrm>
              <a:custGeom>
                <a:avLst/>
                <a:gdLst>
                  <a:gd name="T0" fmla="*/ 196 w 196"/>
                  <a:gd name="T1" fmla="*/ 0 h 850"/>
                  <a:gd name="T2" fmla="*/ 196 w 196"/>
                  <a:gd name="T3" fmla="*/ 850 h 850"/>
                  <a:gd name="T4" fmla="*/ 0 w 196"/>
                  <a:gd name="T5" fmla="*/ 850 h 850"/>
                  <a:gd name="T6" fmla="*/ 0 w 196"/>
                  <a:gd name="T7" fmla="*/ 181 h 850"/>
                  <a:gd name="T8" fmla="*/ 196 w 196"/>
                  <a:gd name="T9" fmla="*/ 0 h 8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6" h="850">
                    <a:moveTo>
                      <a:pt x="196" y="0"/>
                    </a:moveTo>
                    <a:lnTo>
                      <a:pt x="196" y="850"/>
                    </a:lnTo>
                    <a:lnTo>
                      <a:pt x="0" y="850"/>
                    </a:lnTo>
                    <a:lnTo>
                      <a:pt x="0" y="181"/>
                    </a:lnTo>
                    <a:lnTo>
                      <a:pt x="196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30">
                <a:extLst>
                  <a:ext uri="{FF2B5EF4-FFF2-40B4-BE49-F238E27FC236}">
                    <a16:creationId xmlns:a16="http://schemas.microsoft.com/office/drawing/2014/main" id="{41B18B77-6BFA-4E6E-8702-CFC8747E8F6D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301291" y="625475"/>
                <a:ext cx="493713" cy="660400"/>
              </a:xfrm>
              <a:custGeom>
                <a:avLst/>
                <a:gdLst>
                  <a:gd name="T0" fmla="*/ 339 w 622"/>
                  <a:gd name="T1" fmla="*/ 302 h 833"/>
                  <a:gd name="T2" fmla="*/ 366 w 622"/>
                  <a:gd name="T3" fmla="*/ 303 h 833"/>
                  <a:gd name="T4" fmla="*/ 419 w 622"/>
                  <a:gd name="T5" fmla="*/ 309 h 833"/>
                  <a:gd name="T6" fmla="*/ 447 w 622"/>
                  <a:gd name="T7" fmla="*/ 315 h 833"/>
                  <a:gd name="T8" fmla="*/ 493 w 622"/>
                  <a:gd name="T9" fmla="*/ 332 h 833"/>
                  <a:gd name="T10" fmla="*/ 536 w 622"/>
                  <a:gd name="T11" fmla="*/ 358 h 833"/>
                  <a:gd name="T12" fmla="*/ 546 w 622"/>
                  <a:gd name="T13" fmla="*/ 366 h 833"/>
                  <a:gd name="T14" fmla="*/ 564 w 622"/>
                  <a:gd name="T15" fmla="*/ 383 h 833"/>
                  <a:gd name="T16" fmla="*/ 580 w 622"/>
                  <a:gd name="T17" fmla="*/ 404 h 833"/>
                  <a:gd name="T18" fmla="*/ 594 w 622"/>
                  <a:gd name="T19" fmla="*/ 428 h 833"/>
                  <a:gd name="T20" fmla="*/ 600 w 622"/>
                  <a:gd name="T21" fmla="*/ 440 h 833"/>
                  <a:gd name="T22" fmla="*/ 609 w 622"/>
                  <a:gd name="T23" fmla="*/ 468 h 833"/>
                  <a:gd name="T24" fmla="*/ 616 w 622"/>
                  <a:gd name="T25" fmla="*/ 500 h 833"/>
                  <a:gd name="T26" fmla="*/ 620 w 622"/>
                  <a:gd name="T27" fmla="*/ 532 h 833"/>
                  <a:gd name="T28" fmla="*/ 622 w 622"/>
                  <a:gd name="T29" fmla="*/ 568 h 833"/>
                  <a:gd name="T30" fmla="*/ 621 w 622"/>
                  <a:gd name="T31" fmla="*/ 586 h 833"/>
                  <a:gd name="T32" fmla="*/ 619 w 622"/>
                  <a:gd name="T33" fmla="*/ 620 h 833"/>
                  <a:gd name="T34" fmla="*/ 613 w 622"/>
                  <a:gd name="T35" fmla="*/ 653 h 833"/>
                  <a:gd name="T36" fmla="*/ 605 w 622"/>
                  <a:gd name="T37" fmla="*/ 682 h 833"/>
                  <a:gd name="T38" fmla="*/ 600 w 622"/>
                  <a:gd name="T39" fmla="*/ 695 h 833"/>
                  <a:gd name="T40" fmla="*/ 587 w 622"/>
                  <a:gd name="T41" fmla="*/ 720 h 833"/>
                  <a:gd name="T42" fmla="*/ 573 w 622"/>
                  <a:gd name="T43" fmla="*/ 742 h 833"/>
                  <a:gd name="T44" fmla="*/ 555 w 622"/>
                  <a:gd name="T45" fmla="*/ 761 h 833"/>
                  <a:gd name="T46" fmla="*/ 536 w 622"/>
                  <a:gd name="T47" fmla="*/ 779 h 833"/>
                  <a:gd name="T48" fmla="*/ 515 w 622"/>
                  <a:gd name="T49" fmla="*/ 792 h 833"/>
                  <a:gd name="T50" fmla="*/ 470 w 622"/>
                  <a:gd name="T51" fmla="*/ 813 h 833"/>
                  <a:gd name="T52" fmla="*/ 447 w 622"/>
                  <a:gd name="T53" fmla="*/ 820 h 833"/>
                  <a:gd name="T54" fmla="*/ 392 w 622"/>
                  <a:gd name="T55" fmla="*/ 830 h 833"/>
                  <a:gd name="T56" fmla="*/ 338 w 622"/>
                  <a:gd name="T57" fmla="*/ 833 h 833"/>
                  <a:gd name="T58" fmla="*/ 0 w 622"/>
                  <a:gd name="T59" fmla="*/ 0 h 833"/>
                  <a:gd name="T60" fmla="*/ 558 w 622"/>
                  <a:gd name="T61" fmla="*/ 187 h 833"/>
                  <a:gd name="T62" fmla="*/ 187 w 622"/>
                  <a:gd name="T63" fmla="*/ 302 h 833"/>
                  <a:gd name="T64" fmla="*/ 338 w 622"/>
                  <a:gd name="T65" fmla="*/ 661 h 833"/>
                  <a:gd name="T66" fmla="*/ 349 w 622"/>
                  <a:gd name="T67" fmla="*/ 660 h 833"/>
                  <a:gd name="T68" fmla="*/ 368 w 622"/>
                  <a:gd name="T69" fmla="*/ 658 h 833"/>
                  <a:gd name="T70" fmla="*/ 384 w 622"/>
                  <a:gd name="T71" fmla="*/ 652 h 833"/>
                  <a:gd name="T72" fmla="*/ 397 w 622"/>
                  <a:gd name="T73" fmla="*/ 644 h 833"/>
                  <a:gd name="T74" fmla="*/ 408 w 622"/>
                  <a:gd name="T75" fmla="*/ 634 h 833"/>
                  <a:gd name="T76" fmla="*/ 416 w 622"/>
                  <a:gd name="T77" fmla="*/ 620 h 833"/>
                  <a:gd name="T78" fmla="*/ 422 w 622"/>
                  <a:gd name="T79" fmla="*/ 604 h 833"/>
                  <a:gd name="T80" fmla="*/ 424 w 622"/>
                  <a:gd name="T81" fmla="*/ 586 h 833"/>
                  <a:gd name="T82" fmla="*/ 425 w 622"/>
                  <a:gd name="T83" fmla="*/ 575 h 833"/>
                  <a:gd name="T84" fmla="*/ 423 w 622"/>
                  <a:gd name="T85" fmla="*/ 556 h 833"/>
                  <a:gd name="T86" fmla="*/ 419 w 622"/>
                  <a:gd name="T87" fmla="*/ 539 h 833"/>
                  <a:gd name="T88" fmla="*/ 413 w 622"/>
                  <a:gd name="T89" fmla="*/ 524 h 833"/>
                  <a:gd name="T90" fmla="*/ 403 w 622"/>
                  <a:gd name="T91" fmla="*/ 512 h 833"/>
                  <a:gd name="T92" fmla="*/ 391 w 622"/>
                  <a:gd name="T93" fmla="*/ 503 h 833"/>
                  <a:gd name="T94" fmla="*/ 376 w 622"/>
                  <a:gd name="T95" fmla="*/ 497 h 833"/>
                  <a:gd name="T96" fmla="*/ 358 w 622"/>
                  <a:gd name="T97" fmla="*/ 493 h 833"/>
                  <a:gd name="T98" fmla="*/ 338 w 622"/>
                  <a:gd name="T99" fmla="*/ 491 h 833"/>
                  <a:gd name="T100" fmla="*/ 187 w 622"/>
                  <a:gd name="T101" fmla="*/ 661 h 8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622" h="833">
                    <a:moveTo>
                      <a:pt x="187" y="302"/>
                    </a:moveTo>
                    <a:lnTo>
                      <a:pt x="339" y="302"/>
                    </a:lnTo>
                    <a:lnTo>
                      <a:pt x="339" y="302"/>
                    </a:lnTo>
                    <a:lnTo>
                      <a:pt x="366" y="303"/>
                    </a:lnTo>
                    <a:lnTo>
                      <a:pt x="393" y="305"/>
                    </a:lnTo>
                    <a:lnTo>
                      <a:pt x="419" y="309"/>
                    </a:lnTo>
                    <a:lnTo>
                      <a:pt x="447" y="315"/>
                    </a:lnTo>
                    <a:lnTo>
                      <a:pt x="447" y="315"/>
                    </a:lnTo>
                    <a:lnTo>
                      <a:pt x="471" y="323"/>
                    </a:lnTo>
                    <a:lnTo>
                      <a:pt x="493" y="332"/>
                    </a:lnTo>
                    <a:lnTo>
                      <a:pt x="515" y="345"/>
                    </a:lnTo>
                    <a:lnTo>
                      <a:pt x="536" y="358"/>
                    </a:lnTo>
                    <a:lnTo>
                      <a:pt x="536" y="358"/>
                    </a:lnTo>
                    <a:lnTo>
                      <a:pt x="546" y="366"/>
                    </a:lnTo>
                    <a:lnTo>
                      <a:pt x="555" y="374"/>
                    </a:lnTo>
                    <a:lnTo>
                      <a:pt x="564" y="383"/>
                    </a:lnTo>
                    <a:lnTo>
                      <a:pt x="573" y="393"/>
                    </a:lnTo>
                    <a:lnTo>
                      <a:pt x="580" y="404"/>
                    </a:lnTo>
                    <a:lnTo>
                      <a:pt x="587" y="415"/>
                    </a:lnTo>
                    <a:lnTo>
                      <a:pt x="594" y="428"/>
                    </a:lnTo>
                    <a:lnTo>
                      <a:pt x="600" y="440"/>
                    </a:lnTo>
                    <a:lnTo>
                      <a:pt x="600" y="440"/>
                    </a:lnTo>
                    <a:lnTo>
                      <a:pt x="605" y="454"/>
                    </a:lnTo>
                    <a:lnTo>
                      <a:pt x="609" y="468"/>
                    </a:lnTo>
                    <a:lnTo>
                      <a:pt x="613" y="484"/>
                    </a:lnTo>
                    <a:lnTo>
                      <a:pt x="616" y="500"/>
                    </a:lnTo>
                    <a:lnTo>
                      <a:pt x="619" y="516"/>
                    </a:lnTo>
                    <a:lnTo>
                      <a:pt x="620" y="532"/>
                    </a:lnTo>
                    <a:lnTo>
                      <a:pt x="621" y="550"/>
                    </a:lnTo>
                    <a:lnTo>
                      <a:pt x="622" y="568"/>
                    </a:lnTo>
                    <a:lnTo>
                      <a:pt x="622" y="568"/>
                    </a:lnTo>
                    <a:lnTo>
                      <a:pt x="621" y="586"/>
                    </a:lnTo>
                    <a:lnTo>
                      <a:pt x="620" y="603"/>
                    </a:lnTo>
                    <a:lnTo>
                      <a:pt x="619" y="620"/>
                    </a:lnTo>
                    <a:lnTo>
                      <a:pt x="616" y="637"/>
                    </a:lnTo>
                    <a:lnTo>
                      <a:pt x="613" y="653"/>
                    </a:lnTo>
                    <a:lnTo>
                      <a:pt x="609" y="668"/>
                    </a:lnTo>
                    <a:lnTo>
                      <a:pt x="605" y="682"/>
                    </a:lnTo>
                    <a:lnTo>
                      <a:pt x="600" y="695"/>
                    </a:lnTo>
                    <a:lnTo>
                      <a:pt x="600" y="695"/>
                    </a:lnTo>
                    <a:lnTo>
                      <a:pt x="594" y="708"/>
                    </a:lnTo>
                    <a:lnTo>
                      <a:pt x="587" y="720"/>
                    </a:lnTo>
                    <a:lnTo>
                      <a:pt x="580" y="732"/>
                    </a:lnTo>
                    <a:lnTo>
                      <a:pt x="573" y="742"/>
                    </a:lnTo>
                    <a:lnTo>
                      <a:pt x="564" y="752"/>
                    </a:lnTo>
                    <a:lnTo>
                      <a:pt x="555" y="761"/>
                    </a:lnTo>
                    <a:lnTo>
                      <a:pt x="546" y="771"/>
                    </a:lnTo>
                    <a:lnTo>
                      <a:pt x="536" y="779"/>
                    </a:lnTo>
                    <a:lnTo>
                      <a:pt x="536" y="779"/>
                    </a:lnTo>
                    <a:lnTo>
                      <a:pt x="515" y="792"/>
                    </a:lnTo>
                    <a:lnTo>
                      <a:pt x="493" y="804"/>
                    </a:lnTo>
                    <a:lnTo>
                      <a:pt x="470" y="813"/>
                    </a:lnTo>
                    <a:lnTo>
                      <a:pt x="447" y="820"/>
                    </a:lnTo>
                    <a:lnTo>
                      <a:pt x="447" y="820"/>
                    </a:lnTo>
                    <a:lnTo>
                      <a:pt x="419" y="826"/>
                    </a:lnTo>
                    <a:lnTo>
                      <a:pt x="392" y="830"/>
                    </a:lnTo>
                    <a:lnTo>
                      <a:pt x="365" y="833"/>
                    </a:lnTo>
                    <a:lnTo>
                      <a:pt x="338" y="833"/>
                    </a:lnTo>
                    <a:lnTo>
                      <a:pt x="0" y="833"/>
                    </a:lnTo>
                    <a:lnTo>
                      <a:pt x="0" y="0"/>
                    </a:lnTo>
                    <a:lnTo>
                      <a:pt x="558" y="0"/>
                    </a:lnTo>
                    <a:lnTo>
                      <a:pt x="558" y="187"/>
                    </a:lnTo>
                    <a:lnTo>
                      <a:pt x="187" y="187"/>
                    </a:lnTo>
                    <a:lnTo>
                      <a:pt x="187" y="302"/>
                    </a:lnTo>
                    <a:close/>
                    <a:moveTo>
                      <a:pt x="187" y="661"/>
                    </a:moveTo>
                    <a:lnTo>
                      <a:pt x="338" y="661"/>
                    </a:lnTo>
                    <a:lnTo>
                      <a:pt x="338" y="661"/>
                    </a:lnTo>
                    <a:lnTo>
                      <a:pt x="349" y="660"/>
                    </a:lnTo>
                    <a:lnTo>
                      <a:pt x="358" y="659"/>
                    </a:lnTo>
                    <a:lnTo>
                      <a:pt x="368" y="658"/>
                    </a:lnTo>
                    <a:lnTo>
                      <a:pt x="376" y="655"/>
                    </a:lnTo>
                    <a:lnTo>
                      <a:pt x="384" y="652"/>
                    </a:lnTo>
                    <a:lnTo>
                      <a:pt x="391" y="649"/>
                    </a:lnTo>
                    <a:lnTo>
                      <a:pt x="397" y="644"/>
                    </a:lnTo>
                    <a:lnTo>
                      <a:pt x="403" y="640"/>
                    </a:lnTo>
                    <a:lnTo>
                      <a:pt x="408" y="634"/>
                    </a:lnTo>
                    <a:lnTo>
                      <a:pt x="413" y="628"/>
                    </a:lnTo>
                    <a:lnTo>
                      <a:pt x="416" y="620"/>
                    </a:lnTo>
                    <a:lnTo>
                      <a:pt x="419" y="612"/>
                    </a:lnTo>
                    <a:lnTo>
                      <a:pt x="422" y="604"/>
                    </a:lnTo>
                    <a:lnTo>
                      <a:pt x="423" y="595"/>
                    </a:lnTo>
                    <a:lnTo>
                      <a:pt x="424" y="586"/>
                    </a:lnTo>
                    <a:lnTo>
                      <a:pt x="425" y="575"/>
                    </a:lnTo>
                    <a:lnTo>
                      <a:pt x="425" y="575"/>
                    </a:lnTo>
                    <a:lnTo>
                      <a:pt x="424" y="565"/>
                    </a:lnTo>
                    <a:lnTo>
                      <a:pt x="423" y="556"/>
                    </a:lnTo>
                    <a:lnTo>
                      <a:pt x="422" y="547"/>
                    </a:lnTo>
                    <a:lnTo>
                      <a:pt x="419" y="539"/>
                    </a:lnTo>
                    <a:lnTo>
                      <a:pt x="416" y="531"/>
                    </a:lnTo>
                    <a:lnTo>
                      <a:pt x="413" y="524"/>
                    </a:lnTo>
                    <a:lnTo>
                      <a:pt x="408" y="518"/>
                    </a:lnTo>
                    <a:lnTo>
                      <a:pt x="403" y="512"/>
                    </a:lnTo>
                    <a:lnTo>
                      <a:pt x="397" y="507"/>
                    </a:lnTo>
                    <a:lnTo>
                      <a:pt x="391" y="503"/>
                    </a:lnTo>
                    <a:lnTo>
                      <a:pt x="384" y="500"/>
                    </a:lnTo>
                    <a:lnTo>
                      <a:pt x="376" y="497"/>
                    </a:lnTo>
                    <a:lnTo>
                      <a:pt x="368" y="494"/>
                    </a:lnTo>
                    <a:lnTo>
                      <a:pt x="358" y="493"/>
                    </a:lnTo>
                    <a:lnTo>
                      <a:pt x="349" y="492"/>
                    </a:lnTo>
                    <a:lnTo>
                      <a:pt x="338" y="491"/>
                    </a:lnTo>
                    <a:lnTo>
                      <a:pt x="187" y="491"/>
                    </a:lnTo>
                    <a:lnTo>
                      <a:pt x="187" y="66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19485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5123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close up of some leaves&#10;&#10;Description automatically generated with low confidence">
            <a:extLst>
              <a:ext uri="{FF2B5EF4-FFF2-40B4-BE49-F238E27FC236}">
                <a16:creationId xmlns:a16="http://schemas.microsoft.com/office/drawing/2014/main" id="{538462AE-33D5-793F-CC0F-874634670DF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9340" y="2778187"/>
            <a:ext cx="4442659" cy="4079812"/>
          </a:xfrm>
          <a:prstGeom prst="rect">
            <a:avLst/>
          </a:prstGeom>
        </p:spPr>
      </p:pic>
      <p:pic>
        <p:nvPicPr>
          <p:cNvPr id="14" name="Рисунок 9">
            <a:extLst>
              <a:ext uri="{FF2B5EF4-FFF2-40B4-BE49-F238E27FC236}">
                <a16:creationId xmlns:a16="http://schemas.microsoft.com/office/drawing/2014/main" id="{EA57C1B9-61CD-0A42-A41F-41C6C8F674B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 rot="5400000" flipH="1">
            <a:off x="-2576074" y="2576071"/>
            <a:ext cx="6867440" cy="1715294"/>
          </a:xfrm>
          <a:prstGeom prst="rect">
            <a:avLst/>
          </a:prstGeom>
        </p:spPr>
      </p:pic>
      <p:sp>
        <p:nvSpPr>
          <p:cNvPr id="42" name="Title 1">
            <a:extLst>
              <a:ext uri="{FF2B5EF4-FFF2-40B4-BE49-F238E27FC236}">
                <a16:creationId xmlns:a16="http://schemas.microsoft.com/office/drawing/2014/main" id="{24A50C3D-B3DF-4709-B488-A99A88568CF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667743" y="2155923"/>
            <a:ext cx="7448353" cy="1273077"/>
          </a:xfrm>
        </p:spPr>
        <p:txBody>
          <a:bodyPr/>
          <a:lstStyle>
            <a:lvl1pPr>
              <a:lnSpc>
                <a:spcPts val="4000"/>
              </a:lnSpc>
              <a:defRPr sz="3200" b="1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GB" dirty="0"/>
              <a:t>TITLE CAPS</a:t>
            </a:r>
            <a:br>
              <a:rPr lang="en-GB" dirty="0"/>
            </a:br>
            <a:r>
              <a:rPr lang="en-GB" dirty="0"/>
              <a:t>(MONTSERRAT 32 POINT)</a:t>
            </a:r>
          </a:p>
        </p:txBody>
      </p:sp>
      <p:sp>
        <p:nvSpPr>
          <p:cNvPr id="43" name="Text Placeholder 73">
            <a:extLst>
              <a:ext uri="{FF2B5EF4-FFF2-40B4-BE49-F238E27FC236}">
                <a16:creationId xmlns:a16="http://schemas.microsoft.com/office/drawing/2014/main" id="{01EE7D78-F9C6-47EF-B2FB-750E92C25882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67743" y="3383279"/>
            <a:ext cx="5210175" cy="35964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Subtitle (Montserrat 20 point)</a:t>
            </a:r>
          </a:p>
        </p:txBody>
      </p:sp>
      <p:sp>
        <p:nvSpPr>
          <p:cNvPr id="44" name="Text Placeholder 77">
            <a:extLst>
              <a:ext uri="{FF2B5EF4-FFF2-40B4-BE49-F238E27FC236}">
                <a16:creationId xmlns:a16="http://schemas.microsoft.com/office/drawing/2014/main" id="{E8C7E20F-E2E6-45D5-A77F-A9A2F3C54E2B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67743" y="3822733"/>
            <a:ext cx="5210175" cy="326348"/>
          </a:xfrm>
        </p:spPr>
        <p:txBody>
          <a:bodyPr/>
          <a:lstStyle>
            <a:lvl1pPr marL="0" indent="0">
              <a:buNone/>
              <a:defRPr sz="1600" b="0" i="0" u="none">
                <a:latin typeface="Montserrat Alternates SemiBold" panose="00000700000000000000" pitchFamily="50" charset="-52"/>
              </a:defRPr>
            </a:lvl1pPr>
          </a:lstStyle>
          <a:p>
            <a:pPr>
              <a:lnSpc>
                <a:spcPts val="2400"/>
              </a:lnSpc>
              <a:spcBef>
                <a:spcPts val="0"/>
              </a:spcBef>
              <a:spcAft>
                <a:spcPts val="600"/>
              </a:spcAft>
            </a:pPr>
            <a:r>
              <a:rPr lang="en-IN" b="1">
                <a:solidFill>
                  <a:schemeClr val="bg1"/>
                </a:solidFill>
                <a:latin typeface="Montserrat" pitchFamily="2" charset="77"/>
              </a:rPr>
              <a:t>XX Month 200X (Montserrat bold 16 point)</a:t>
            </a:r>
            <a:endParaRPr lang="en-IN" b="1" dirty="0">
              <a:solidFill>
                <a:schemeClr val="bg1"/>
              </a:solidFill>
              <a:latin typeface="Montserrat" pitchFamily="2" charset="77"/>
            </a:endParaRP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D4964401-19B0-48BE-B844-5B8ABBF74C34}"/>
              </a:ext>
            </a:extLst>
          </p:cNvPr>
          <p:cNvGrpSpPr/>
          <p:nvPr userDrawn="1"/>
        </p:nvGrpSpPr>
        <p:grpSpPr>
          <a:xfrm>
            <a:off x="10346853" y="658368"/>
            <a:ext cx="1319534" cy="970407"/>
            <a:chOff x="10332720" y="658368"/>
            <a:chExt cx="1319534" cy="970407"/>
          </a:xfrm>
        </p:grpSpPr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4BD878F6-6827-4280-A545-6DEC34326CE9}"/>
                </a:ext>
              </a:extLst>
            </p:cNvPr>
            <p:cNvGrpSpPr/>
            <p:nvPr userDrawn="1"/>
          </p:nvGrpSpPr>
          <p:grpSpPr>
            <a:xfrm>
              <a:off x="10344154" y="1376363"/>
              <a:ext cx="1308100" cy="252412"/>
              <a:chOff x="10344154" y="1376363"/>
              <a:chExt cx="1308100" cy="252412"/>
            </a:xfrm>
          </p:grpSpPr>
          <p:sp>
            <p:nvSpPr>
              <p:cNvPr id="78" name="Freeform 5">
                <a:extLst>
                  <a:ext uri="{FF2B5EF4-FFF2-40B4-BE49-F238E27FC236}">
                    <a16:creationId xmlns:a16="http://schemas.microsoft.com/office/drawing/2014/main" id="{47257F57-636D-43AD-B5B4-8F22398495F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344154" y="1379538"/>
                <a:ext cx="85725" cy="90487"/>
              </a:xfrm>
              <a:custGeom>
                <a:avLst/>
                <a:gdLst>
                  <a:gd name="T0" fmla="*/ 109 w 109"/>
                  <a:gd name="T1" fmla="*/ 0 h 115"/>
                  <a:gd name="T2" fmla="*/ 109 w 109"/>
                  <a:gd name="T3" fmla="*/ 115 h 115"/>
                  <a:gd name="T4" fmla="*/ 77 w 109"/>
                  <a:gd name="T5" fmla="*/ 115 h 115"/>
                  <a:gd name="T6" fmla="*/ 77 w 109"/>
                  <a:gd name="T7" fmla="*/ 69 h 115"/>
                  <a:gd name="T8" fmla="*/ 32 w 109"/>
                  <a:gd name="T9" fmla="*/ 69 h 115"/>
                  <a:gd name="T10" fmla="*/ 32 w 109"/>
                  <a:gd name="T11" fmla="*/ 115 h 115"/>
                  <a:gd name="T12" fmla="*/ 0 w 109"/>
                  <a:gd name="T13" fmla="*/ 115 h 115"/>
                  <a:gd name="T14" fmla="*/ 0 w 109"/>
                  <a:gd name="T15" fmla="*/ 0 h 115"/>
                  <a:gd name="T16" fmla="*/ 32 w 109"/>
                  <a:gd name="T17" fmla="*/ 0 h 115"/>
                  <a:gd name="T18" fmla="*/ 32 w 109"/>
                  <a:gd name="T19" fmla="*/ 43 h 115"/>
                  <a:gd name="T20" fmla="*/ 77 w 109"/>
                  <a:gd name="T21" fmla="*/ 43 h 115"/>
                  <a:gd name="T22" fmla="*/ 77 w 109"/>
                  <a:gd name="T23" fmla="*/ 0 h 115"/>
                  <a:gd name="T24" fmla="*/ 109 w 109"/>
                  <a:gd name="T25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9" h="115">
                    <a:moveTo>
                      <a:pt x="109" y="0"/>
                    </a:moveTo>
                    <a:lnTo>
                      <a:pt x="109" y="115"/>
                    </a:lnTo>
                    <a:lnTo>
                      <a:pt x="77" y="115"/>
                    </a:lnTo>
                    <a:lnTo>
                      <a:pt x="77" y="69"/>
                    </a:lnTo>
                    <a:lnTo>
                      <a:pt x="32" y="69"/>
                    </a:lnTo>
                    <a:lnTo>
                      <a:pt x="3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2" y="0"/>
                    </a:lnTo>
                    <a:lnTo>
                      <a:pt x="32" y="43"/>
                    </a:lnTo>
                    <a:lnTo>
                      <a:pt x="77" y="43"/>
                    </a:lnTo>
                    <a:lnTo>
                      <a:pt x="77" y="0"/>
                    </a:lnTo>
                    <a:lnTo>
                      <a:pt x="109" y="0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6">
                <a:extLst>
                  <a:ext uri="{FF2B5EF4-FFF2-40B4-BE49-F238E27FC236}">
                    <a16:creationId xmlns:a16="http://schemas.microsoft.com/office/drawing/2014/main" id="{9D80199F-A394-4ECD-8681-D6D12AD1B6C8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447341" y="1377950"/>
                <a:ext cx="101600" cy="93662"/>
              </a:xfrm>
              <a:custGeom>
                <a:avLst/>
                <a:gdLst>
                  <a:gd name="T0" fmla="*/ 31 w 128"/>
                  <a:gd name="T1" fmla="*/ 112 h 119"/>
                  <a:gd name="T2" fmla="*/ 21 w 128"/>
                  <a:gd name="T3" fmla="*/ 105 h 119"/>
                  <a:gd name="T4" fmla="*/ 6 w 128"/>
                  <a:gd name="T5" fmla="*/ 87 h 119"/>
                  <a:gd name="T6" fmla="*/ 0 w 128"/>
                  <a:gd name="T7" fmla="*/ 65 h 119"/>
                  <a:gd name="T8" fmla="*/ 2 w 128"/>
                  <a:gd name="T9" fmla="*/ 43 h 119"/>
                  <a:gd name="T10" fmla="*/ 6 w 128"/>
                  <a:gd name="T11" fmla="*/ 32 h 119"/>
                  <a:gd name="T12" fmla="*/ 11 w 128"/>
                  <a:gd name="T13" fmla="*/ 24 h 119"/>
                  <a:gd name="T14" fmla="*/ 23 w 128"/>
                  <a:gd name="T15" fmla="*/ 12 h 119"/>
                  <a:gd name="T16" fmla="*/ 31 w 128"/>
                  <a:gd name="T17" fmla="*/ 7 h 119"/>
                  <a:gd name="T18" fmla="*/ 46 w 128"/>
                  <a:gd name="T19" fmla="*/ 2 h 119"/>
                  <a:gd name="T20" fmla="*/ 64 w 128"/>
                  <a:gd name="T21" fmla="*/ 0 h 119"/>
                  <a:gd name="T22" fmla="*/ 81 w 128"/>
                  <a:gd name="T23" fmla="*/ 2 h 119"/>
                  <a:gd name="T24" fmla="*/ 97 w 128"/>
                  <a:gd name="T25" fmla="*/ 7 h 119"/>
                  <a:gd name="T26" fmla="*/ 102 w 128"/>
                  <a:gd name="T27" fmla="*/ 10 h 119"/>
                  <a:gd name="T28" fmla="*/ 115 w 128"/>
                  <a:gd name="T29" fmla="*/ 22 h 119"/>
                  <a:gd name="T30" fmla="*/ 125 w 128"/>
                  <a:gd name="T31" fmla="*/ 42 h 119"/>
                  <a:gd name="T32" fmla="*/ 128 w 128"/>
                  <a:gd name="T33" fmla="*/ 64 h 119"/>
                  <a:gd name="T34" fmla="*/ 124 w 128"/>
                  <a:gd name="T35" fmla="*/ 81 h 119"/>
                  <a:gd name="T36" fmla="*/ 121 w 128"/>
                  <a:gd name="T37" fmla="*/ 86 h 119"/>
                  <a:gd name="T38" fmla="*/ 111 w 128"/>
                  <a:gd name="T39" fmla="*/ 100 h 119"/>
                  <a:gd name="T40" fmla="*/ 97 w 128"/>
                  <a:gd name="T41" fmla="*/ 112 h 119"/>
                  <a:gd name="T42" fmla="*/ 89 w 128"/>
                  <a:gd name="T43" fmla="*/ 115 h 119"/>
                  <a:gd name="T44" fmla="*/ 72 w 128"/>
                  <a:gd name="T45" fmla="*/ 119 h 119"/>
                  <a:gd name="T46" fmla="*/ 55 w 128"/>
                  <a:gd name="T47" fmla="*/ 119 h 119"/>
                  <a:gd name="T48" fmla="*/ 38 w 128"/>
                  <a:gd name="T49" fmla="*/ 115 h 119"/>
                  <a:gd name="T50" fmla="*/ 31 w 128"/>
                  <a:gd name="T51" fmla="*/ 112 h 119"/>
                  <a:gd name="T52" fmla="*/ 80 w 128"/>
                  <a:gd name="T53" fmla="*/ 87 h 119"/>
                  <a:gd name="T54" fmla="*/ 91 w 128"/>
                  <a:gd name="T55" fmla="*/ 76 h 119"/>
                  <a:gd name="T56" fmla="*/ 94 w 128"/>
                  <a:gd name="T57" fmla="*/ 68 h 119"/>
                  <a:gd name="T58" fmla="*/ 94 w 128"/>
                  <a:gd name="T59" fmla="*/ 50 h 119"/>
                  <a:gd name="T60" fmla="*/ 91 w 128"/>
                  <a:gd name="T61" fmla="*/ 42 h 119"/>
                  <a:gd name="T62" fmla="*/ 80 w 128"/>
                  <a:gd name="T63" fmla="*/ 30 h 119"/>
                  <a:gd name="T64" fmla="*/ 72 w 128"/>
                  <a:gd name="T65" fmla="*/ 27 h 119"/>
                  <a:gd name="T66" fmla="*/ 55 w 128"/>
                  <a:gd name="T67" fmla="*/ 27 h 119"/>
                  <a:gd name="T68" fmla="*/ 47 w 128"/>
                  <a:gd name="T69" fmla="*/ 30 h 119"/>
                  <a:gd name="T70" fmla="*/ 36 w 128"/>
                  <a:gd name="T71" fmla="*/ 42 h 119"/>
                  <a:gd name="T72" fmla="*/ 33 w 128"/>
                  <a:gd name="T73" fmla="*/ 50 h 119"/>
                  <a:gd name="T74" fmla="*/ 33 w 128"/>
                  <a:gd name="T75" fmla="*/ 68 h 119"/>
                  <a:gd name="T76" fmla="*/ 36 w 128"/>
                  <a:gd name="T77" fmla="*/ 76 h 119"/>
                  <a:gd name="T78" fmla="*/ 47 w 128"/>
                  <a:gd name="T79" fmla="*/ 87 h 119"/>
                  <a:gd name="T80" fmla="*/ 55 w 128"/>
                  <a:gd name="T81" fmla="*/ 90 h 119"/>
                  <a:gd name="T82" fmla="*/ 72 w 128"/>
                  <a:gd name="T83" fmla="*/ 90 h 119"/>
                  <a:gd name="T84" fmla="*/ 80 w 128"/>
                  <a:gd name="T85" fmla="*/ 87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28" h="119">
                    <a:moveTo>
                      <a:pt x="31" y="112"/>
                    </a:moveTo>
                    <a:lnTo>
                      <a:pt x="31" y="112"/>
                    </a:lnTo>
                    <a:lnTo>
                      <a:pt x="25" y="109"/>
                    </a:lnTo>
                    <a:lnTo>
                      <a:pt x="21" y="105"/>
                    </a:lnTo>
                    <a:lnTo>
                      <a:pt x="13" y="96"/>
                    </a:lnTo>
                    <a:lnTo>
                      <a:pt x="6" y="87"/>
                    </a:lnTo>
                    <a:lnTo>
                      <a:pt x="2" y="76"/>
                    </a:lnTo>
                    <a:lnTo>
                      <a:pt x="0" y="65"/>
                    </a:lnTo>
                    <a:lnTo>
                      <a:pt x="0" y="54"/>
                    </a:lnTo>
                    <a:lnTo>
                      <a:pt x="2" y="43"/>
                    </a:lnTo>
                    <a:lnTo>
                      <a:pt x="4" y="37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11" y="24"/>
                    </a:lnTo>
                    <a:lnTo>
                      <a:pt x="16" y="18"/>
                    </a:lnTo>
                    <a:lnTo>
                      <a:pt x="23" y="12"/>
                    </a:lnTo>
                    <a:lnTo>
                      <a:pt x="31" y="7"/>
                    </a:lnTo>
                    <a:lnTo>
                      <a:pt x="31" y="7"/>
                    </a:lnTo>
                    <a:lnTo>
                      <a:pt x="38" y="4"/>
                    </a:lnTo>
                    <a:lnTo>
                      <a:pt x="46" y="2"/>
                    </a:lnTo>
                    <a:lnTo>
                      <a:pt x="55" y="0"/>
                    </a:lnTo>
                    <a:lnTo>
                      <a:pt x="64" y="0"/>
                    </a:lnTo>
                    <a:lnTo>
                      <a:pt x="72" y="0"/>
                    </a:lnTo>
                    <a:lnTo>
                      <a:pt x="81" y="2"/>
                    </a:lnTo>
                    <a:lnTo>
                      <a:pt x="89" y="4"/>
                    </a:lnTo>
                    <a:lnTo>
                      <a:pt x="97" y="7"/>
                    </a:lnTo>
                    <a:lnTo>
                      <a:pt x="97" y="7"/>
                    </a:lnTo>
                    <a:lnTo>
                      <a:pt x="102" y="10"/>
                    </a:lnTo>
                    <a:lnTo>
                      <a:pt x="106" y="14"/>
                    </a:lnTo>
                    <a:lnTo>
                      <a:pt x="115" y="22"/>
                    </a:lnTo>
                    <a:lnTo>
                      <a:pt x="121" y="31"/>
                    </a:lnTo>
                    <a:lnTo>
                      <a:pt x="125" y="42"/>
                    </a:lnTo>
                    <a:lnTo>
                      <a:pt x="127" y="53"/>
                    </a:lnTo>
                    <a:lnTo>
                      <a:pt x="128" y="64"/>
                    </a:lnTo>
                    <a:lnTo>
                      <a:pt x="125" y="75"/>
                    </a:lnTo>
                    <a:lnTo>
                      <a:pt x="124" y="81"/>
                    </a:lnTo>
                    <a:lnTo>
                      <a:pt x="121" y="86"/>
                    </a:lnTo>
                    <a:lnTo>
                      <a:pt x="121" y="86"/>
                    </a:lnTo>
                    <a:lnTo>
                      <a:pt x="116" y="94"/>
                    </a:lnTo>
                    <a:lnTo>
                      <a:pt x="111" y="100"/>
                    </a:lnTo>
                    <a:lnTo>
                      <a:pt x="104" y="107"/>
                    </a:lnTo>
                    <a:lnTo>
                      <a:pt x="97" y="112"/>
                    </a:lnTo>
                    <a:lnTo>
                      <a:pt x="97" y="112"/>
                    </a:lnTo>
                    <a:lnTo>
                      <a:pt x="89" y="115"/>
                    </a:lnTo>
                    <a:lnTo>
                      <a:pt x="81" y="117"/>
                    </a:lnTo>
                    <a:lnTo>
                      <a:pt x="72" y="119"/>
                    </a:lnTo>
                    <a:lnTo>
                      <a:pt x="64" y="119"/>
                    </a:lnTo>
                    <a:lnTo>
                      <a:pt x="55" y="119"/>
                    </a:lnTo>
                    <a:lnTo>
                      <a:pt x="46" y="117"/>
                    </a:lnTo>
                    <a:lnTo>
                      <a:pt x="38" y="115"/>
                    </a:lnTo>
                    <a:lnTo>
                      <a:pt x="31" y="112"/>
                    </a:lnTo>
                    <a:lnTo>
                      <a:pt x="31" y="112"/>
                    </a:lnTo>
                    <a:close/>
                    <a:moveTo>
                      <a:pt x="80" y="87"/>
                    </a:moveTo>
                    <a:lnTo>
                      <a:pt x="80" y="87"/>
                    </a:lnTo>
                    <a:lnTo>
                      <a:pt x="86" y="82"/>
                    </a:lnTo>
                    <a:lnTo>
                      <a:pt x="91" y="76"/>
                    </a:lnTo>
                    <a:lnTo>
                      <a:pt x="91" y="76"/>
                    </a:lnTo>
                    <a:lnTo>
                      <a:pt x="94" y="68"/>
                    </a:lnTo>
                    <a:lnTo>
                      <a:pt x="95" y="59"/>
                    </a:lnTo>
                    <a:lnTo>
                      <a:pt x="94" y="50"/>
                    </a:lnTo>
                    <a:lnTo>
                      <a:pt x="91" y="42"/>
                    </a:lnTo>
                    <a:lnTo>
                      <a:pt x="91" y="42"/>
                    </a:lnTo>
                    <a:lnTo>
                      <a:pt x="86" y="35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72" y="27"/>
                    </a:lnTo>
                    <a:lnTo>
                      <a:pt x="64" y="26"/>
                    </a:lnTo>
                    <a:lnTo>
                      <a:pt x="55" y="27"/>
                    </a:lnTo>
                    <a:lnTo>
                      <a:pt x="47" y="30"/>
                    </a:lnTo>
                    <a:lnTo>
                      <a:pt x="47" y="30"/>
                    </a:lnTo>
                    <a:lnTo>
                      <a:pt x="41" y="35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3" y="50"/>
                    </a:lnTo>
                    <a:lnTo>
                      <a:pt x="32" y="59"/>
                    </a:lnTo>
                    <a:lnTo>
                      <a:pt x="33" y="68"/>
                    </a:lnTo>
                    <a:lnTo>
                      <a:pt x="36" y="76"/>
                    </a:lnTo>
                    <a:lnTo>
                      <a:pt x="36" y="76"/>
                    </a:lnTo>
                    <a:lnTo>
                      <a:pt x="41" y="82"/>
                    </a:lnTo>
                    <a:lnTo>
                      <a:pt x="47" y="87"/>
                    </a:lnTo>
                    <a:lnTo>
                      <a:pt x="47" y="87"/>
                    </a:lnTo>
                    <a:lnTo>
                      <a:pt x="55" y="90"/>
                    </a:lnTo>
                    <a:lnTo>
                      <a:pt x="64" y="91"/>
                    </a:lnTo>
                    <a:lnTo>
                      <a:pt x="72" y="90"/>
                    </a:lnTo>
                    <a:lnTo>
                      <a:pt x="80" y="87"/>
                    </a:lnTo>
                    <a:lnTo>
                      <a:pt x="80" y="87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7">
                <a:extLst>
                  <a:ext uri="{FF2B5EF4-FFF2-40B4-BE49-F238E27FC236}">
                    <a16:creationId xmlns:a16="http://schemas.microsoft.com/office/drawing/2014/main" id="{BDF2F6E2-C7DF-4603-BECB-03033C5D7FF6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564816" y="1379538"/>
                <a:ext cx="84138" cy="90487"/>
              </a:xfrm>
              <a:custGeom>
                <a:avLst/>
                <a:gdLst>
                  <a:gd name="T0" fmla="*/ 99 w 105"/>
                  <a:gd name="T1" fmla="*/ 64 h 115"/>
                  <a:gd name="T2" fmla="*/ 103 w 105"/>
                  <a:gd name="T3" fmla="*/ 72 h 115"/>
                  <a:gd name="T4" fmla="*/ 105 w 105"/>
                  <a:gd name="T5" fmla="*/ 81 h 115"/>
                  <a:gd name="T6" fmla="*/ 104 w 105"/>
                  <a:gd name="T7" fmla="*/ 88 h 115"/>
                  <a:gd name="T8" fmla="*/ 98 w 105"/>
                  <a:gd name="T9" fmla="*/ 101 h 115"/>
                  <a:gd name="T10" fmla="*/ 93 w 105"/>
                  <a:gd name="T11" fmla="*/ 106 h 115"/>
                  <a:gd name="T12" fmla="*/ 77 w 105"/>
                  <a:gd name="T13" fmla="*/ 113 h 115"/>
                  <a:gd name="T14" fmla="*/ 59 w 105"/>
                  <a:gd name="T15" fmla="*/ 115 h 115"/>
                  <a:gd name="T16" fmla="*/ 0 w 105"/>
                  <a:gd name="T17" fmla="*/ 0 h 115"/>
                  <a:gd name="T18" fmla="*/ 56 w 105"/>
                  <a:gd name="T19" fmla="*/ 0 h 115"/>
                  <a:gd name="T20" fmla="*/ 73 w 105"/>
                  <a:gd name="T21" fmla="*/ 2 h 115"/>
                  <a:gd name="T22" fmla="*/ 88 w 105"/>
                  <a:gd name="T23" fmla="*/ 8 h 115"/>
                  <a:gd name="T24" fmla="*/ 93 w 105"/>
                  <a:gd name="T25" fmla="*/ 12 h 115"/>
                  <a:gd name="T26" fmla="*/ 99 w 105"/>
                  <a:gd name="T27" fmla="*/ 23 h 115"/>
                  <a:gd name="T28" fmla="*/ 99 w 105"/>
                  <a:gd name="T29" fmla="*/ 30 h 115"/>
                  <a:gd name="T30" fmla="*/ 95 w 105"/>
                  <a:gd name="T31" fmla="*/ 45 h 115"/>
                  <a:gd name="T32" fmla="*/ 90 w 105"/>
                  <a:gd name="T33" fmla="*/ 50 h 115"/>
                  <a:gd name="T34" fmla="*/ 84 w 105"/>
                  <a:gd name="T35" fmla="*/ 54 h 115"/>
                  <a:gd name="T36" fmla="*/ 92 w 105"/>
                  <a:gd name="T37" fmla="*/ 58 h 115"/>
                  <a:gd name="T38" fmla="*/ 99 w 105"/>
                  <a:gd name="T39" fmla="*/ 64 h 115"/>
                  <a:gd name="T40" fmla="*/ 32 w 105"/>
                  <a:gd name="T41" fmla="*/ 46 h 115"/>
                  <a:gd name="T42" fmla="*/ 53 w 105"/>
                  <a:gd name="T43" fmla="*/ 46 h 115"/>
                  <a:gd name="T44" fmla="*/ 63 w 105"/>
                  <a:gd name="T45" fmla="*/ 43 h 115"/>
                  <a:gd name="T46" fmla="*/ 67 w 105"/>
                  <a:gd name="T47" fmla="*/ 34 h 115"/>
                  <a:gd name="T48" fmla="*/ 66 w 105"/>
                  <a:gd name="T49" fmla="*/ 29 h 115"/>
                  <a:gd name="T50" fmla="*/ 59 w 105"/>
                  <a:gd name="T51" fmla="*/ 24 h 115"/>
                  <a:gd name="T52" fmla="*/ 32 w 105"/>
                  <a:gd name="T53" fmla="*/ 23 h 115"/>
                  <a:gd name="T54" fmla="*/ 72 w 105"/>
                  <a:gd name="T55" fmla="*/ 79 h 115"/>
                  <a:gd name="T56" fmla="*/ 71 w 105"/>
                  <a:gd name="T57" fmla="*/ 74 h 115"/>
                  <a:gd name="T58" fmla="*/ 64 w 105"/>
                  <a:gd name="T59" fmla="*/ 68 h 115"/>
                  <a:gd name="T60" fmla="*/ 32 w 105"/>
                  <a:gd name="T61" fmla="*/ 67 h 115"/>
                  <a:gd name="T62" fmla="*/ 58 w 105"/>
                  <a:gd name="T63" fmla="*/ 91 h 115"/>
                  <a:gd name="T64" fmla="*/ 64 w 105"/>
                  <a:gd name="T65" fmla="*/ 90 h 115"/>
                  <a:gd name="T66" fmla="*/ 71 w 105"/>
                  <a:gd name="T67" fmla="*/ 84 h 115"/>
                  <a:gd name="T68" fmla="*/ 72 w 105"/>
                  <a:gd name="T69" fmla="*/ 79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5" h="115">
                    <a:moveTo>
                      <a:pt x="99" y="64"/>
                    </a:moveTo>
                    <a:lnTo>
                      <a:pt x="99" y="64"/>
                    </a:lnTo>
                    <a:lnTo>
                      <a:pt x="102" y="68"/>
                    </a:lnTo>
                    <a:lnTo>
                      <a:pt x="103" y="72"/>
                    </a:lnTo>
                    <a:lnTo>
                      <a:pt x="104" y="77"/>
                    </a:lnTo>
                    <a:lnTo>
                      <a:pt x="105" y="81"/>
                    </a:lnTo>
                    <a:lnTo>
                      <a:pt x="105" y="81"/>
                    </a:lnTo>
                    <a:lnTo>
                      <a:pt x="104" y="88"/>
                    </a:lnTo>
                    <a:lnTo>
                      <a:pt x="102" y="95"/>
                    </a:lnTo>
                    <a:lnTo>
                      <a:pt x="98" y="101"/>
                    </a:lnTo>
                    <a:lnTo>
                      <a:pt x="93" y="106"/>
                    </a:lnTo>
                    <a:lnTo>
                      <a:pt x="93" y="106"/>
                    </a:lnTo>
                    <a:lnTo>
                      <a:pt x="85" y="110"/>
                    </a:lnTo>
                    <a:lnTo>
                      <a:pt x="77" y="113"/>
                    </a:lnTo>
                    <a:lnTo>
                      <a:pt x="68" y="115"/>
                    </a:lnTo>
                    <a:lnTo>
                      <a:pt x="59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5" y="0"/>
                    </a:lnTo>
                    <a:lnTo>
                      <a:pt x="73" y="2"/>
                    </a:lnTo>
                    <a:lnTo>
                      <a:pt x="81" y="4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93" y="12"/>
                    </a:lnTo>
                    <a:lnTo>
                      <a:pt x="97" y="17"/>
                    </a:lnTo>
                    <a:lnTo>
                      <a:pt x="99" y="23"/>
                    </a:lnTo>
                    <a:lnTo>
                      <a:pt x="99" y="30"/>
                    </a:lnTo>
                    <a:lnTo>
                      <a:pt x="99" y="30"/>
                    </a:lnTo>
                    <a:lnTo>
                      <a:pt x="98" y="37"/>
                    </a:lnTo>
                    <a:lnTo>
                      <a:pt x="95" y="45"/>
                    </a:lnTo>
                    <a:lnTo>
                      <a:pt x="95" y="45"/>
                    </a:lnTo>
                    <a:lnTo>
                      <a:pt x="90" y="50"/>
                    </a:lnTo>
                    <a:lnTo>
                      <a:pt x="84" y="54"/>
                    </a:lnTo>
                    <a:lnTo>
                      <a:pt x="84" y="54"/>
                    </a:lnTo>
                    <a:lnTo>
                      <a:pt x="88" y="56"/>
                    </a:lnTo>
                    <a:lnTo>
                      <a:pt x="92" y="58"/>
                    </a:lnTo>
                    <a:lnTo>
                      <a:pt x="96" y="61"/>
                    </a:lnTo>
                    <a:lnTo>
                      <a:pt x="99" y="64"/>
                    </a:lnTo>
                    <a:lnTo>
                      <a:pt x="99" y="64"/>
                    </a:lnTo>
                    <a:close/>
                    <a:moveTo>
                      <a:pt x="32" y="46"/>
                    </a:moveTo>
                    <a:lnTo>
                      <a:pt x="53" y="46"/>
                    </a:lnTo>
                    <a:lnTo>
                      <a:pt x="53" y="46"/>
                    </a:lnTo>
                    <a:lnTo>
                      <a:pt x="59" y="45"/>
                    </a:lnTo>
                    <a:lnTo>
                      <a:pt x="63" y="43"/>
                    </a:lnTo>
                    <a:lnTo>
                      <a:pt x="66" y="39"/>
                    </a:lnTo>
                    <a:lnTo>
                      <a:pt x="67" y="34"/>
                    </a:lnTo>
                    <a:lnTo>
                      <a:pt x="67" y="34"/>
                    </a:lnTo>
                    <a:lnTo>
                      <a:pt x="66" y="29"/>
                    </a:lnTo>
                    <a:lnTo>
                      <a:pt x="63" y="26"/>
                    </a:lnTo>
                    <a:lnTo>
                      <a:pt x="59" y="24"/>
                    </a:lnTo>
                    <a:lnTo>
                      <a:pt x="53" y="23"/>
                    </a:lnTo>
                    <a:lnTo>
                      <a:pt x="32" y="23"/>
                    </a:lnTo>
                    <a:lnTo>
                      <a:pt x="32" y="46"/>
                    </a:lnTo>
                    <a:close/>
                    <a:moveTo>
                      <a:pt x="72" y="79"/>
                    </a:moveTo>
                    <a:lnTo>
                      <a:pt x="72" y="79"/>
                    </a:lnTo>
                    <a:lnTo>
                      <a:pt x="71" y="74"/>
                    </a:lnTo>
                    <a:lnTo>
                      <a:pt x="69" y="70"/>
                    </a:lnTo>
                    <a:lnTo>
                      <a:pt x="64" y="68"/>
                    </a:lnTo>
                    <a:lnTo>
                      <a:pt x="58" y="67"/>
                    </a:lnTo>
                    <a:lnTo>
                      <a:pt x="32" y="67"/>
                    </a:lnTo>
                    <a:lnTo>
                      <a:pt x="32" y="91"/>
                    </a:lnTo>
                    <a:lnTo>
                      <a:pt x="58" y="91"/>
                    </a:lnTo>
                    <a:lnTo>
                      <a:pt x="58" y="91"/>
                    </a:lnTo>
                    <a:lnTo>
                      <a:pt x="64" y="90"/>
                    </a:lnTo>
                    <a:lnTo>
                      <a:pt x="69" y="88"/>
                    </a:lnTo>
                    <a:lnTo>
                      <a:pt x="71" y="84"/>
                    </a:lnTo>
                    <a:lnTo>
                      <a:pt x="72" y="79"/>
                    </a:lnTo>
                    <a:lnTo>
                      <a:pt x="72" y="79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8">
                <a:extLst>
                  <a:ext uri="{FF2B5EF4-FFF2-40B4-BE49-F238E27FC236}">
                    <a16:creationId xmlns:a16="http://schemas.microsoft.com/office/drawing/2014/main" id="{B9E65875-A38C-45FC-90FD-26FDE886D30F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664829" y="1379538"/>
                <a:ext cx="115888" cy="90487"/>
              </a:xfrm>
              <a:custGeom>
                <a:avLst/>
                <a:gdLst>
                  <a:gd name="T0" fmla="*/ 92 w 147"/>
                  <a:gd name="T1" fmla="*/ 46 h 115"/>
                  <a:gd name="T2" fmla="*/ 92 w 147"/>
                  <a:gd name="T3" fmla="*/ 46 h 115"/>
                  <a:gd name="T4" fmla="*/ 97 w 147"/>
                  <a:gd name="T5" fmla="*/ 51 h 115"/>
                  <a:gd name="T6" fmla="*/ 101 w 147"/>
                  <a:gd name="T7" fmla="*/ 58 h 115"/>
                  <a:gd name="T8" fmla="*/ 103 w 147"/>
                  <a:gd name="T9" fmla="*/ 66 h 115"/>
                  <a:gd name="T10" fmla="*/ 103 w 147"/>
                  <a:gd name="T11" fmla="*/ 73 h 115"/>
                  <a:gd name="T12" fmla="*/ 103 w 147"/>
                  <a:gd name="T13" fmla="*/ 73 h 115"/>
                  <a:gd name="T14" fmla="*/ 103 w 147"/>
                  <a:gd name="T15" fmla="*/ 82 h 115"/>
                  <a:gd name="T16" fmla="*/ 100 w 147"/>
                  <a:gd name="T17" fmla="*/ 90 h 115"/>
                  <a:gd name="T18" fmla="*/ 96 w 147"/>
                  <a:gd name="T19" fmla="*/ 97 h 115"/>
                  <a:gd name="T20" fmla="*/ 90 w 147"/>
                  <a:gd name="T21" fmla="*/ 104 h 115"/>
                  <a:gd name="T22" fmla="*/ 90 w 147"/>
                  <a:gd name="T23" fmla="*/ 104 h 115"/>
                  <a:gd name="T24" fmla="*/ 82 w 147"/>
                  <a:gd name="T25" fmla="*/ 109 h 115"/>
                  <a:gd name="T26" fmla="*/ 74 w 147"/>
                  <a:gd name="T27" fmla="*/ 113 h 115"/>
                  <a:gd name="T28" fmla="*/ 65 w 147"/>
                  <a:gd name="T29" fmla="*/ 115 h 115"/>
                  <a:gd name="T30" fmla="*/ 55 w 147"/>
                  <a:gd name="T31" fmla="*/ 115 h 115"/>
                  <a:gd name="T32" fmla="*/ 0 w 147"/>
                  <a:gd name="T33" fmla="*/ 115 h 115"/>
                  <a:gd name="T34" fmla="*/ 0 w 147"/>
                  <a:gd name="T35" fmla="*/ 0 h 115"/>
                  <a:gd name="T36" fmla="*/ 32 w 147"/>
                  <a:gd name="T37" fmla="*/ 0 h 115"/>
                  <a:gd name="T38" fmla="*/ 32 w 147"/>
                  <a:gd name="T39" fmla="*/ 36 h 115"/>
                  <a:gd name="T40" fmla="*/ 59 w 147"/>
                  <a:gd name="T41" fmla="*/ 36 h 115"/>
                  <a:gd name="T42" fmla="*/ 59 w 147"/>
                  <a:gd name="T43" fmla="*/ 36 h 115"/>
                  <a:gd name="T44" fmla="*/ 68 w 147"/>
                  <a:gd name="T45" fmla="*/ 37 h 115"/>
                  <a:gd name="T46" fmla="*/ 76 w 147"/>
                  <a:gd name="T47" fmla="*/ 38 h 115"/>
                  <a:gd name="T48" fmla="*/ 84 w 147"/>
                  <a:gd name="T49" fmla="*/ 41 h 115"/>
                  <a:gd name="T50" fmla="*/ 92 w 147"/>
                  <a:gd name="T51" fmla="*/ 46 h 115"/>
                  <a:gd name="T52" fmla="*/ 92 w 147"/>
                  <a:gd name="T53" fmla="*/ 46 h 115"/>
                  <a:gd name="T54" fmla="*/ 66 w 147"/>
                  <a:gd name="T55" fmla="*/ 86 h 115"/>
                  <a:gd name="T56" fmla="*/ 66 w 147"/>
                  <a:gd name="T57" fmla="*/ 86 h 115"/>
                  <a:gd name="T58" fmla="*/ 68 w 147"/>
                  <a:gd name="T59" fmla="*/ 84 h 115"/>
                  <a:gd name="T60" fmla="*/ 70 w 147"/>
                  <a:gd name="T61" fmla="*/ 81 h 115"/>
                  <a:gd name="T62" fmla="*/ 71 w 147"/>
                  <a:gd name="T63" fmla="*/ 77 h 115"/>
                  <a:gd name="T64" fmla="*/ 71 w 147"/>
                  <a:gd name="T65" fmla="*/ 74 h 115"/>
                  <a:gd name="T66" fmla="*/ 71 w 147"/>
                  <a:gd name="T67" fmla="*/ 74 h 115"/>
                  <a:gd name="T68" fmla="*/ 71 w 147"/>
                  <a:gd name="T69" fmla="*/ 71 h 115"/>
                  <a:gd name="T70" fmla="*/ 70 w 147"/>
                  <a:gd name="T71" fmla="*/ 68 h 115"/>
                  <a:gd name="T72" fmla="*/ 68 w 147"/>
                  <a:gd name="T73" fmla="*/ 65 h 115"/>
                  <a:gd name="T74" fmla="*/ 67 w 147"/>
                  <a:gd name="T75" fmla="*/ 63 h 115"/>
                  <a:gd name="T76" fmla="*/ 64 w 147"/>
                  <a:gd name="T77" fmla="*/ 61 h 115"/>
                  <a:gd name="T78" fmla="*/ 61 w 147"/>
                  <a:gd name="T79" fmla="*/ 60 h 115"/>
                  <a:gd name="T80" fmla="*/ 53 w 147"/>
                  <a:gd name="T81" fmla="*/ 59 h 115"/>
                  <a:gd name="T82" fmla="*/ 32 w 147"/>
                  <a:gd name="T83" fmla="*/ 59 h 115"/>
                  <a:gd name="T84" fmla="*/ 32 w 147"/>
                  <a:gd name="T85" fmla="*/ 91 h 115"/>
                  <a:gd name="T86" fmla="*/ 53 w 147"/>
                  <a:gd name="T87" fmla="*/ 91 h 115"/>
                  <a:gd name="T88" fmla="*/ 53 w 147"/>
                  <a:gd name="T89" fmla="*/ 91 h 115"/>
                  <a:gd name="T90" fmla="*/ 57 w 147"/>
                  <a:gd name="T91" fmla="*/ 91 h 115"/>
                  <a:gd name="T92" fmla="*/ 60 w 147"/>
                  <a:gd name="T93" fmla="*/ 90 h 115"/>
                  <a:gd name="T94" fmla="*/ 63 w 147"/>
                  <a:gd name="T95" fmla="*/ 88 h 115"/>
                  <a:gd name="T96" fmla="*/ 66 w 147"/>
                  <a:gd name="T97" fmla="*/ 86 h 115"/>
                  <a:gd name="T98" fmla="*/ 66 w 147"/>
                  <a:gd name="T99" fmla="*/ 86 h 115"/>
                  <a:gd name="T100" fmla="*/ 116 w 147"/>
                  <a:gd name="T101" fmla="*/ 0 h 115"/>
                  <a:gd name="T102" fmla="*/ 147 w 147"/>
                  <a:gd name="T103" fmla="*/ 0 h 115"/>
                  <a:gd name="T104" fmla="*/ 147 w 147"/>
                  <a:gd name="T105" fmla="*/ 115 h 115"/>
                  <a:gd name="T106" fmla="*/ 116 w 147"/>
                  <a:gd name="T107" fmla="*/ 115 h 115"/>
                  <a:gd name="T108" fmla="*/ 116 w 147"/>
                  <a:gd name="T109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47" h="115">
                    <a:moveTo>
                      <a:pt x="92" y="46"/>
                    </a:moveTo>
                    <a:lnTo>
                      <a:pt x="92" y="46"/>
                    </a:lnTo>
                    <a:lnTo>
                      <a:pt x="97" y="51"/>
                    </a:lnTo>
                    <a:lnTo>
                      <a:pt x="101" y="58"/>
                    </a:lnTo>
                    <a:lnTo>
                      <a:pt x="103" y="66"/>
                    </a:lnTo>
                    <a:lnTo>
                      <a:pt x="103" y="73"/>
                    </a:lnTo>
                    <a:lnTo>
                      <a:pt x="103" y="73"/>
                    </a:lnTo>
                    <a:lnTo>
                      <a:pt x="103" y="82"/>
                    </a:lnTo>
                    <a:lnTo>
                      <a:pt x="100" y="90"/>
                    </a:lnTo>
                    <a:lnTo>
                      <a:pt x="96" y="97"/>
                    </a:lnTo>
                    <a:lnTo>
                      <a:pt x="90" y="104"/>
                    </a:lnTo>
                    <a:lnTo>
                      <a:pt x="90" y="104"/>
                    </a:lnTo>
                    <a:lnTo>
                      <a:pt x="82" y="109"/>
                    </a:lnTo>
                    <a:lnTo>
                      <a:pt x="74" y="113"/>
                    </a:lnTo>
                    <a:lnTo>
                      <a:pt x="65" y="115"/>
                    </a:lnTo>
                    <a:lnTo>
                      <a:pt x="55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2" y="0"/>
                    </a:lnTo>
                    <a:lnTo>
                      <a:pt x="32" y="36"/>
                    </a:lnTo>
                    <a:lnTo>
                      <a:pt x="59" y="36"/>
                    </a:lnTo>
                    <a:lnTo>
                      <a:pt x="59" y="36"/>
                    </a:lnTo>
                    <a:lnTo>
                      <a:pt x="68" y="37"/>
                    </a:lnTo>
                    <a:lnTo>
                      <a:pt x="76" y="38"/>
                    </a:lnTo>
                    <a:lnTo>
                      <a:pt x="84" y="41"/>
                    </a:lnTo>
                    <a:lnTo>
                      <a:pt x="92" y="46"/>
                    </a:lnTo>
                    <a:lnTo>
                      <a:pt x="92" y="46"/>
                    </a:lnTo>
                    <a:close/>
                    <a:moveTo>
                      <a:pt x="66" y="86"/>
                    </a:moveTo>
                    <a:lnTo>
                      <a:pt x="66" y="86"/>
                    </a:lnTo>
                    <a:lnTo>
                      <a:pt x="68" y="84"/>
                    </a:lnTo>
                    <a:lnTo>
                      <a:pt x="70" y="81"/>
                    </a:lnTo>
                    <a:lnTo>
                      <a:pt x="71" y="77"/>
                    </a:lnTo>
                    <a:lnTo>
                      <a:pt x="71" y="74"/>
                    </a:lnTo>
                    <a:lnTo>
                      <a:pt x="71" y="74"/>
                    </a:lnTo>
                    <a:lnTo>
                      <a:pt x="71" y="71"/>
                    </a:lnTo>
                    <a:lnTo>
                      <a:pt x="70" y="68"/>
                    </a:lnTo>
                    <a:lnTo>
                      <a:pt x="68" y="65"/>
                    </a:lnTo>
                    <a:lnTo>
                      <a:pt x="67" y="63"/>
                    </a:lnTo>
                    <a:lnTo>
                      <a:pt x="64" y="61"/>
                    </a:lnTo>
                    <a:lnTo>
                      <a:pt x="61" y="60"/>
                    </a:lnTo>
                    <a:lnTo>
                      <a:pt x="53" y="59"/>
                    </a:lnTo>
                    <a:lnTo>
                      <a:pt x="32" y="59"/>
                    </a:lnTo>
                    <a:lnTo>
                      <a:pt x="32" y="91"/>
                    </a:lnTo>
                    <a:lnTo>
                      <a:pt x="53" y="91"/>
                    </a:lnTo>
                    <a:lnTo>
                      <a:pt x="53" y="91"/>
                    </a:lnTo>
                    <a:lnTo>
                      <a:pt x="57" y="91"/>
                    </a:lnTo>
                    <a:lnTo>
                      <a:pt x="60" y="90"/>
                    </a:lnTo>
                    <a:lnTo>
                      <a:pt x="63" y="88"/>
                    </a:lnTo>
                    <a:lnTo>
                      <a:pt x="66" y="86"/>
                    </a:lnTo>
                    <a:lnTo>
                      <a:pt x="66" y="86"/>
                    </a:lnTo>
                    <a:close/>
                    <a:moveTo>
                      <a:pt x="116" y="0"/>
                    </a:moveTo>
                    <a:lnTo>
                      <a:pt x="147" y="0"/>
                    </a:lnTo>
                    <a:lnTo>
                      <a:pt x="147" y="115"/>
                    </a:lnTo>
                    <a:lnTo>
                      <a:pt x="116" y="115"/>
                    </a:lnTo>
                    <a:lnTo>
                      <a:pt x="116" y="0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9">
                <a:extLst>
                  <a:ext uri="{FF2B5EF4-FFF2-40B4-BE49-F238E27FC236}">
                    <a16:creationId xmlns:a16="http://schemas.microsoft.com/office/drawing/2014/main" id="{BDA78ED3-C9A2-4787-9356-8926D30EEA4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802941" y="1379538"/>
                <a:ext cx="74613" cy="90487"/>
              </a:xfrm>
              <a:custGeom>
                <a:avLst/>
                <a:gdLst>
                  <a:gd name="T0" fmla="*/ 92 w 92"/>
                  <a:gd name="T1" fmla="*/ 89 h 115"/>
                  <a:gd name="T2" fmla="*/ 92 w 92"/>
                  <a:gd name="T3" fmla="*/ 115 h 115"/>
                  <a:gd name="T4" fmla="*/ 0 w 92"/>
                  <a:gd name="T5" fmla="*/ 115 h 115"/>
                  <a:gd name="T6" fmla="*/ 0 w 92"/>
                  <a:gd name="T7" fmla="*/ 0 h 115"/>
                  <a:gd name="T8" fmla="*/ 90 w 92"/>
                  <a:gd name="T9" fmla="*/ 0 h 115"/>
                  <a:gd name="T10" fmla="*/ 90 w 92"/>
                  <a:gd name="T11" fmla="*/ 25 h 115"/>
                  <a:gd name="T12" fmla="*/ 32 w 92"/>
                  <a:gd name="T13" fmla="*/ 25 h 115"/>
                  <a:gd name="T14" fmla="*/ 32 w 92"/>
                  <a:gd name="T15" fmla="*/ 44 h 115"/>
                  <a:gd name="T16" fmla="*/ 83 w 92"/>
                  <a:gd name="T17" fmla="*/ 44 h 115"/>
                  <a:gd name="T18" fmla="*/ 83 w 92"/>
                  <a:gd name="T19" fmla="*/ 68 h 115"/>
                  <a:gd name="T20" fmla="*/ 32 w 92"/>
                  <a:gd name="T21" fmla="*/ 68 h 115"/>
                  <a:gd name="T22" fmla="*/ 32 w 92"/>
                  <a:gd name="T23" fmla="*/ 89 h 115"/>
                  <a:gd name="T24" fmla="*/ 92 w 92"/>
                  <a:gd name="T25" fmla="*/ 89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2" h="115">
                    <a:moveTo>
                      <a:pt x="92" y="89"/>
                    </a:moveTo>
                    <a:lnTo>
                      <a:pt x="9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25"/>
                    </a:lnTo>
                    <a:lnTo>
                      <a:pt x="32" y="25"/>
                    </a:lnTo>
                    <a:lnTo>
                      <a:pt x="32" y="44"/>
                    </a:lnTo>
                    <a:lnTo>
                      <a:pt x="83" y="44"/>
                    </a:lnTo>
                    <a:lnTo>
                      <a:pt x="83" y="68"/>
                    </a:lnTo>
                    <a:lnTo>
                      <a:pt x="32" y="68"/>
                    </a:lnTo>
                    <a:lnTo>
                      <a:pt x="32" y="89"/>
                    </a:lnTo>
                    <a:lnTo>
                      <a:pt x="92" y="89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10">
                <a:extLst>
                  <a:ext uri="{FF2B5EF4-FFF2-40B4-BE49-F238E27FC236}">
                    <a16:creationId xmlns:a16="http://schemas.microsoft.com/office/drawing/2014/main" id="{71CF411A-F7F1-4B5F-87C4-F4F7CDD41DC5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934704" y="1379538"/>
                <a:ext cx="82550" cy="90487"/>
              </a:xfrm>
              <a:custGeom>
                <a:avLst/>
                <a:gdLst>
                  <a:gd name="T0" fmla="*/ 99 w 105"/>
                  <a:gd name="T1" fmla="*/ 64 h 115"/>
                  <a:gd name="T2" fmla="*/ 104 w 105"/>
                  <a:gd name="T3" fmla="*/ 72 h 115"/>
                  <a:gd name="T4" fmla="*/ 105 w 105"/>
                  <a:gd name="T5" fmla="*/ 81 h 115"/>
                  <a:gd name="T6" fmla="*/ 104 w 105"/>
                  <a:gd name="T7" fmla="*/ 88 h 115"/>
                  <a:gd name="T8" fmla="*/ 98 w 105"/>
                  <a:gd name="T9" fmla="*/ 101 h 115"/>
                  <a:gd name="T10" fmla="*/ 93 w 105"/>
                  <a:gd name="T11" fmla="*/ 106 h 115"/>
                  <a:gd name="T12" fmla="*/ 78 w 105"/>
                  <a:gd name="T13" fmla="*/ 113 h 115"/>
                  <a:gd name="T14" fmla="*/ 58 w 105"/>
                  <a:gd name="T15" fmla="*/ 115 h 115"/>
                  <a:gd name="T16" fmla="*/ 0 w 105"/>
                  <a:gd name="T17" fmla="*/ 0 h 115"/>
                  <a:gd name="T18" fmla="*/ 55 w 105"/>
                  <a:gd name="T19" fmla="*/ 0 h 115"/>
                  <a:gd name="T20" fmla="*/ 72 w 105"/>
                  <a:gd name="T21" fmla="*/ 2 h 115"/>
                  <a:gd name="T22" fmla="*/ 88 w 105"/>
                  <a:gd name="T23" fmla="*/ 8 h 115"/>
                  <a:gd name="T24" fmla="*/ 93 w 105"/>
                  <a:gd name="T25" fmla="*/ 12 h 115"/>
                  <a:gd name="T26" fmla="*/ 99 w 105"/>
                  <a:gd name="T27" fmla="*/ 23 h 115"/>
                  <a:gd name="T28" fmla="*/ 100 w 105"/>
                  <a:gd name="T29" fmla="*/ 30 h 115"/>
                  <a:gd name="T30" fmla="*/ 96 w 105"/>
                  <a:gd name="T31" fmla="*/ 45 h 115"/>
                  <a:gd name="T32" fmla="*/ 91 w 105"/>
                  <a:gd name="T33" fmla="*/ 50 h 115"/>
                  <a:gd name="T34" fmla="*/ 84 w 105"/>
                  <a:gd name="T35" fmla="*/ 54 h 115"/>
                  <a:gd name="T36" fmla="*/ 93 w 105"/>
                  <a:gd name="T37" fmla="*/ 58 h 115"/>
                  <a:gd name="T38" fmla="*/ 99 w 105"/>
                  <a:gd name="T39" fmla="*/ 64 h 115"/>
                  <a:gd name="T40" fmla="*/ 32 w 105"/>
                  <a:gd name="T41" fmla="*/ 46 h 115"/>
                  <a:gd name="T42" fmla="*/ 52 w 105"/>
                  <a:gd name="T43" fmla="*/ 46 h 115"/>
                  <a:gd name="T44" fmla="*/ 63 w 105"/>
                  <a:gd name="T45" fmla="*/ 43 h 115"/>
                  <a:gd name="T46" fmla="*/ 66 w 105"/>
                  <a:gd name="T47" fmla="*/ 34 h 115"/>
                  <a:gd name="T48" fmla="*/ 65 w 105"/>
                  <a:gd name="T49" fmla="*/ 29 h 115"/>
                  <a:gd name="T50" fmla="*/ 58 w 105"/>
                  <a:gd name="T51" fmla="*/ 24 h 115"/>
                  <a:gd name="T52" fmla="*/ 32 w 105"/>
                  <a:gd name="T53" fmla="*/ 23 h 115"/>
                  <a:gd name="T54" fmla="*/ 71 w 105"/>
                  <a:gd name="T55" fmla="*/ 79 h 115"/>
                  <a:gd name="T56" fmla="*/ 70 w 105"/>
                  <a:gd name="T57" fmla="*/ 74 h 115"/>
                  <a:gd name="T58" fmla="*/ 63 w 105"/>
                  <a:gd name="T59" fmla="*/ 68 h 115"/>
                  <a:gd name="T60" fmla="*/ 32 w 105"/>
                  <a:gd name="T61" fmla="*/ 67 h 115"/>
                  <a:gd name="T62" fmla="*/ 57 w 105"/>
                  <a:gd name="T63" fmla="*/ 91 h 115"/>
                  <a:gd name="T64" fmla="*/ 63 w 105"/>
                  <a:gd name="T65" fmla="*/ 90 h 115"/>
                  <a:gd name="T66" fmla="*/ 70 w 105"/>
                  <a:gd name="T67" fmla="*/ 84 h 115"/>
                  <a:gd name="T68" fmla="*/ 71 w 105"/>
                  <a:gd name="T69" fmla="*/ 79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5" h="115">
                    <a:moveTo>
                      <a:pt x="99" y="64"/>
                    </a:moveTo>
                    <a:lnTo>
                      <a:pt x="99" y="64"/>
                    </a:lnTo>
                    <a:lnTo>
                      <a:pt x="102" y="68"/>
                    </a:lnTo>
                    <a:lnTo>
                      <a:pt x="104" y="72"/>
                    </a:lnTo>
                    <a:lnTo>
                      <a:pt x="105" y="77"/>
                    </a:lnTo>
                    <a:lnTo>
                      <a:pt x="105" y="81"/>
                    </a:lnTo>
                    <a:lnTo>
                      <a:pt x="105" y="81"/>
                    </a:lnTo>
                    <a:lnTo>
                      <a:pt x="104" y="88"/>
                    </a:lnTo>
                    <a:lnTo>
                      <a:pt x="102" y="95"/>
                    </a:lnTo>
                    <a:lnTo>
                      <a:pt x="98" y="101"/>
                    </a:lnTo>
                    <a:lnTo>
                      <a:pt x="93" y="106"/>
                    </a:lnTo>
                    <a:lnTo>
                      <a:pt x="93" y="106"/>
                    </a:lnTo>
                    <a:lnTo>
                      <a:pt x="86" y="110"/>
                    </a:lnTo>
                    <a:lnTo>
                      <a:pt x="78" y="113"/>
                    </a:lnTo>
                    <a:lnTo>
                      <a:pt x="69" y="114"/>
                    </a:lnTo>
                    <a:lnTo>
                      <a:pt x="58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55" y="0"/>
                    </a:lnTo>
                    <a:lnTo>
                      <a:pt x="55" y="0"/>
                    </a:lnTo>
                    <a:lnTo>
                      <a:pt x="64" y="0"/>
                    </a:lnTo>
                    <a:lnTo>
                      <a:pt x="72" y="2"/>
                    </a:lnTo>
                    <a:lnTo>
                      <a:pt x="81" y="4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93" y="12"/>
                    </a:lnTo>
                    <a:lnTo>
                      <a:pt x="97" y="17"/>
                    </a:lnTo>
                    <a:lnTo>
                      <a:pt x="99" y="23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99" y="37"/>
                    </a:lnTo>
                    <a:lnTo>
                      <a:pt x="96" y="45"/>
                    </a:lnTo>
                    <a:lnTo>
                      <a:pt x="96" y="45"/>
                    </a:lnTo>
                    <a:lnTo>
                      <a:pt x="91" y="50"/>
                    </a:lnTo>
                    <a:lnTo>
                      <a:pt x="84" y="54"/>
                    </a:lnTo>
                    <a:lnTo>
                      <a:pt x="84" y="54"/>
                    </a:lnTo>
                    <a:lnTo>
                      <a:pt x="88" y="56"/>
                    </a:lnTo>
                    <a:lnTo>
                      <a:pt x="93" y="58"/>
                    </a:lnTo>
                    <a:lnTo>
                      <a:pt x="96" y="61"/>
                    </a:lnTo>
                    <a:lnTo>
                      <a:pt x="99" y="64"/>
                    </a:lnTo>
                    <a:lnTo>
                      <a:pt x="99" y="64"/>
                    </a:lnTo>
                    <a:close/>
                    <a:moveTo>
                      <a:pt x="32" y="46"/>
                    </a:moveTo>
                    <a:lnTo>
                      <a:pt x="52" y="46"/>
                    </a:lnTo>
                    <a:lnTo>
                      <a:pt x="52" y="46"/>
                    </a:lnTo>
                    <a:lnTo>
                      <a:pt x="58" y="45"/>
                    </a:lnTo>
                    <a:lnTo>
                      <a:pt x="63" y="43"/>
                    </a:lnTo>
                    <a:lnTo>
                      <a:pt x="65" y="39"/>
                    </a:lnTo>
                    <a:lnTo>
                      <a:pt x="66" y="34"/>
                    </a:lnTo>
                    <a:lnTo>
                      <a:pt x="66" y="34"/>
                    </a:lnTo>
                    <a:lnTo>
                      <a:pt x="65" y="29"/>
                    </a:lnTo>
                    <a:lnTo>
                      <a:pt x="63" y="26"/>
                    </a:lnTo>
                    <a:lnTo>
                      <a:pt x="58" y="24"/>
                    </a:lnTo>
                    <a:lnTo>
                      <a:pt x="52" y="23"/>
                    </a:lnTo>
                    <a:lnTo>
                      <a:pt x="32" y="23"/>
                    </a:lnTo>
                    <a:lnTo>
                      <a:pt x="32" y="46"/>
                    </a:lnTo>
                    <a:close/>
                    <a:moveTo>
                      <a:pt x="71" y="79"/>
                    </a:moveTo>
                    <a:lnTo>
                      <a:pt x="71" y="79"/>
                    </a:lnTo>
                    <a:lnTo>
                      <a:pt x="70" y="74"/>
                    </a:lnTo>
                    <a:lnTo>
                      <a:pt x="68" y="70"/>
                    </a:lnTo>
                    <a:lnTo>
                      <a:pt x="63" y="68"/>
                    </a:lnTo>
                    <a:lnTo>
                      <a:pt x="57" y="67"/>
                    </a:lnTo>
                    <a:lnTo>
                      <a:pt x="32" y="67"/>
                    </a:lnTo>
                    <a:lnTo>
                      <a:pt x="32" y="91"/>
                    </a:lnTo>
                    <a:lnTo>
                      <a:pt x="57" y="91"/>
                    </a:lnTo>
                    <a:lnTo>
                      <a:pt x="57" y="91"/>
                    </a:lnTo>
                    <a:lnTo>
                      <a:pt x="63" y="90"/>
                    </a:lnTo>
                    <a:lnTo>
                      <a:pt x="68" y="88"/>
                    </a:lnTo>
                    <a:lnTo>
                      <a:pt x="70" y="84"/>
                    </a:lnTo>
                    <a:lnTo>
                      <a:pt x="71" y="79"/>
                    </a:lnTo>
                    <a:lnTo>
                      <a:pt x="71" y="79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11">
                <a:extLst>
                  <a:ext uri="{FF2B5EF4-FFF2-40B4-BE49-F238E27FC236}">
                    <a16:creationId xmlns:a16="http://schemas.microsoft.com/office/drawing/2014/main" id="{F201CC6A-2DC7-4A12-B747-6CA4149E274A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1033129" y="1379538"/>
                <a:ext cx="119063" cy="90487"/>
              </a:xfrm>
              <a:custGeom>
                <a:avLst/>
                <a:gdLst>
                  <a:gd name="T0" fmla="*/ 92 w 148"/>
                  <a:gd name="T1" fmla="*/ 46 h 115"/>
                  <a:gd name="T2" fmla="*/ 92 w 148"/>
                  <a:gd name="T3" fmla="*/ 46 h 115"/>
                  <a:gd name="T4" fmla="*/ 97 w 148"/>
                  <a:gd name="T5" fmla="*/ 51 h 115"/>
                  <a:gd name="T6" fmla="*/ 101 w 148"/>
                  <a:gd name="T7" fmla="*/ 58 h 115"/>
                  <a:gd name="T8" fmla="*/ 103 w 148"/>
                  <a:gd name="T9" fmla="*/ 66 h 115"/>
                  <a:gd name="T10" fmla="*/ 103 w 148"/>
                  <a:gd name="T11" fmla="*/ 73 h 115"/>
                  <a:gd name="T12" fmla="*/ 103 w 148"/>
                  <a:gd name="T13" fmla="*/ 73 h 115"/>
                  <a:gd name="T14" fmla="*/ 103 w 148"/>
                  <a:gd name="T15" fmla="*/ 82 h 115"/>
                  <a:gd name="T16" fmla="*/ 100 w 148"/>
                  <a:gd name="T17" fmla="*/ 90 h 115"/>
                  <a:gd name="T18" fmla="*/ 96 w 148"/>
                  <a:gd name="T19" fmla="*/ 97 h 115"/>
                  <a:gd name="T20" fmla="*/ 91 w 148"/>
                  <a:gd name="T21" fmla="*/ 104 h 115"/>
                  <a:gd name="T22" fmla="*/ 91 w 148"/>
                  <a:gd name="T23" fmla="*/ 104 h 115"/>
                  <a:gd name="T24" fmla="*/ 83 w 148"/>
                  <a:gd name="T25" fmla="*/ 109 h 115"/>
                  <a:gd name="T26" fmla="*/ 73 w 148"/>
                  <a:gd name="T27" fmla="*/ 113 h 115"/>
                  <a:gd name="T28" fmla="*/ 64 w 148"/>
                  <a:gd name="T29" fmla="*/ 115 h 115"/>
                  <a:gd name="T30" fmla="*/ 54 w 148"/>
                  <a:gd name="T31" fmla="*/ 115 h 115"/>
                  <a:gd name="T32" fmla="*/ 0 w 148"/>
                  <a:gd name="T33" fmla="*/ 115 h 115"/>
                  <a:gd name="T34" fmla="*/ 0 w 148"/>
                  <a:gd name="T35" fmla="*/ 0 h 115"/>
                  <a:gd name="T36" fmla="*/ 32 w 148"/>
                  <a:gd name="T37" fmla="*/ 0 h 115"/>
                  <a:gd name="T38" fmla="*/ 32 w 148"/>
                  <a:gd name="T39" fmla="*/ 36 h 115"/>
                  <a:gd name="T40" fmla="*/ 59 w 148"/>
                  <a:gd name="T41" fmla="*/ 36 h 115"/>
                  <a:gd name="T42" fmla="*/ 59 w 148"/>
                  <a:gd name="T43" fmla="*/ 36 h 115"/>
                  <a:gd name="T44" fmla="*/ 67 w 148"/>
                  <a:gd name="T45" fmla="*/ 37 h 115"/>
                  <a:gd name="T46" fmla="*/ 76 w 148"/>
                  <a:gd name="T47" fmla="*/ 38 h 115"/>
                  <a:gd name="T48" fmla="*/ 85 w 148"/>
                  <a:gd name="T49" fmla="*/ 41 h 115"/>
                  <a:gd name="T50" fmla="*/ 92 w 148"/>
                  <a:gd name="T51" fmla="*/ 46 h 115"/>
                  <a:gd name="T52" fmla="*/ 92 w 148"/>
                  <a:gd name="T53" fmla="*/ 46 h 115"/>
                  <a:gd name="T54" fmla="*/ 65 w 148"/>
                  <a:gd name="T55" fmla="*/ 86 h 115"/>
                  <a:gd name="T56" fmla="*/ 65 w 148"/>
                  <a:gd name="T57" fmla="*/ 86 h 115"/>
                  <a:gd name="T58" fmla="*/ 67 w 148"/>
                  <a:gd name="T59" fmla="*/ 84 h 115"/>
                  <a:gd name="T60" fmla="*/ 69 w 148"/>
                  <a:gd name="T61" fmla="*/ 81 h 115"/>
                  <a:gd name="T62" fmla="*/ 70 w 148"/>
                  <a:gd name="T63" fmla="*/ 77 h 115"/>
                  <a:gd name="T64" fmla="*/ 70 w 148"/>
                  <a:gd name="T65" fmla="*/ 74 h 115"/>
                  <a:gd name="T66" fmla="*/ 70 w 148"/>
                  <a:gd name="T67" fmla="*/ 74 h 115"/>
                  <a:gd name="T68" fmla="*/ 70 w 148"/>
                  <a:gd name="T69" fmla="*/ 71 h 115"/>
                  <a:gd name="T70" fmla="*/ 69 w 148"/>
                  <a:gd name="T71" fmla="*/ 68 h 115"/>
                  <a:gd name="T72" fmla="*/ 68 w 148"/>
                  <a:gd name="T73" fmla="*/ 65 h 115"/>
                  <a:gd name="T74" fmla="*/ 66 w 148"/>
                  <a:gd name="T75" fmla="*/ 63 h 115"/>
                  <a:gd name="T76" fmla="*/ 63 w 148"/>
                  <a:gd name="T77" fmla="*/ 61 h 115"/>
                  <a:gd name="T78" fmla="*/ 60 w 148"/>
                  <a:gd name="T79" fmla="*/ 60 h 115"/>
                  <a:gd name="T80" fmla="*/ 52 w 148"/>
                  <a:gd name="T81" fmla="*/ 59 h 115"/>
                  <a:gd name="T82" fmla="*/ 33 w 148"/>
                  <a:gd name="T83" fmla="*/ 59 h 115"/>
                  <a:gd name="T84" fmla="*/ 33 w 148"/>
                  <a:gd name="T85" fmla="*/ 91 h 115"/>
                  <a:gd name="T86" fmla="*/ 52 w 148"/>
                  <a:gd name="T87" fmla="*/ 91 h 115"/>
                  <a:gd name="T88" fmla="*/ 52 w 148"/>
                  <a:gd name="T89" fmla="*/ 91 h 115"/>
                  <a:gd name="T90" fmla="*/ 56 w 148"/>
                  <a:gd name="T91" fmla="*/ 91 h 115"/>
                  <a:gd name="T92" fmla="*/ 59 w 148"/>
                  <a:gd name="T93" fmla="*/ 90 h 115"/>
                  <a:gd name="T94" fmla="*/ 62 w 148"/>
                  <a:gd name="T95" fmla="*/ 88 h 115"/>
                  <a:gd name="T96" fmla="*/ 65 w 148"/>
                  <a:gd name="T97" fmla="*/ 86 h 115"/>
                  <a:gd name="T98" fmla="*/ 65 w 148"/>
                  <a:gd name="T99" fmla="*/ 86 h 115"/>
                  <a:gd name="T100" fmla="*/ 116 w 148"/>
                  <a:gd name="T101" fmla="*/ 0 h 115"/>
                  <a:gd name="T102" fmla="*/ 148 w 148"/>
                  <a:gd name="T103" fmla="*/ 0 h 115"/>
                  <a:gd name="T104" fmla="*/ 148 w 148"/>
                  <a:gd name="T105" fmla="*/ 115 h 115"/>
                  <a:gd name="T106" fmla="*/ 116 w 148"/>
                  <a:gd name="T107" fmla="*/ 115 h 115"/>
                  <a:gd name="T108" fmla="*/ 116 w 148"/>
                  <a:gd name="T109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48" h="115">
                    <a:moveTo>
                      <a:pt x="92" y="46"/>
                    </a:moveTo>
                    <a:lnTo>
                      <a:pt x="92" y="46"/>
                    </a:lnTo>
                    <a:lnTo>
                      <a:pt x="97" y="51"/>
                    </a:lnTo>
                    <a:lnTo>
                      <a:pt x="101" y="58"/>
                    </a:lnTo>
                    <a:lnTo>
                      <a:pt x="103" y="66"/>
                    </a:lnTo>
                    <a:lnTo>
                      <a:pt x="103" y="73"/>
                    </a:lnTo>
                    <a:lnTo>
                      <a:pt x="103" y="73"/>
                    </a:lnTo>
                    <a:lnTo>
                      <a:pt x="103" y="82"/>
                    </a:lnTo>
                    <a:lnTo>
                      <a:pt x="100" y="90"/>
                    </a:lnTo>
                    <a:lnTo>
                      <a:pt x="96" y="97"/>
                    </a:lnTo>
                    <a:lnTo>
                      <a:pt x="91" y="104"/>
                    </a:lnTo>
                    <a:lnTo>
                      <a:pt x="91" y="104"/>
                    </a:lnTo>
                    <a:lnTo>
                      <a:pt x="83" y="109"/>
                    </a:lnTo>
                    <a:lnTo>
                      <a:pt x="73" y="113"/>
                    </a:lnTo>
                    <a:lnTo>
                      <a:pt x="64" y="115"/>
                    </a:lnTo>
                    <a:lnTo>
                      <a:pt x="54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2" y="0"/>
                    </a:lnTo>
                    <a:lnTo>
                      <a:pt x="32" y="36"/>
                    </a:lnTo>
                    <a:lnTo>
                      <a:pt x="59" y="36"/>
                    </a:lnTo>
                    <a:lnTo>
                      <a:pt x="59" y="36"/>
                    </a:lnTo>
                    <a:lnTo>
                      <a:pt x="67" y="37"/>
                    </a:lnTo>
                    <a:lnTo>
                      <a:pt x="76" y="38"/>
                    </a:lnTo>
                    <a:lnTo>
                      <a:pt x="85" y="41"/>
                    </a:lnTo>
                    <a:lnTo>
                      <a:pt x="92" y="46"/>
                    </a:lnTo>
                    <a:lnTo>
                      <a:pt x="92" y="46"/>
                    </a:lnTo>
                    <a:close/>
                    <a:moveTo>
                      <a:pt x="65" y="86"/>
                    </a:moveTo>
                    <a:lnTo>
                      <a:pt x="65" y="86"/>
                    </a:lnTo>
                    <a:lnTo>
                      <a:pt x="67" y="84"/>
                    </a:lnTo>
                    <a:lnTo>
                      <a:pt x="69" y="81"/>
                    </a:lnTo>
                    <a:lnTo>
                      <a:pt x="70" y="77"/>
                    </a:lnTo>
                    <a:lnTo>
                      <a:pt x="70" y="74"/>
                    </a:lnTo>
                    <a:lnTo>
                      <a:pt x="70" y="74"/>
                    </a:lnTo>
                    <a:lnTo>
                      <a:pt x="70" y="71"/>
                    </a:lnTo>
                    <a:lnTo>
                      <a:pt x="69" y="68"/>
                    </a:lnTo>
                    <a:lnTo>
                      <a:pt x="68" y="65"/>
                    </a:lnTo>
                    <a:lnTo>
                      <a:pt x="66" y="63"/>
                    </a:lnTo>
                    <a:lnTo>
                      <a:pt x="63" y="61"/>
                    </a:lnTo>
                    <a:lnTo>
                      <a:pt x="60" y="60"/>
                    </a:lnTo>
                    <a:lnTo>
                      <a:pt x="52" y="59"/>
                    </a:lnTo>
                    <a:lnTo>
                      <a:pt x="33" y="59"/>
                    </a:lnTo>
                    <a:lnTo>
                      <a:pt x="33" y="91"/>
                    </a:lnTo>
                    <a:lnTo>
                      <a:pt x="52" y="91"/>
                    </a:lnTo>
                    <a:lnTo>
                      <a:pt x="52" y="91"/>
                    </a:lnTo>
                    <a:lnTo>
                      <a:pt x="56" y="91"/>
                    </a:lnTo>
                    <a:lnTo>
                      <a:pt x="59" y="90"/>
                    </a:lnTo>
                    <a:lnTo>
                      <a:pt x="62" y="88"/>
                    </a:lnTo>
                    <a:lnTo>
                      <a:pt x="65" y="86"/>
                    </a:lnTo>
                    <a:lnTo>
                      <a:pt x="65" y="86"/>
                    </a:lnTo>
                    <a:close/>
                    <a:moveTo>
                      <a:pt x="116" y="0"/>
                    </a:moveTo>
                    <a:lnTo>
                      <a:pt x="148" y="0"/>
                    </a:lnTo>
                    <a:lnTo>
                      <a:pt x="148" y="115"/>
                    </a:lnTo>
                    <a:lnTo>
                      <a:pt x="116" y="115"/>
                    </a:lnTo>
                    <a:lnTo>
                      <a:pt x="116" y="0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12">
                <a:extLst>
                  <a:ext uri="{FF2B5EF4-FFF2-40B4-BE49-F238E27FC236}">
                    <a16:creationId xmlns:a16="http://schemas.microsoft.com/office/drawing/2014/main" id="{7AF636FB-564D-4E09-A2F5-46B71C7530F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166479" y="1376363"/>
                <a:ext cx="79375" cy="95250"/>
              </a:xfrm>
              <a:custGeom>
                <a:avLst/>
                <a:gdLst>
                  <a:gd name="T0" fmla="*/ 96 w 101"/>
                  <a:gd name="T1" fmla="*/ 68 h 120"/>
                  <a:gd name="T2" fmla="*/ 100 w 101"/>
                  <a:gd name="T3" fmla="*/ 76 h 120"/>
                  <a:gd name="T4" fmla="*/ 101 w 101"/>
                  <a:gd name="T5" fmla="*/ 85 h 120"/>
                  <a:gd name="T6" fmla="*/ 101 w 101"/>
                  <a:gd name="T7" fmla="*/ 90 h 120"/>
                  <a:gd name="T8" fmla="*/ 97 w 101"/>
                  <a:gd name="T9" fmla="*/ 99 h 120"/>
                  <a:gd name="T10" fmla="*/ 94 w 101"/>
                  <a:gd name="T11" fmla="*/ 104 h 120"/>
                  <a:gd name="T12" fmla="*/ 85 w 101"/>
                  <a:gd name="T13" fmla="*/ 111 h 120"/>
                  <a:gd name="T14" fmla="*/ 75 w 101"/>
                  <a:gd name="T15" fmla="*/ 116 h 120"/>
                  <a:gd name="T16" fmla="*/ 61 w 101"/>
                  <a:gd name="T17" fmla="*/ 119 h 120"/>
                  <a:gd name="T18" fmla="*/ 48 w 101"/>
                  <a:gd name="T19" fmla="*/ 120 h 120"/>
                  <a:gd name="T20" fmla="*/ 23 w 101"/>
                  <a:gd name="T21" fmla="*/ 118 h 120"/>
                  <a:gd name="T22" fmla="*/ 12 w 101"/>
                  <a:gd name="T23" fmla="*/ 114 h 120"/>
                  <a:gd name="T24" fmla="*/ 10 w 101"/>
                  <a:gd name="T25" fmla="*/ 86 h 120"/>
                  <a:gd name="T26" fmla="*/ 18 w 101"/>
                  <a:gd name="T27" fmla="*/ 89 h 120"/>
                  <a:gd name="T28" fmla="*/ 26 w 101"/>
                  <a:gd name="T29" fmla="*/ 92 h 120"/>
                  <a:gd name="T30" fmla="*/ 44 w 101"/>
                  <a:gd name="T31" fmla="*/ 94 h 120"/>
                  <a:gd name="T32" fmla="*/ 53 w 101"/>
                  <a:gd name="T33" fmla="*/ 93 h 120"/>
                  <a:gd name="T34" fmla="*/ 62 w 101"/>
                  <a:gd name="T35" fmla="*/ 90 h 120"/>
                  <a:gd name="T36" fmla="*/ 67 w 101"/>
                  <a:gd name="T37" fmla="*/ 86 h 120"/>
                  <a:gd name="T38" fmla="*/ 69 w 101"/>
                  <a:gd name="T39" fmla="*/ 80 h 120"/>
                  <a:gd name="T40" fmla="*/ 68 w 101"/>
                  <a:gd name="T41" fmla="*/ 78 h 120"/>
                  <a:gd name="T42" fmla="*/ 66 w 101"/>
                  <a:gd name="T43" fmla="*/ 74 h 120"/>
                  <a:gd name="T44" fmla="*/ 64 w 101"/>
                  <a:gd name="T45" fmla="*/ 73 h 120"/>
                  <a:gd name="T46" fmla="*/ 53 w 101"/>
                  <a:gd name="T47" fmla="*/ 70 h 120"/>
                  <a:gd name="T48" fmla="*/ 23 w 101"/>
                  <a:gd name="T49" fmla="*/ 47 h 120"/>
                  <a:gd name="T50" fmla="*/ 50 w 101"/>
                  <a:gd name="T51" fmla="*/ 47 h 120"/>
                  <a:gd name="T52" fmla="*/ 60 w 101"/>
                  <a:gd name="T53" fmla="*/ 44 h 120"/>
                  <a:gd name="T54" fmla="*/ 63 w 101"/>
                  <a:gd name="T55" fmla="*/ 41 h 120"/>
                  <a:gd name="T56" fmla="*/ 64 w 101"/>
                  <a:gd name="T57" fmla="*/ 37 h 120"/>
                  <a:gd name="T58" fmla="*/ 62 w 101"/>
                  <a:gd name="T59" fmla="*/ 32 h 120"/>
                  <a:gd name="T60" fmla="*/ 58 w 101"/>
                  <a:gd name="T61" fmla="*/ 29 h 120"/>
                  <a:gd name="T62" fmla="*/ 51 w 101"/>
                  <a:gd name="T63" fmla="*/ 26 h 120"/>
                  <a:gd name="T64" fmla="*/ 44 w 101"/>
                  <a:gd name="T65" fmla="*/ 26 h 120"/>
                  <a:gd name="T66" fmla="*/ 28 w 101"/>
                  <a:gd name="T67" fmla="*/ 28 h 120"/>
                  <a:gd name="T68" fmla="*/ 20 w 101"/>
                  <a:gd name="T69" fmla="*/ 30 h 120"/>
                  <a:gd name="T70" fmla="*/ 3 w 101"/>
                  <a:gd name="T71" fmla="*/ 9 h 120"/>
                  <a:gd name="T72" fmla="*/ 13 w 101"/>
                  <a:gd name="T73" fmla="*/ 5 h 120"/>
                  <a:gd name="T74" fmla="*/ 33 w 101"/>
                  <a:gd name="T75" fmla="*/ 1 h 120"/>
                  <a:gd name="T76" fmla="*/ 44 w 101"/>
                  <a:gd name="T77" fmla="*/ 0 h 120"/>
                  <a:gd name="T78" fmla="*/ 70 w 101"/>
                  <a:gd name="T79" fmla="*/ 4 h 120"/>
                  <a:gd name="T80" fmla="*/ 75 w 101"/>
                  <a:gd name="T81" fmla="*/ 6 h 120"/>
                  <a:gd name="T82" fmla="*/ 85 w 101"/>
                  <a:gd name="T83" fmla="*/ 12 h 120"/>
                  <a:gd name="T84" fmla="*/ 89 w 101"/>
                  <a:gd name="T85" fmla="*/ 16 h 120"/>
                  <a:gd name="T86" fmla="*/ 95 w 101"/>
                  <a:gd name="T87" fmla="*/ 24 h 120"/>
                  <a:gd name="T88" fmla="*/ 96 w 101"/>
                  <a:gd name="T89" fmla="*/ 34 h 120"/>
                  <a:gd name="T90" fmla="*/ 95 w 101"/>
                  <a:gd name="T91" fmla="*/ 41 h 120"/>
                  <a:gd name="T92" fmla="*/ 92 w 101"/>
                  <a:gd name="T93" fmla="*/ 48 h 120"/>
                  <a:gd name="T94" fmla="*/ 81 w 101"/>
                  <a:gd name="T95" fmla="*/ 58 h 120"/>
                  <a:gd name="T96" fmla="*/ 85 w 101"/>
                  <a:gd name="T97" fmla="*/ 59 h 120"/>
                  <a:gd name="T98" fmla="*/ 93 w 101"/>
                  <a:gd name="T99" fmla="*/ 65 h 120"/>
                  <a:gd name="T100" fmla="*/ 96 w 101"/>
                  <a:gd name="T101" fmla="*/ 68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01" h="120">
                    <a:moveTo>
                      <a:pt x="96" y="68"/>
                    </a:moveTo>
                    <a:lnTo>
                      <a:pt x="96" y="68"/>
                    </a:lnTo>
                    <a:lnTo>
                      <a:pt x="98" y="72"/>
                    </a:lnTo>
                    <a:lnTo>
                      <a:pt x="100" y="76"/>
                    </a:lnTo>
                    <a:lnTo>
                      <a:pt x="101" y="80"/>
                    </a:lnTo>
                    <a:lnTo>
                      <a:pt x="101" y="85"/>
                    </a:lnTo>
                    <a:lnTo>
                      <a:pt x="101" y="85"/>
                    </a:lnTo>
                    <a:lnTo>
                      <a:pt x="101" y="90"/>
                    </a:lnTo>
                    <a:lnTo>
                      <a:pt x="99" y="95"/>
                    </a:lnTo>
                    <a:lnTo>
                      <a:pt x="97" y="99"/>
                    </a:lnTo>
                    <a:lnTo>
                      <a:pt x="94" y="104"/>
                    </a:lnTo>
                    <a:lnTo>
                      <a:pt x="94" y="104"/>
                    </a:lnTo>
                    <a:lnTo>
                      <a:pt x="90" y="108"/>
                    </a:lnTo>
                    <a:lnTo>
                      <a:pt x="85" y="111"/>
                    </a:lnTo>
                    <a:lnTo>
                      <a:pt x="80" y="114"/>
                    </a:lnTo>
                    <a:lnTo>
                      <a:pt x="75" y="116"/>
                    </a:lnTo>
                    <a:lnTo>
                      <a:pt x="75" y="116"/>
                    </a:lnTo>
                    <a:lnTo>
                      <a:pt x="61" y="119"/>
                    </a:lnTo>
                    <a:lnTo>
                      <a:pt x="48" y="120"/>
                    </a:lnTo>
                    <a:lnTo>
                      <a:pt x="48" y="120"/>
                    </a:lnTo>
                    <a:lnTo>
                      <a:pt x="35" y="120"/>
                    </a:lnTo>
                    <a:lnTo>
                      <a:pt x="23" y="118"/>
                    </a:lnTo>
                    <a:lnTo>
                      <a:pt x="23" y="118"/>
                    </a:lnTo>
                    <a:lnTo>
                      <a:pt x="12" y="114"/>
                    </a:lnTo>
                    <a:lnTo>
                      <a:pt x="0" y="109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8" y="89"/>
                    </a:lnTo>
                    <a:lnTo>
                      <a:pt x="26" y="92"/>
                    </a:lnTo>
                    <a:lnTo>
                      <a:pt x="26" y="92"/>
                    </a:lnTo>
                    <a:lnTo>
                      <a:pt x="35" y="93"/>
                    </a:lnTo>
                    <a:lnTo>
                      <a:pt x="44" y="94"/>
                    </a:lnTo>
                    <a:lnTo>
                      <a:pt x="44" y="94"/>
                    </a:lnTo>
                    <a:lnTo>
                      <a:pt x="53" y="93"/>
                    </a:lnTo>
                    <a:lnTo>
                      <a:pt x="62" y="90"/>
                    </a:lnTo>
                    <a:lnTo>
                      <a:pt x="62" y="90"/>
                    </a:lnTo>
                    <a:lnTo>
                      <a:pt x="64" y="89"/>
                    </a:lnTo>
                    <a:lnTo>
                      <a:pt x="67" y="86"/>
                    </a:lnTo>
                    <a:lnTo>
                      <a:pt x="68" y="84"/>
                    </a:lnTo>
                    <a:lnTo>
                      <a:pt x="69" y="80"/>
                    </a:lnTo>
                    <a:lnTo>
                      <a:pt x="69" y="80"/>
                    </a:lnTo>
                    <a:lnTo>
                      <a:pt x="68" y="78"/>
                    </a:lnTo>
                    <a:lnTo>
                      <a:pt x="67" y="76"/>
                    </a:lnTo>
                    <a:lnTo>
                      <a:pt x="66" y="74"/>
                    </a:lnTo>
                    <a:lnTo>
                      <a:pt x="64" y="73"/>
                    </a:lnTo>
                    <a:lnTo>
                      <a:pt x="64" y="73"/>
                    </a:lnTo>
                    <a:lnTo>
                      <a:pt x="59" y="71"/>
                    </a:lnTo>
                    <a:lnTo>
                      <a:pt x="53" y="70"/>
                    </a:lnTo>
                    <a:lnTo>
                      <a:pt x="23" y="70"/>
                    </a:lnTo>
                    <a:lnTo>
                      <a:pt x="23" y="47"/>
                    </a:lnTo>
                    <a:lnTo>
                      <a:pt x="50" y="47"/>
                    </a:lnTo>
                    <a:lnTo>
                      <a:pt x="50" y="47"/>
                    </a:lnTo>
                    <a:lnTo>
                      <a:pt x="55" y="46"/>
                    </a:lnTo>
                    <a:lnTo>
                      <a:pt x="60" y="44"/>
                    </a:lnTo>
                    <a:lnTo>
                      <a:pt x="60" y="44"/>
                    </a:lnTo>
                    <a:lnTo>
                      <a:pt x="63" y="41"/>
                    </a:lnTo>
                    <a:lnTo>
                      <a:pt x="64" y="37"/>
                    </a:lnTo>
                    <a:lnTo>
                      <a:pt x="64" y="37"/>
                    </a:lnTo>
                    <a:lnTo>
                      <a:pt x="63" y="35"/>
                    </a:lnTo>
                    <a:lnTo>
                      <a:pt x="62" y="32"/>
                    </a:lnTo>
                    <a:lnTo>
                      <a:pt x="61" y="30"/>
                    </a:lnTo>
                    <a:lnTo>
                      <a:pt x="58" y="29"/>
                    </a:lnTo>
                    <a:lnTo>
                      <a:pt x="58" y="29"/>
                    </a:lnTo>
                    <a:lnTo>
                      <a:pt x="51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35" y="26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0" y="30"/>
                    </a:lnTo>
                    <a:lnTo>
                      <a:pt x="13" y="34"/>
                    </a:lnTo>
                    <a:lnTo>
                      <a:pt x="3" y="9"/>
                    </a:lnTo>
                    <a:lnTo>
                      <a:pt x="3" y="9"/>
                    </a:lnTo>
                    <a:lnTo>
                      <a:pt x="13" y="5"/>
                    </a:lnTo>
                    <a:lnTo>
                      <a:pt x="23" y="2"/>
                    </a:lnTo>
                    <a:lnTo>
                      <a:pt x="33" y="1"/>
                    </a:lnTo>
                    <a:lnTo>
                      <a:pt x="44" y="0"/>
                    </a:lnTo>
                    <a:lnTo>
                      <a:pt x="44" y="0"/>
                    </a:lnTo>
                    <a:lnTo>
                      <a:pt x="57" y="1"/>
                    </a:lnTo>
                    <a:lnTo>
                      <a:pt x="70" y="4"/>
                    </a:lnTo>
                    <a:lnTo>
                      <a:pt x="70" y="4"/>
                    </a:lnTo>
                    <a:lnTo>
                      <a:pt x="75" y="6"/>
                    </a:lnTo>
                    <a:lnTo>
                      <a:pt x="80" y="9"/>
                    </a:lnTo>
                    <a:lnTo>
                      <a:pt x="85" y="12"/>
                    </a:lnTo>
                    <a:lnTo>
                      <a:pt x="89" y="16"/>
                    </a:lnTo>
                    <a:lnTo>
                      <a:pt x="89" y="16"/>
                    </a:lnTo>
                    <a:lnTo>
                      <a:pt x="92" y="20"/>
                    </a:lnTo>
                    <a:lnTo>
                      <a:pt x="95" y="24"/>
                    </a:lnTo>
                    <a:lnTo>
                      <a:pt x="96" y="29"/>
                    </a:lnTo>
                    <a:lnTo>
                      <a:pt x="96" y="34"/>
                    </a:lnTo>
                    <a:lnTo>
                      <a:pt x="96" y="34"/>
                    </a:lnTo>
                    <a:lnTo>
                      <a:pt x="95" y="41"/>
                    </a:lnTo>
                    <a:lnTo>
                      <a:pt x="92" y="48"/>
                    </a:lnTo>
                    <a:lnTo>
                      <a:pt x="92" y="48"/>
                    </a:lnTo>
                    <a:lnTo>
                      <a:pt x="87" y="53"/>
                    </a:lnTo>
                    <a:lnTo>
                      <a:pt x="81" y="58"/>
                    </a:lnTo>
                    <a:lnTo>
                      <a:pt x="81" y="58"/>
                    </a:lnTo>
                    <a:lnTo>
                      <a:pt x="85" y="59"/>
                    </a:lnTo>
                    <a:lnTo>
                      <a:pt x="89" y="62"/>
                    </a:lnTo>
                    <a:lnTo>
                      <a:pt x="93" y="65"/>
                    </a:lnTo>
                    <a:lnTo>
                      <a:pt x="96" y="68"/>
                    </a:lnTo>
                    <a:lnTo>
                      <a:pt x="96" y="68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13">
                <a:extLst>
                  <a:ext uri="{FF2B5EF4-FFF2-40B4-BE49-F238E27FC236}">
                    <a16:creationId xmlns:a16="http://schemas.microsoft.com/office/drawing/2014/main" id="{79C57605-EA25-4DBB-8B24-F3053622C0E8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1256966" y="1377950"/>
                <a:ext cx="101600" cy="93662"/>
              </a:xfrm>
              <a:custGeom>
                <a:avLst/>
                <a:gdLst>
                  <a:gd name="T0" fmla="*/ 31 w 128"/>
                  <a:gd name="T1" fmla="*/ 112 h 119"/>
                  <a:gd name="T2" fmla="*/ 21 w 128"/>
                  <a:gd name="T3" fmla="*/ 105 h 119"/>
                  <a:gd name="T4" fmla="*/ 7 w 128"/>
                  <a:gd name="T5" fmla="*/ 87 h 119"/>
                  <a:gd name="T6" fmla="*/ 0 w 128"/>
                  <a:gd name="T7" fmla="*/ 65 h 119"/>
                  <a:gd name="T8" fmla="*/ 2 w 128"/>
                  <a:gd name="T9" fmla="*/ 43 h 119"/>
                  <a:gd name="T10" fmla="*/ 7 w 128"/>
                  <a:gd name="T11" fmla="*/ 32 h 119"/>
                  <a:gd name="T12" fmla="*/ 11 w 128"/>
                  <a:gd name="T13" fmla="*/ 24 h 119"/>
                  <a:gd name="T14" fmla="*/ 24 w 128"/>
                  <a:gd name="T15" fmla="*/ 12 h 119"/>
                  <a:gd name="T16" fmla="*/ 31 w 128"/>
                  <a:gd name="T17" fmla="*/ 7 h 119"/>
                  <a:gd name="T18" fmla="*/ 47 w 128"/>
                  <a:gd name="T19" fmla="*/ 2 h 119"/>
                  <a:gd name="T20" fmla="*/ 65 w 128"/>
                  <a:gd name="T21" fmla="*/ 0 h 119"/>
                  <a:gd name="T22" fmla="*/ 81 w 128"/>
                  <a:gd name="T23" fmla="*/ 2 h 119"/>
                  <a:gd name="T24" fmla="*/ 97 w 128"/>
                  <a:gd name="T25" fmla="*/ 7 h 119"/>
                  <a:gd name="T26" fmla="*/ 102 w 128"/>
                  <a:gd name="T27" fmla="*/ 10 h 119"/>
                  <a:gd name="T28" fmla="*/ 115 w 128"/>
                  <a:gd name="T29" fmla="*/ 22 h 119"/>
                  <a:gd name="T30" fmla="*/ 126 w 128"/>
                  <a:gd name="T31" fmla="*/ 42 h 119"/>
                  <a:gd name="T32" fmla="*/ 128 w 128"/>
                  <a:gd name="T33" fmla="*/ 64 h 119"/>
                  <a:gd name="T34" fmla="*/ 124 w 128"/>
                  <a:gd name="T35" fmla="*/ 81 h 119"/>
                  <a:gd name="T36" fmla="*/ 122 w 128"/>
                  <a:gd name="T37" fmla="*/ 86 h 119"/>
                  <a:gd name="T38" fmla="*/ 111 w 128"/>
                  <a:gd name="T39" fmla="*/ 100 h 119"/>
                  <a:gd name="T40" fmla="*/ 97 w 128"/>
                  <a:gd name="T41" fmla="*/ 112 h 119"/>
                  <a:gd name="T42" fmla="*/ 89 w 128"/>
                  <a:gd name="T43" fmla="*/ 115 h 119"/>
                  <a:gd name="T44" fmla="*/ 73 w 128"/>
                  <a:gd name="T45" fmla="*/ 119 h 119"/>
                  <a:gd name="T46" fmla="*/ 56 w 128"/>
                  <a:gd name="T47" fmla="*/ 119 h 119"/>
                  <a:gd name="T48" fmla="*/ 39 w 128"/>
                  <a:gd name="T49" fmla="*/ 115 h 119"/>
                  <a:gd name="T50" fmla="*/ 31 w 128"/>
                  <a:gd name="T51" fmla="*/ 112 h 119"/>
                  <a:gd name="T52" fmla="*/ 80 w 128"/>
                  <a:gd name="T53" fmla="*/ 87 h 119"/>
                  <a:gd name="T54" fmla="*/ 91 w 128"/>
                  <a:gd name="T55" fmla="*/ 76 h 119"/>
                  <a:gd name="T56" fmla="*/ 94 w 128"/>
                  <a:gd name="T57" fmla="*/ 68 h 119"/>
                  <a:gd name="T58" fmla="*/ 94 w 128"/>
                  <a:gd name="T59" fmla="*/ 50 h 119"/>
                  <a:gd name="T60" fmla="*/ 91 w 128"/>
                  <a:gd name="T61" fmla="*/ 42 h 119"/>
                  <a:gd name="T62" fmla="*/ 80 w 128"/>
                  <a:gd name="T63" fmla="*/ 30 h 119"/>
                  <a:gd name="T64" fmla="*/ 73 w 128"/>
                  <a:gd name="T65" fmla="*/ 27 h 119"/>
                  <a:gd name="T66" fmla="*/ 57 w 128"/>
                  <a:gd name="T67" fmla="*/ 27 h 119"/>
                  <a:gd name="T68" fmla="*/ 48 w 128"/>
                  <a:gd name="T69" fmla="*/ 30 h 119"/>
                  <a:gd name="T70" fmla="*/ 37 w 128"/>
                  <a:gd name="T71" fmla="*/ 42 h 119"/>
                  <a:gd name="T72" fmla="*/ 34 w 128"/>
                  <a:gd name="T73" fmla="*/ 50 h 119"/>
                  <a:gd name="T74" fmla="*/ 34 w 128"/>
                  <a:gd name="T75" fmla="*/ 68 h 119"/>
                  <a:gd name="T76" fmla="*/ 37 w 128"/>
                  <a:gd name="T77" fmla="*/ 76 h 119"/>
                  <a:gd name="T78" fmla="*/ 48 w 128"/>
                  <a:gd name="T79" fmla="*/ 87 h 119"/>
                  <a:gd name="T80" fmla="*/ 57 w 128"/>
                  <a:gd name="T81" fmla="*/ 90 h 119"/>
                  <a:gd name="T82" fmla="*/ 73 w 128"/>
                  <a:gd name="T83" fmla="*/ 90 h 119"/>
                  <a:gd name="T84" fmla="*/ 80 w 128"/>
                  <a:gd name="T85" fmla="*/ 87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28" h="119">
                    <a:moveTo>
                      <a:pt x="31" y="112"/>
                    </a:moveTo>
                    <a:lnTo>
                      <a:pt x="31" y="112"/>
                    </a:lnTo>
                    <a:lnTo>
                      <a:pt x="26" y="109"/>
                    </a:lnTo>
                    <a:lnTo>
                      <a:pt x="21" y="105"/>
                    </a:lnTo>
                    <a:lnTo>
                      <a:pt x="13" y="96"/>
                    </a:lnTo>
                    <a:lnTo>
                      <a:pt x="7" y="87"/>
                    </a:lnTo>
                    <a:lnTo>
                      <a:pt x="3" y="76"/>
                    </a:lnTo>
                    <a:lnTo>
                      <a:pt x="0" y="65"/>
                    </a:lnTo>
                    <a:lnTo>
                      <a:pt x="0" y="54"/>
                    </a:lnTo>
                    <a:lnTo>
                      <a:pt x="2" y="43"/>
                    </a:lnTo>
                    <a:lnTo>
                      <a:pt x="4" y="37"/>
                    </a:lnTo>
                    <a:lnTo>
                      <a:pt x="7" y="32"/>
                    </a:lnTo>
                    <a:lnTo>
                      <a:pt x="7" y="32"/>
                    </a:lnTo>
                    <a:lnTo>
                      <a:pt x="11" y="24"/>
                    </a:lnTo>
                    <a:lnTo>
                      <a:pt x="17" y="18"/>
                    </a:lnTo>
                    <a:lnTo>
                      <a:pt x="24" y="12"/>
                    </a:lnTo>
                    <a:lnTo>
                      <a:pt x="31" y="7"/>
                    </a:lnTo>
                    <a:lnTo>
                      <a:pt x="31" y="7"/>
                    </a:lnTo>
                    <a:lnTo>
                      <a:pt x="39" y="4"/>
                    </a:lnTo>
                    <a:lnTo>
                      <a:pt x="47" y="2"/>
                    </a:lnTo>
                    <a:lnTo>
                      <a:pt x="56" y="0"/>
                    </a:lnTo>
                    <a:lnTo>
                      <a:pt x="65" y="0"/>
                    </a:lnTo>
                    <a:lnTo>
                      <a:pt x="73" y="0"/>
                    </a:lnTo>
                    <a:lnTo>
                      <a:pt x="81" y="2"/>
                    </a:lnTo>
                    <a:lnTo>
                      <a:pt x="89" y="4"/>
                    </a:lnTo>
                    <a:lnTo>
                      <a:pt x="97" y="7"/>
                    </a:lnTo>
                    <a:lnTo>
                      <a:pt x="97" y="7"/>
                    </a:lnTo>
                    <a:lnTo>
                      <a:pt x="102" y="10"/>
                    </a:lnTo>
                    <a:lnTo>
                      <a:pt x="107" y="14"/>
                    </a:lnTo>
                    <a:lnTo>
                      <a:pt x="115" y="22"/>
                    </a:lnTo>
                    <a:lnTo>
                      <a:pt x="121" y="31"/>
                    </a:lnTo>
                    <a:lnTo>
                      <a:pt x="126" y="42"/>
                    </a:lnTo>
                    <a:lnTo>
                      <a:pt x="128" y="53"/>
                    </a:lnTo>
                    <a:lnTo>
                      <a:pt x="128" y="64"/>
                    </a:lnTo>
                    <a:lnTo>
                      <a:pt x="126" y="75"/>
                    </a:lnTo>
                    <a:lnTo>
                      <a:pt x="124" y="81"/>
                    </a:lnTo>
                    <a:lnTo>
                      <a:pt x="122" y="86"/>
                    </a:lnTo>
                    <a:lnTo>
                      <a:pt x="122" y="86"/>
                    </a:lnTo>
                    <a:lnTo>
                      <a:pt x="117" y="94"/>
                    </a:lnTo>
                    <a:lnTo>
                      <a:pt x="111" y="100"/>
                    </a:lnTo>
                    <a:lnTo>
                      <a:pt x="105" y="107"/>
                    </a:lnTo>
                    <a:lnTo>
                      <a:pt x="97" y="112"/>
                    </a:lnTo>
                    <a:lnTo>
                      <a:pt x="97" y="112"/>
                    </a:lnTo>
                    <a:lnTo>
                      <a:pt x="89" y="115"/>
                    </a:lnTo>
                    <a:lnTo>
                      <a:pt x="81" y="117"/>
                    </a:lnTo>
                    <a:lnTo>
                      <a:pt x="73" y="119"/>
                    </a:lnTo>
                    <a:lnTo>
                      <a:pt x="65" y="119"/>
                    </a:lnTo>
                    <a:lnTo>
                      <a:pt x="56" y="119"/>
                    </a:lnTo>
                    <a:lnTo>
                      <a:pt x="47" y="117"/>
                    </a:lnTo>
                    <a:lnTo>
                      <a:pt x="39" y="115"/>
                    </a:lnTo>
                    <a:lnTo>
                      <a:pt x="31" y="112"/>
                    </a:lnTo>
                    <a:lnTo>
                      <a:pt x="31" y="112"/>
                    </a:lnTo>
                    <a:close/>
                    <a:moveTo>
                      <a:pt x="80" y="87"/>
                    </a:moveTo>
                    <a:lnTo>
                      <a:pt x="80" y="87"/>
                    </a:lnTo>
                    <a:lnTo>
                      <a:pt x="87" y="82"/>
                    </a:lnTo>
                    <a:lnTo>
                      <a:pt x="91" y="76"/>
                    </a:lnTo>
                    <a:lnTo>
                      <a:pt x="91" y="76"/>
                    </a:lnTo>
                    <a:lnTo>
                      <a:pt x="94" y="68"/>
                    </a:lnTo>
                    <a:lnTo>
                      <a:pt x="96" y="59"/>
                    </a:lnTo>
                    <a:lnTo>
                      <a:pt x="94" y="50"/>
                    </a:lnTo>
                    <a:lnTo>
                      <a:pt x="91" y="42"/>
                    </a:lnTo>
                    <a:lnTo>
                      <a:pt x="91" y="42"/>
                    </a:lnTo>
                    <a:lnTo>
                      <a:pt x="87" y="35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73" y="27"/>
                    </a:lnTo>
                    <a:lnTo>
                      <a:pt x="65" y="26"/>
                    </a:lnTo>
                    <a:lnTo>
                      <a:pt x="57" y="27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2" y="35"/>
                    </a:lnTo>
                    <a:lnTo>
                      <a:pt x="37" y="42"/>
                    </a:lnTo>
                    <a:lnTo>
                      <a:pt x="37" y="42"/>
                    </a:lnTo>
                    <a:lnTo>
                      <a:pt x="34" y="50"/>
                    </a:lnTo>
                    <a:lnTo>
                      <a:pt x="33" y="59"/>
                    </a:lnTo>
                    <a:lnTo>
                      <a:pt x="34" y="68"/>
                    </a:lnTo>
                    <a:lnTo>
                      <a:pt x="37" y="76"/>
                    </a:lnTo>
                    <a:lnTo>
                      <a:pt x="37" y="76"/>
                    </a:lnTo>
                    <a:lnTo>
                      <a:pt x="42" y="82"/>
                    </a:lnTo>
                    <a:lnTo>
                      <a:pt x="48" y="87"/>
                    </a:lnTo>
                    <a:lnTo>
                      <a:pt x="48" y="87"/>
                    </a:lnTo>
                    <a:lnTo>
                      <a:pt x="57" y="90"/>
                    </a:lnTo>
                    <a:lnTo>
                      <a:pt x="65" y="91"/>
                    </a:lnTo>
                    <a:lnTo>
                      <a:pt x="73" y="90"/>
                    </a:lnTo>
                    <a:lnTo>
                      <a:pt x="80" y="87"/>
                    </a:lnTo>
                    <a:lnTo>
                      <a:pt x="80" y="87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14">
                <a:extLst>
                  <a:ext uri="{FF2B5EF4-FFF2-40B4-BE49-F238E27FC236}">
                    <a16:creationId xmlns:a16="http://schemas.microsoft.com/office/drawing/2014/main" id="{D9ABB37E-06C3-4B03-9846-6A324B0576FA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1374441" y="1379538"/>
                <a:ext cx="82550" cy="90487"/>
              </a:xfrm>
              <a:custGeom>
                <a:avLst/>
                <a:gdLst>
                  <a:gd name="T0" fmla="*/ 99 w 104"/>
                  <a:gd name="T1" fmla="*/ 64 h 115"/>
                  <a:gd name="T2" fmla="*/ 103 w 104"/>
                  <a:gd name="T3" fmla="*/ 72 h 115"/>
                  <a:gd name="T4" fmla="*/ 104 w 104"/>
                  <a:gd name="T5" fmla="*/ 81 h 115"/>
                  <a:gd name="T6" fmla="*/ 104 w 104"/>
                  <a:gd name="T7" fmla="*/ 88 h 115"/>
                  <a:gd name="T8" fmla="*/ 98 w 104"/>
                  <a:gd name="T9" fmla="*/ 101 h 115"/>
                  <a:gd name="T10" fmla="*/ 92 w 104"/>
                  <a:gd name="T11" fmla="*/ 106 h 115"/>
                  <a:gd name="T12" fmla="*/ 78 w 104"/>
                  <a:gd name="T13" fmla="*/ 113 h 115"/>
                  <a:gd name="T14" fmla="*/ 59 w 104"/>
                  <a:gd name="T15" fmla="*/ 115 h 115"/>
                  <a:gd name="T16" fmla="*/ 0 w 104"/>
                  <a:gd name="T17" fmla="*/ 0 h 115"/>
                  <a:gd name="T18" fmla="*/ 56 w 104"/>
                  <a:gd name="T19" fmla="*/ 0 h 115"/>
                  <a:gd name="T20" fmla="*/ 72 w 104"/>
                  <a:gd name="T21" fmla="*/ 2 h 115"/>
                  <a:gd name="T22" fmla="*/ 88 w 104"/>
                  <a:gd name="T23" fmla="*/ 8 h 115"/>
                  <a:gd name="T24" fmla="*/ 93 w 104"/>
                  <a:gd name="T25" fmla="*/ 12 h 115"/>
                  <a:gd name="T26" fmla="*/ 99 w 104"/>
                  <a:gd name="T27" fmla="*/ 23 h 115"/>
                  <a:gd name="T28" fmla="*/ 99 w 104"/>
                  <a:gd name="T29" fmla="*/ 30 h 115"/>
                  <a:gd name="T30" fmla="*/ 95 w 104"/>
                  <a:gd name="T31" fmla="*/ 45 h 115"/>
                  <a:gd name="T32" fmla="*/ 90 w 104"/>
                  <a:gd name="T33" fmla="*/ 50 h 115"/>
                  <a:gd name="T34" fmla="*/ 84 w 104"/>
                  <a:gd name="T35" fmla="*/ 54 h 115"/>
                  <a:gd name="T36" fmla="*/ 92 w 104"/>
                  <a:gd name="T37" fmla="*/ 58 h 115"/>
                  <a:gd name="T38" fmla="*/ 99 w 104"/>
                  <a:gd name="T39" fmla="*/ 64 h 115"/>
                  <a:gd name="T40" fmla="*/ 31 w 104"/>
                  <a:gd name="T41" fmla="*/ 46 h 115"/>
                  <a:gd name="T42" fmla="*/ 53 w 104"/>
                  <a:gd name="T43" fmla="*/ 46 h 115"/>
                  <a:gd name="T44" fmla="*/ 63 w 104"/>
                  <a:gd name="T45" fmla="*/ 43 h 115"/>
                  <a:gd name="T46" fmla="*/ 67 w 104"/>
                  <a:gd name="T47" fmla="*/ 34 h 115"/>
                  <a:gd name="T48" fmla="*/ 66 w 104"/>
                  <a:gd name="T49" fmla="*/ 29 h 115"/>
                  <a:gd name="T50" fmla="*/ 59 w 104"/>
                  <a:gd name="T51" fmla="*/ 24 h 115"/>
                  <a:gd name="T52" fmla="*/ 31 w 104"/>
                  <a:gd name="T53" fmla="*/ 23 h 115"/>
                  <a:gd name="T54" fmla="*/ 72 w 104"/>
                  <a:gd name="T55" fmla="*/ 79 h 115"/>
                  <a:gd name="T56" fmla="*/ 71 w 104"/>
                  <a:gd name="T57" fmla="*/ 74 h 115"/>
                  <a:gd name="T58" fmla="*/ 64 w 104"/>
                  <a:gd name="T59" fmla="*/ 68 h 115"/>
                  <a:gd name="T60" fmla="*/ 32 w 104"/>
                  <a:gd name="T61" fmla="*/ 67 h 115"/>
                  <a:gd name="T62" fmla="*/ 58 w 104"/>
                  <a:gd name="T63" fmla="*/ 91 h 115"/>
                  <a:gd name="T64" fmla="*/ 64 w 104"/>
                  <a:gd name="T65" fmla="*/ 90 h 115"/>
                  <a:gd name="T66" fmla="*/ 71 w 104"/>
                  <a:gd name="T67" fmla="*/ 84 h 115"/>
                  <a:gd name="T68" fmla="*/ 72 w 104"/>
                  <a:gd name="T69" fmla="*/ 79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4" h="115">
                    <a:moveTo>
                      <a:pt x="99" y="64"/>
                    </a:moveTo>
                    <a:lnTo>
                      <a:pt x="99" y="64"/>
                    </a:lnTo>
                    <a:lnTo>
                      <a:pt x="101" y="68"/>
                    </a:lnTo>
                    <a:lnTo>
                      <a:pt x="103" y="72"/>
                    </a:lnTo>
                    <a:lnTo>
                      <a:pt x="104" y="77"/>
                    </a:lnTo>
                    <a:lnTo>
                      <a:pt x="104" y="81"/>
                    </a:lnTo>
                    <a:lnTo>
                      <a:pt x="104" y="81"/>
                    </a:lnTo>
                    <a:lnTo>
                      <a:pt x="104" y="88"/>
                    </a:lnTo>
                    <a:lnTo>
                      <a:pt x="101" y="95"/>
                    </a:lnTo>
                    <a:lnTo>
                      <a:pt x="98" y="101"/>
                    </a:lnTo>
                    <a:lnTo>
                      <a:pt x="92" y="106"/>
                    </a:lnTo>
                    <a:lnTo>
                      <a:pt x="92" y="106"/>
                    </a:lnTo>
                    <a:lnTo>
                      <a:pt x="86" y="110"/>
                    </a:lnTo>
                    <a:lnTo>
                      <a:pt x="78" y="113"/>
                    </a:lnTo>
                    <a:lnTo>
                      <a:pt x="69" y="114"/>
                    </a:lnTo>
                    <a:lnTo>
                      <a:pt x="59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4" y="0"/>
                    </a:lnTo>
                    <a:lnTo>
                      <a:pt x="72" y="2"/>
                    </a:lnTo>
                    <a:lnTo>
                      <a:pt x="80" y="4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93" y="12"/>
                    </a:lnTo>
                    <a:lnTo>
                      <a:pt x="96" y="17"/>
                    </a:lnTo>
                    <a:lnTo>
                      <a:pt x="99" y="23"/>
                    </a:lnTo>
                    <a:lnTo>
                      <a:pt x="99" y="30"/>
                    </a:lnTo>
                    <a:lnTo>
                      <a:pt x="99" y="30"/>
                    </a:lnTo>
                    <a:lnTo>
                      <a:pt x="98" y="37"/>
                    </a:lnTo>
                    <a:lnTo>
                      <a:pt x="95" y="45"/>
                    </a:lnTo>
                    <a:lnTo>
                      <a:pt x="95" y="45"/>
                    </a:lnTo>
                    <a:lnTo>
                      <a:pt x="90" y="50"/>
                    </a:lnTo>
                    <a:lnTo>
                      <a:pt x="84" y="54"/>
                    </a:lnTo>
                    <a:lnTo>
                      <a:pt x="84" y="54"/>
                    </a:lnTo>
                    <a:lnTo>
                      <a:pt x="88" y="56"/>
                    </a:lnTo>
                    <a:lnTo>
                      <a:pt x="92" y="58"/>
                    </a:lnTo>
                    <a:lnTo>
                      <a:pt x="96" y="61"/>
                    </a:lnTo>
                    <a:lnTo>
                      <a:pt x="99" y="64"/>
                    </a:lnTo>
                    <a:lnTo>
                      <a:pt x="99" y="64"/>
                    </a:lnTo>
                    <a:close/>
                    <a:moveTo>
                      <a:pt x="31" y="46"/>
                    </a:moveTo>
                    <a:lnTo>
                      <a:pt x="53" y="46"/>
                    </a:lnTo>
                    <a:lnTo>
                      <a:pt x="53" y="46"/>
                    </a:lnTo>
                    <a:lnTo>
                      <a:pt x="59" y="45"/>
                    </a:lnTo>
                    <a:lnTo>
                      <a:pt x="63" y="43"/>
                    </a:lnTo>
                    <a:lnTo>
                      <a:pt x="66" y="39"/>
                    </a:lnTo>
                    <a:lnTo>
                      <a:pt x="67" y="34"/>
                    </a:lnTo>
                    <a:lnTo>
                      <a:pt x="67" y="34"/>
                    </a:lnTo>
                    <a:lnTo>
                      <a:pt x="66" y="29"/>
                    </a:lnTo>
                    <a:lnTo>
                      <a:pt x="63" y="26"/>
                    </a:lnTo>
                    <a:lnTo>
                      <a:pt x="59" y="24"/>
                    </a:lnTo>
                    <a:lnTo>
                      <a:pt x="53" y="23"/>
                    </a:lnTo>
                    <a:lnTo>
                      <a:pt x="31" y="23"/>
                    </a:lnTo>
                    <a:lnTo>
                      <a:pt x="31" y="46"/>
                    </a:lnTo>
                    <a:close/>
                    <a:moveTo>
                      <a:pt x="72" y="79"/>
                    </a:moveTo>
                    <a:lnTo>
                      <a:pt x="72" y="79"/>
                    </a:lnTo>
                    <a:lnTo>
                      <a:pt x="71" y="74"/>
                    </a:lnTo>
                    <a:lnTo>
                      <a:pt x="68" y="70"/>
                    </a:lnTo>
                    <a:lnTo>
                      <a:pt x="64" y="68"/>
                    </a:lnTo>
                    <a:lnTo>
                      <a:pt x="58" y="67"/>
                    </a:lnTo>
                    <a:lnTo>
                      <a:pt x="32" y="67"/>
                    </a:lnTo>
                    <a:lnTo>
                      <a:pt x="32" y="91"/>
                    </a:lnTo>
                    <a:lnTo>
                      <a:pt x="58" y="91"/>
                    </a:lnTo>
                    <a:lnTo>
                      <a:pt x="58" y="91"/>
                    </a:lnTo>
                    <a:lnTo>
                      <a:pt x="64" y="90"/>
                    </a:lnTo>
                    <a:lnTo>
                      <a:pt x="68" y="88"/>
                    </a:lnTo>
                    <a:lnTo>
                      <a:pt x="71" y="84"/>
                    </a:lnTo>
                    <a:lnTo>
                      <a:pt x="72" y="79"/>
                    </a:lnTo>
                    <a:lnTo>
                      <a:pt x="72" y="79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15">
                <a:extLst>
                  <a:ext uri="{FF2B5EF4-FFF2-40B4-BE49-F238E27FC236}">
                    <a16:creationId xmlns:a16="http://schemas.microsoft.com/office/drawing/2014/main" id="{02643EEB-111C-4AE3-9CFC-22C53A763160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1474454" y="1379538"/>
                <a:ext cx="115888" cy="90487"/>
              </a:xfrm>
              <a:custGeom>
                <a:avLst/>
                <a:gdLst>
                  <a:gd name="T0" fmla="*/ 91 w 147"/>
                  <a:gd name="T1" fmla="*/ 46 h 115"/>
                  <a:gd name="T2" fmla="*/ 91 w 147"/>
                  <a:gd name="T3" fmla="*/ 46 h 115"/>
                  <a:gd name="T4" fmla="*/ 97 w 147"/>
                  <a:gd name="T5" fmla="*/ 51 h 115"/>
                  <a:gd name="T6" fmla="*/ 100 w 147"/>
                  <a:gd name="T7" fmla="*/ 58 h 115"/>
                  <a:gd name="T8" fmla="*/ 103 w 147"/>
                  <a:gd name="T9" fmla="*/ 66 h 115"/>
                  <a:gd name="T10" fmla="*/ 103 w 147"/>
                  <a:gd name="T11" fmla="*/ 73 h 115"/>
                  <a:gd name="T12" fmla="*/ 103 w 147"/>
                  <a:gd name="T13" fmla="*/ 73 h 115"/>
                  <a:gd name="T14" fmla="*/ 102 w 147"/>
                  <a:gd name="T15" fmla="*/ 82 h 115"/>
                  <a:gd name="T16" fmla="*/ 100 w 147"/>
                  <a:gd name="T17" fmla="*/ 90 h 115"/>
                  <a:gd name="T18" fmla="*/ 96 w 147"/>
                  <a:gd name="T19" fmla="*/ 97 h 115"/>
                  <a:gd name="T20" fmla="*/ 90 w 147"/>
                  <a:gd name="T21" fmla="*/ 104 h 115"/>
                  <a:gd name="T22" fmla="*/ 90 w 147"/>
                  <a:gd name="T23" fmla="*/ 104 h 115"/>
                  <a:gd name="T24" fmla="*/ 82 w 147"/>
                  <a:gd name="T25" fmla="*/ 109 h 115"/>
                  <a:gd name="T26" fmla="*/ 73 w 147"/>
                  <a:gd name="T27" fmla="*/ 113 h 115"/>
                  <a:gd name="T28" fmla="*/ 64 w 147"/>
                  <a:gd name="T29" fmla="*/ 115 h 115"/>
                  <a:gd name="T30" fmla="*/ 55 w 147"/>
                  <a:gd name="T31" fmla="*/ 115 h 115"/>
                  <a:gd name="T32" fmla="*/ 0 w 147"/>
                  <a:gd name="T33" fmla="*/ 115 h 115"/>
                  <a:gd name="T34" fmla="*/ 0 w 147"/>
                  <a:gd name="T35" fmla="*/ 0 h 115"/>
                  <a:gd name="T36" fmla="*/ 32 w 147"/>
                  <a:gd name="T37" fmla="*/ 0 h 115"/>
                  <a:gd name="T38" fmla="*/ 32 w 147"/>
                  <a:gd name="T39" fmla="*/ 36 h 115"/>
                  <a:gd name="T40" fmla="*/ 59 w 147"/>
                  <a:gd name="T41" fmla="*/ 36 h 115"/>
                  <a:gd name="T42" fmla="*/ 59 w 147"/>
                  <a:gd name="T43" fmla="*/ 36 h 115"/>
                  <a:gd name="T44" fmla="*/ 68 w 147"/>
                  <a:gd name="T45" fmla="*/ 37 h 115"/>
                  <a:gd name="T46" fmla="*/ 76 w 147"/>
                  <a:gd name="T47" fmla="*/ 38 h 115"/>
                  <a:gd name="T48" fmla="*/ 84 w 147"/>
                  <a:gd name="T49" fmla="*/ 41 h 115"/>
                  <a:gd name="T50" fmla="*/ 91 w 147"/>
                  <a:gd name="T51" fmla="*/ 46 h 115"/>
                  <a:gd name="T52" fmla="*/ 91 w 147"/>
                  <a:gd name="T53" fmla="*/ 46 h 115"/>
                  <a:gd name="T54" fmla="*/ 66 w 147"/>
                  <a:gd name="T55" fmla="*/ 86 h 115"/>
                  <a:gd name="T56" fmla="*/ 66 w 147"/>
                  <a:gd name="T57" fmla="*/ 86 h 115"/>
                  <a:gd name="T58" fmla="*/ 68 w 147"/>
                  <a:gd name="T59" fmla="*/ 84 h 115"/>
                  <a:gd name="T60" fmla="*/ 69 w 147"/>
                  <a:gd name="T61" fmla="*/ 81 h 115"/>
                  <a:gd name="T62" fmla="*/ 70 w 147"/>
                  <a:gd name="T63" fmla="*/ 77 h 115"/>
                  <a:gd name="T64" fmla="*/ 71 w 147"/>
                  <a:gd name="T65" fmla="*/ 74 h 115"/>
                  <a:gd name="T66" fmla="*/ 71 w 147"/>
                  <a:gd name="T67" fmla="*/ 74 h 115"/>
                  <a:gd name="T68" fmla="*/ 70 w 147"/>
                  <a:gd name="T69" fmla="*/ 71 h 115"/>
                  <a:gd name="T70" fmla="*/ 70 w 147"/>
                  <a:gd name="T71" fmla="*/ 68 h 115"/>
                  <a:gd name="T72" fmla="*/ 68 w 147"/>
                  <a:gd name="T73" fmla="*/ 65 h 115"/>
                  <a:gd name="T74" fmla="*/ 66 w 147"/>
                  <a:gd name="T75" fmla="*/ 63 h 115"/>
                  <a:gd name="T76" fmla="*/ 64 w 147"/>
                  <a:gd name="T77" fmla="*/ 61 h 115"/>
                  <a:gd name="T78" fmla="*/ 61 w 147"/>
                  <a:gd name="T79" fmla="*/ 60 h 115"/>
                  <a:gd name="T80" fmla="*/ 53 w 147"/>
                  <a:gd name="T81" fmla="*/ 59 h 115"/>
                  <a:gd name="T82" fmla="*/ 32 w 147"/>
                  <a:gd name="T83" fmla="*/ 59 h 115"/>
                  <a:gd name="T84" fmla="*/ 32 w 147"/>
                  <a:gd name="T85" fmla="*/ 91 h 115"/>
                  <a:gd name="T86" fmla="*/ 53 w 147"/>
                  <a:gd name="T87" fmla="*/ 91 h 115"/>
                  <a:gd name="T88" fmla="*/ 53 w 147"/>
                  <a:gd name="T89" fmla="*/ 91 h 115"/>
                  <a:gd name="T90" fmla="*/ 56 w 147"/>
                  <a:gd name="T91" fmla="*/ 91 h 115"/>
                  <a:gd name="T92" fmla="*/ 60 w 147"/>
                  <a:gd name="T93" fmla="*/ 90 h 115"/>
                  <a:gd name="T94" fmla="*/ 63 w 147"/>
                  <a:gd name="T95" fmla="*/ 88 h 115"/>
                  <a:gd name="T96" fmla="*/ 66 w 147"/>
                  <a:gd name="T97" fmla="*/ 86 h 115"/>
                  <a:gd name="T98" fmla="*/ 66 w 147"/>
                  <a:gd name="T99" fmla="*/ 86 h 115"/>
                  <a:gd name="T100" fmla="*/ 115 w 147"/>
                  <a:gd name="T101" fmla="*/ 0 h 115"/>
                  <a:gd name="T102" fmla="*/ 147 w 147"/>
                  <a:gd name="T103" fmla="*/ 0 h 115"/>
                  <a:gd name="T104" fmla="*/ 147 w 147"/>
                  <a:gd name="T105" fmla="*/ 115 h 115"/>
                  <a:gd name="T106" fmla="*/ 115 w 147"/>
                  <a:gd name="T107" fmla="*/ 115 h 115"/>
                  <a:gd name="T108" fmla="*/ 115 w 147"/>
                  <a:gd name="T109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47" h="115">
                    <a:moveTo>
                      <a:pt x="91" y="46"/>
                    </a:moveTo>
                    <a:lnTo>
                      <a:pt x="91" y="46"/>
                    </a:lnTo>
                    <a:lnTo>
                      <a:pt x="97" y="51"/>
                    </a:lnTo>
                    <a:lnTo>
                      <a:pt x="100" y="58"/>
                    </a:lnTo>
                    <a:lnTo>
                      <a:pt x="103" y="66"/>
                    </a:lnTo>
                    <a:lnTo>
                      <a:pt x="103" y="73"/>
                    </a:lnTo>
                    <a:lnTo>
                      <a:pt x="103" y="73"/>
                    </a:lnTo>
                    <a:lnTo>
                      <a:pt x="102" y="82"/>
                    </a:lnTo>
                    <a:lnTo>
                      <a:pt x="100" y="90"/>
                    </a:lnTo>
                    <a:lnTo>
                      <a:pt x="96" y="97"/>
                    </a:lnTo>
                    <a:lnTo>
                      <a:pt x="90" y="104"/>
                    </a:lnTo>
                    <a:lnTo>
                      <a:pt x="90" y="104"/>
                    </a:lnTo>
                    <a:lnTo>
                      <a:pt x="82" y="109"/>
                    </a:lnTo>
                    <a:lnTo>
                      <a:pt x="73" y="113"/>
                    </a:lnTo>
                    <a:lnTo>
                      <a:pt x="64" y="115"/>
                    </a:lnTo>
                    <a:lnTo>
                      <a:pt x="55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2" y="0"/>
                    </a:lnTo>
                    <a:lnTo>
                      <a:pt x="32" y="36"/>
                    </a:lnTo>
                    <a:lnTo>
                      <a:pt x="59" y="36"/>
                    </a:lnTo>
                    <a:lnTo>
                      <a:pt x="59" y="36"/>
                    </a:lnTo>
                    <a:lnTo>
                      <a:pt x="68" y="37"/>
                    </a:lnTo>
                    <a:lnTo>
                      <a:pt x="76" y="38"/>
                    </a:lnTo>
                    <a:lnTo>
                      <a:pt x="84" y="41"/>
                    </a:lnTo>
                    <a:lnTo>
                      <a:pt x="91" y="46"/>
                    </a:lnTo>
                    <a:lnTo>
                      <a:pt x="91" y="46"/>
                    </a:lnTo>
                    <a:close/>
                    <a:moveTo>
                      <a:pt x="66" y="86"/>
                    </a:moveTo>
                    <a:lnTo>
                      <a:pt x="66" y="86"/>
                    </a:lnTo>
                    <a:lnTo>
                      <a:pt x="68" y="84"/>
                    </a:lnTo>
                    <a:lnTo>
                      <a:pt x="69" y="81"/>
                    </a:lnTo>
                    <a:lnTo>
                      <a:pt x="70" y="77"/>
                    </a:lnTo>
                    <a:lnTo>
                      <a:pt x="71" y="74"/>
                    </a:lnTo>
                    <a:lnTo>
                      <a:pt x="71" y="74"/>
                    </a:lnTo>
                    <a:lnTo>
                      <a:pt x="70" y="71"/>
                    </a:lnTo>
                    <a:lnTo>
                      <a:pt x="70" y="68"/>
                    </a:lnTo>
                    <a:lnTo>
                      <a:pt x="68" y="65"/>
                    </a:lnTo>
                    <a:lnTo>
                      <a:pt x="66" y="63"/>
                    </a:lnTo>
                    <a:lnTo>
                      <a:pt x="64" y="61"/>
                    </a:lnTo>
                    <a:lnTo>
                      <a:pt x="61" y="60"/>
                    </a:lnTo>
                    <a:lnTo>
                      <a:pt x="53" y="59"/>
                    </a:lnTo>
                    <a:lnTo>
                      <a:pt x="32" y="59"/>
                    </a:lnTo>
                    <a:lnTo>
                      <a:pt x="32" y="91"/>
                    </a:lnTo>
                    <a:lnTo>
                      <a:pt x="53" y="91"/>
                    </a:lnTo>
                    <a:lnTo>
                      <a:pt x="53" y="91"/>
                    </a:lnTo>
                    <a:lnTo>
                      <a:pt x="56" y="91"/>
                    </a:lnTo>
                    <a:lnTo>
                      <a:pt x="60" y="90"/>
                    </a:lnTo>
                    <a:lnTo>
                      <a:pt x="63" y="88"/>
                    </a:lnTo>
                    <a:lnTo>
                      <a:pt x="66" y="86"/>
                    </a:lnTo>
                    <a:lnTo>
                      <a:pt x="66" y="86"/>
                    </a:lnTo>
                    <a:close/>
                    <a:moveTo>
                      <a:pt x="115" y="0"/>
                    </a:moveTo>
                    <a:lnTo>
                      <a:pt x="147" y="0"/>
                    </a:lnTo>
                    <a:lnTo>
                      <a:pt x="147" y="115"/>
                    </a:lnTo>
                    <a:lnTo>
                      <a:pt x="115" y="115"/>
                    </a:lnTo>
                    <a:lnTo>
                      <a:pt x="115" y="0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16">
                <a:extLst>
                  <a:ext uri="{FF2B5EF4-FFF2-40B4-BE49-F238E27FC236}">
                    <a16:creationId xmlns:a16="http://schemas.microsoft.com/office/drawing/2014/main" id="{E9529572-A73B-473F-86EF-BB485A8DC9F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344154" y="1535113"/>
                <a:ext cx="85725" cy="90487"/>
              </a:xfrm>
              <a:custGeom>
                <a:avLst/>
                <a:gdLst>
                  <a:gd name="T0" fmla="*/ 109 w 109"/>
                  <a:gd name="T1" fmla="*/ 0 h 115"/>
                  <a:gd name="T2" fmla="*/ 109 w 109"/>
                  <a:gd name="T3" fmla="*/ 115 h 115"/>
                  <a:gd name="T4" fmla="*/ 77 w 109"/>
                  <a:gd name="T5" fmla="*/ 115 h 115"/>
                  <a:gd name="T6" fmla="*/ 77 w 109"/>
                  <a:gd name="T7" fmla="*/ 71 h 115"/>
                  <a:gd name="T8" fmla="*/ 32 w 109"/>
                  <a:gd name="T9" fmla="*/ 71 h 115"/>
                  <a:gd name="T10" fmla="*/ 32 w 109"/>
                  <a:gd name="T11" fmla="*/ 115 h 115"/>
                  <a:gd name="T12" fmla="*/ 0 w 109"/>
                  <a:gd name="T13" fmla="*/ 115 h 115"/>
                  <a:gd name="T14" fmla="*/ 0 w 109"/>
                  <a:gd name="T15" fmla="*/ 0 h 115"/>
                  <a:gd name="T16" fmla="*/ 32 w 109"/>
                  <a:gd name="T17" fmla="*/ 0 h 115"/>
                  <a:gd name="T18" fmla="*/ 32 w 109"/>
                  <a:gd name="T19" fmla="*/ 43 h 115"/>
                  <a:gd name="T20" fmla="*/ 77 w 109"/>
                  <a:gd name="T21" fmla="*/ 43 h 115"/>
                  <a:gd name="T22" fmla="*/ 77 w 109"/>
                  <a:gd name="T23" fmla="*/ 0 h 115"/>
                  <a:gd name="T24" fmla="*/ 109 w 109"/>
                  <a:gd name="T25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9" h="115">
                    <a:moveTo>
                      <a:pt x="109" y="0"/>
                    </a:moveTo>
                    <a:lnTo>
                      <a:pt x="109" y="115"/>
                    </a:lnTo>
                    <a:lnTo>
                      <a:pt x="77" y="115"/>
                    </a:lnTo>
                    <a:lnTo>
                      <a:pt x="77" y="71"/>
                    </a:lnTo>
                    <a:lnTo>
                      <a:pt x="32" y="71"/>
                    </a:lnTo>
                    <a:lnTo>
                      <a:pt x="3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2" y="0"/>
                    </a:lnTo>
                    <a:lnTo>
                      <a:pt x="32" y="43"/>
                    </a:lnTo>
                    <a:lnTo>
                      <a:pt x="77" y="43"/>
                    </a:lnTo>
                    <a:lnTo>
                      <a:pt x="77" y="0"/>
                    </a:lnTo>
                    <a:lnTo>
                      <a:pt x="109" y="0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17">
                <a:extLst>
                  <a:ext uri="{FF2B5EF4-FFF2-40B4-BE49-F238E27FC236}">
                    <a16:creationId xmlns:a16="http://schemas.microsoft.com/office/drawing/2014/main" id="{956742E2-27E7-4019-876B-B6176A38EF39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447341" y="1533525"/>
                <a:ext cx="101600" cy="95250"/>
              </a:xfrm>
              <a:custGeom>
                <a:avLst/>
                <a:gdLst>
                  <a:gd name="T0" fmla="*/ 31 w 128"/>
                  <a:gd name="T1" fmla="*/ 112 h 120"/>
                  <a:gd name="T2" fmla="*/ 21 w 128"/>
                  <a:gd name="T3" fmla="*/ 105 h 120"/>
                  <a:gd name="T4" fmla="*/ 6 w 128"/>
                  <a:gd name="T5" fmla="*/ 88 h 120"/>
                  <a:gd name="T6" fmla="*/ 0 w 128"/>
                  <a:gd name="T7" fmla="*/ 67 h 120"/>
                  <a:gd name="T8" fmla="*/ 2 w 128"/>
                  <a:gd name="T9" fmla="*/ 43 h 120"/>
                  <a:gd name="T10" fmla="*/ 6 w 128"/>
                  <a:gd name="T11" fmla="*/ 32 h 120"/>
                  <a:gd name="T12" fmla="*/ 11 w 128"/>
                  <a:gd name="T13" fmla="*/ 25 h 120"/>
                  <a:gd name="T14" fmla="*/ 23 w 128"/>
                  <a:gd name="T15" fmla="*/ 12 h 120"/>
                  <a:gd name="T16" fmla="*/ 31 w 128"/>
                  <a:gd name="T17" fmla="*/ 8 h 120"/>
                  <a:gd name="T18" fmla="*/ 46 w 128"/>
                  <a:gd name="T19" fmla="*/ 2 h 120"/>
                  <a:gd name="T20" fmla="*/ 64 w 128"/>
                  <a:gd name="T21" fmla="*/ 0 h 120"/>
                  <a:gd name="T22" fmla="*/ 81 w 128"/>
                  <a:gd name="T23" fmla="*/ 2 h 120"/>
                  <a:gd name="T24" fmla="*/ 97 w 128"/>
                  <a:gd name="T25" fmla="*/ 8 h 120"/>
                  <a:gd name="T26" fmla="*/ 102 w 128"/>
                  <a:gd name="T27" fmla="*/ 11 h 120"/>
                  <a:gd name="T28" fmla="*/ 115 w 128"/>
                  <a:gd name="T29" fmla="*/ 22 h 120"/>
                  <a:gd name="T30" fmla="*/ 125 w 128"/>
                  <a:gd name="T31" fmla="*/ 42 h 120"/>
                  <a:gd name="T32" fmla="*/ 128 w 128"/>
                  <a:gd name="T33" fmla="*/ 65 h 120"/>
                  <a:gd name="T34" fmla="*/ 124 w 128"/>
                  <a:gd name="T35" fmla="*/ 82 h 120"/>
                  <a:gd name="T36" fmla="*/ 121 w 128"/>
                  <a:gd name="T37" fmla="*/ 87 h 120"/>
                  <a:gd name="T38" fmla="*/ 111 w 128"/>
                  <a:gd name="T39" fmla="*/ 101 h 120"/>
                  <a:gd name="T40" fmla="*/ 97 w 128"/>
                  <a:gd name="T41" fmla="*/ 112 h 120"/>
                  <a:gd name="T42" fmla="*/ 89 w 128"/>
                  <a:gd name="T43" fmla="*/ 115 h 120"/>
                  <a:gd name="T44" fmla="*/ 72 w 128"/>
                  <a:gd name="T45" fmla="*/ 119 h 120"/>
                  <a:gd name="T46" fmla="*/ 55 w 128"/>
                  <a:gd name="T47" fmla="*/ 119 h 120"/>
                  <a:gd name="T48" fmla="*/ 38 w 128"/>
                  <a:gd name="T49" fmla="*/ 115 h 120"/>
                  <a:gd name="T50" fmla="*/ 31 w 128"/>
                  <a:gd name="T51" fmla="*/ 112 h 120"/>
                  <a:gd name="T52" fmla="*/ 80 w 128"/>
                  <a:gd name="T53" fmla="*/ 89 h 120"/>
                  <a:gd name="T54" fmla="*/ 91 w 128"/>
                  <a:gd name="T55" fmla="*/ 77 h 120"/>
                  <a:gd name="T56" fmla="*/ 94 w 128"/>
                  <a:gd name="T57" fmla="*/ 69 h 120"/>
                  <a:gd name="T58" fmla="*/ 94 w 128"/>
                  <a:gd name="T59" fmla="*/ 52 h 120"/>
                  <a:gd name="T60" fmla="*/ 91 w 128"/>
                  <a:gd name="T61" fmla="*/ 42 h 120"/>
                  <a:gd name="T62" fmla="*/ 80 w 128"/>
                  <a:gd name="T63" fmla="*/ 31 h 120"/>
                  <a:gd name="T64" fmla="*/ 72 w 128"/>
                  <a:gd name="T65" fmla="*/ 28 h 120"/>
                  <a:gd name="T66" fmla="*/ 55 w 128"/>
                  <a:gd name="T67" fmla="*/ 28 h 120"/>
                  <a:gd name="T68" fmla="*/ 47 w 128"/>
                  <a:gd name="T69" fmla="*/ 31 h 120"/>
                  <a:gd name="T70" fmla="*/ 36 w 128"/>
                  <a:gd name="T71" fmla="*/ 42 h 120"/>
                  <a:gd name="T72" fmla="*/ 33 w 128"/>
                  <a:gd name="T73" fmla="*/ 52 h 120"/>
                  <a:gd name="T74" fmla="*/ 33 w 128"/>
                  <a:gd name="T75" fmla="*/ 69 h 120"/>
                  <a:gd name="T76" fmla="*/ 36 w 128"/>
                  <a:gd name="T77" fmla="*/ 77 h 120"/>
                  <a:gd name="T78" fmla="*/ 47 w 128"/>
                  <a:gd name="T79" fmla="*/ 89 h 120"/>
                  <a:gd name="T80" fmla="*/ 55 w 128"/>
                  <a:gd name="T81" fmla="*/ 92 h 120"/>
                  <a:gd name="T82" fmla="*/ 72 w 128"/>
                  <a:gd name="T83" fmla="*/ 92 h 120"/>
                  <a:gd name="T84" fmla="*/ 80 w 128"/>
                  <a:gd name="T85" fmla="*/ 89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28" h="120">
                    <a:moveTo>
                      <a:pt x="31" y="112"/>
                    </a:moveTo>
                    <a:lnTo>
                      <a:pt x="31" y="112"/>
                    </a:lnTo>
                    <a:lnTo>
                      <a:pt x="25" y="109"/>
                    </a:lnTo>
                    <a:lnTo>
                      <a:pt x="21" y="105"/>
                    </a:lnTo>
                    <a:lnTo>
                      <a:pt x="13" y="97"/>
                    </a:lnTo>
                    <a:lnTo>
                      <a:pt x="6" y="88"/>
                    </a:lnTo>
                    <a:lnTo>
                      <a:pt x="2" y="78"/>
                    </a:lnTo>
                    <a:lnTo>
                      <a:pt x="0" y="67"/>
                    </a:lnTo>
                    <a:lnTo>
                      <a:pt x="0" y="55"/>
                    </a:lnTo>
                    <a:lnTo>
                      <a:pt x="2" y="43"/>
                    </a:lnTo>
                    <a:lnTo>
                      <a:pt x="4" y="38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11" y="25"/>
                    </a:lnTo>
                    <a:lnTo>
                      <a:pt x="16" y="18"/>
                    </a:lnTo>
                    <a:lnTo>
                      <a:pt x="23" y="12"/>
                    </a:lnTo>
                    <a:lnTo>
                      <a:pt x="31" y="8"/>
                    </a:lnTo>
                    <a:lnTo>
                      <a:pt x="31" y="8"/>
                    </a:lnTo>
                    <a:lnTo>
                      <a:pt x="38" y="4"/>
                    </a:lnTo>
                    <a:lnTo>
                      <a:pt x="46" y="2"/>
                    </a:lnTo>
                    <a:lnTo>
                      <a:pt x="55" y="0"/>
                    </a:lnTo>
                    <a:lnTo>
                      <a:pt x="64" y="0"/>
                    </a:lnTo>
                    <a:lnTo>
                      <a:pt x="72" y="0"/>
                    </a:lnTo>
                    <a:lnTo>
                      <a:pt x="81" y="2"/>
                    </a:lnTo>
                    <a:lnTo>
                      <a:pt x="89" y="4"/>
                    </a:lnTo>
                    <a:lnTo>
                      <a:pt x="97" y="8"/>
                    </a:lnTo>
                    <a:lnTo>
                      <a:pt x="97" y="8"/>
                    </a:lnTo>
                    <a:lnTo>
                      <a:pt x="102" y="11"/>
                    </a:lnTo>
                    <a:lnTo>
                      <a:pt x="106" y="14"/>
                    </a:lnTo>
                    <a:lnTo>
                      <a:pt x="115" y="22"/>
                    </a:lnTo>
                    <a:lnTo>
                      <a:pt x="121" y="32"/>
                    </a:lnTo>
                    <a:lnTo>
                      <a:pt x="125" y="42"/>
                    </a:lnTo>
                    <a:lnTo>
                      <a:pt x="127" y="54"/>
                    </a:lnTo>
                    <a:lnTo>
                      <a:pt x="128" y="65"/>
                    </a:lnTo>
                    <a:lnTo>
                      <a:pt x="126" y="76"/>
                    </a:lnTo>
                    <a:lnTo>
                      <a:pt x="124" y="82"/>
                    </a:lnTo>
                    <a:lnTo>
                      <a:pt x="121" y="87"/>
                    </a:lnTo>
                    <a:lnTo>
                      <a:pt x="121" y="87"/>
                    </a:lnTo>
                    <a:lnTo>
                      <a:pt x="116" y="95"/>
                    </a:lnTo>
                    <a:lnTo>
                      <a:pt x="111" y="101"/>
                    </a:lnTo>
                    <a:lnTo>
                      <a:pt x="104" y="107"/>
                    </a:lnTo>
                    <a:lnTo>
                      <a:pt x="97" y="112"/>
                    </a:lnTo>
                    <a:lnTo>
                      <a:pt x="97" y="112"/>
                    </a:lnTo>
                    <a:lnTo>
                      <a:pt x="89" y="115"/>
                    </a:lnTo>
                    <a:lnTo>
                      <a:pt x="81" y="118"/>
                    </a:lnTo>
                    <a:lnTo>
                      <a:pt x="72" y="119"/>
                    </a:lnTo>
                    <a:lnTo>
                      <a:pt x="64" y="120"/>
                    </a:lnTo>
                    <a:lnTo>
                      <a:pt x="55" y="119"/>
                    </a:lnTo>
                    <a:lnTo>
                      <a:pt x="46" y="118"/>
                    </a:lnTo>
                    <a:lnTo>
                      <a:pt x="38" y="115"/>
                    </a:lnTo>
                    <a:lnTo>
                      <a:pt x="31" y="112"/>
                    </a:lnTo>
                    <a:lnTo>
                      <a:pt x="31" y="112"/>
                    </a:lnTo>
                    <a:close/>
                    <a:moveTo>
                      <a:pt x="80" y="89"/>
                    </a:moveTo>
                    <a:lnTo>
                      <a:pt x="80" y="89"/>
                    </a:lnTo>
                    <a:lnTo>
                      <a:pt x="86" y="84"/>
                    </a:lnTo>
                    <a:lnTo>
                      <a:pt x="91" y="77"/>
                    </a:lnTo>
                    <a:lnTo>
                      <a:pt x="91" y="77"/>
                    </a:lnTo>
                    <a:lnTo>
                      <a:pt x="94" y="69"/>
                    </a:lnTo>
                    <a:lnTo>
                      <a:pt x="95" y="60"/>
                    </a:lnTo>
                    <a:lnTo>
                      <a:pt x="94" y="52"/>
                    </a:lnTo>
                    <a:lnTo>
                      <a:pt x="91" y="42"/>
                    </a:lnTo>
                    <a:lnTo>
                      <a:pt x="91" y="42"/>
                    </a:lnTo>
                    <a:lnTo>
                      <a:pt x="86" y="36"/>
                    </a:lnTo>
                    <a:lnTo>
                      <a:pt x="80" y="31"/>
                    </a:lnTo>
                    <a:lnTo>
                      <a:pt x="80" y="31"/>
                    </a:lnTo>
                    <a:lnTo>
                      <a:pt x="72" y="28"/>
                    </a:lnTo>
                    <a:lnTo>
                      <a:pt x="64" y="27"/>
                    </a:lnTo>
                    <a:lnTo>
                      <a:pt x="55" y="28"/>
                    </a:lnTo>
                    <a:lnTo>
                      <a:pt x="47" y="31"/>
                    </a:lnTo>
                    <a:lnTo>
                      <a:pt x="47" y="31"/>
                    </a:lnTo>
                    <a:lnTo>
                      <a:pt x="41" y="36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3" y="52"/>
                    </a:lnTo>
                    <a:lnTo>
                      <a:pt x="32" y="60"/>
                    </a:lnTo>
                    <a:lnTo>
                      <a:pt x="33" y="69"/>
                    </a:lnTo>
                    <a:lnTo>
                      <a:pt x="36" y="77"/>
                    </a:lnTo>
                    <a:lnTo>
                      <a:pt x="36" y="77"/>
                    </a:lnTo>
                    <a:lnTo>
                      <a:pt x="41" y="84"/>
                    </a:lnTo>
                    <a:lnTo>
                      <a:pt x="47" y="89"/>
                    </a:lnTo>
                    <a:lnTo>
                      <a:pt x="47" y="89"/>
                    </a:lnTo>
                    <a:lnTo>
                      <a:pt x="55" y="92"/>
                    </a:lnTo>
                    <a:lnTo>
                      <a:pt x="64" y="93"/>
                    </a:lnTo>
                    <a:lnTo>
                      <a:pt x="72" y="92"/>
                    </a:lnTo>
                    <a:lnTo>
                      <a:pt x="80" y="89"/>
                    </a:lnTo>
                    <a:lnTo>
                      <a:pt x="80" y="89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18">
                <a:extLst>
                  <a:ext uri="{FF2B5EF4-FFF2-40B4-BE49-F238E27FC236}">
                    <a16:creationId xmlns:a16="http://schemas.microsoft.com/office/drawing/2014/main" id="{4F945B64-2F72-4200-B540-6BD56C40F69A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564816" y="1535113"/>
                <a:ext cx="84138" cy="90487"/>
              </a:xfrm>
              <a:custGeom>
                <a:avLst/>
                <a:gdLst>
                  <a:gd name="T0" fmla="*/ 99 w 105"/>
                  <a:gd name="T1" fmla="*/ 66 h 115"/>
                  <a:gd name="T2" fmla="*/ 103 w 105"/>
                  <a:gd name="T3" fmla="*/ 74 h 115"/>
                  <a:gd name="T4" fmla="*/ 105 w 105"/>
                  <a:gd name="T5" fmla="*/ 83 h 115"/>
                  <a:gd name="T6" fmla="*/ 104 w 105"/>
                  <a:gd name="T7" fmla="*/ 90 h 115"/>
                  <a:gd name="T8" fmla="*/ 98 w 105"/>
                  <a:gd name="T9" fmla="*/ 102 h 115"/>
                  <a:gd name="T10" fmla="*/ 93 w 105"/>
                  <a:gd name="T11" fmla="*/ 107 h 115"/>
                  <a:gd name="T12" fmla="*/ 77 w 105"/>
                  <a:gd name="T13" fmla="*/ 114 h 115"/>
                  <a:gd name="T14" fmla="*/ 59 w 105"/>
                  <a:gd name="T15" fmla="*/ 115 h 115"/>
                  <a:gd name="T16" fmla="*/ 0 w 105"/>
                  <a:gd name="T17" fmla="*/ 0 h 115"/>
                  <a:gd name="T18" fmla="*/ 56 w 105"/>
                  <a:gd name="T19" fmla="*/ 0 h 115"/>
                  <a:gd name="T20" fmla="*/ 73 w 105"/>
                  <a:gd name="T21" fmla="*/ 2 h 115"/>
                  <a:gd name="T22" fmla="*/ 88 w 105"/>
                  <a:gd name="T23" fmla="*/ 8 h 115"/>
                  <a:gd name="T24" fmla="*/ 93 w 105"/>
                  <a:gd name="T25" fmla="*/ 12 h 115"/>
                  <a:gd name="T26" fmla="*/ 99 w 105"/>
                  <a:gd name="T27" fmla="*/ 24 h 115"/>
                  <a:gd name="T28" fmla="*/ 99 w 105"/>
                  <a:gd name="T29" fmla="*/ 30 h 115"/>
                  <a:gd name="T30" fmla="*/ 95 w 105"/>
                  <a:gd name="T31" fmla="*/ 45 h 115"/>
                  <a:gd name="T32" fmla="*/ 90 w 105"/>
                  <a:gd name="T33" fmla="*/ 52 h 115"/>
                  <a:gd name="T34" fmla="*/ 84 w 105"/>
                  <a:gd name="T35" fmla="*/ 56 h 115"/>
                  <a:gd name="T36" fmla="*/ 92 w 105"/>
                  <a:gd name="T37" fmla="*/ 60 h 115"/>
                  <a:gd name="T38" fmla="*/ 99 w 105"/>
                  <a:gd name="T39" fmla="*/ 66 h 115"/>
                  <a:gd name="T40" fmla="*/ 32 w 105"/>
                  <a:gd name="T41" fmla="*/ 46 h 115"/>
                  <a:gd name="T42" fmla="*/ 53 w 105"/>
                  <a:gd name="T43" fmla="*/ 46 h 115"/>
                  <a:gd name="T44" fmla="*/ 63 w 105"/>
                  <a:gd name="T45" fmla="*/ 43 h 115"/>
                  <a:gd name="T46" fmla="*/ 67 w 105"/>
                  <a:gd name="T47" fmla="*/ 35 h 115"/>
                  <a:gd name="T48" fmla="*/ 66 w 105"/>
                  <a:gd name="T49" fmla="*/ 30 h 115"/>
                  <a:gd name="T50" fmla="*/ 59 w 105"/>
                  <a:gd name="T51" fmla="*/ 24 h 115"/>
                  <a:gd name="T52" fmla="*/ 32 w 105"/>
                  <a:gd name="T53" fmla="*/ 23 h 115"/>
                  <a:gd name="T54" fmla="*/ 72 w 105"/>
                  <a:gd name="T55" fmla="*/ 80 h 115"/>
                  <a:gd name="T56" fmla="*/ 71 w 105"/>
                  <a:gd name="T57" fmla="*/ 75 h 115"/>
                  <a:gd name="T58" fmla="*/ 64 w 105"/>
                  <a:gd name="T59" fmla="*/ 69 h 115"/>
                  <a:gd name="T60" fmla="*/ 32 w 105"/>
                  <a:gd name="T61" fmla="*/ 69 h 115"/>
                  <a:gd name="T62" fmla="*/ 58 w 105"/>
                  <a:gd name="T63" fmla="*/ 92 h 115"/>
                  <a:gd name="T64" fmla="*/ 64 w 105"/>
                  <a:gd name="T65" fmla="*/ 91 h 115"/>
                  <a:gd name="T66" fmla="*/ 71 w 105"/>
                  <a:gd name="T67" fmla="*/ 85 h 115"/>
                  <a:gd name="T68" fmla="*/ 72 w 105"/>
                  <a:gd name="T69" fmla="*/ 8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5" h="115">
                    <a:moveTo>
                      <a:pt x="99" y="66"/>
                    </a:moveTo>
                    <a:lnTo>
                      <a:pt x="99" y="66"/>
                    </a:lnTo>
                    <a:lnTo>
                      <a:pt x="102" y="70"/>
                    </a:lnTo>
                    <a:lnTo>
                      <a:pt x="103" y="74"/>
                    </a:lnTo>
                    <a:lnTo>
                      <a:pt x="104" y="78"/>
                    </a:lnTo>
                    <a:lnTo>
                      <a:pt x="105" y="83"/>
                    </a:lnTo>
                    <a:lnTo>
                      <a:pt x="105" y="83"/>
                    </a:lnTo>
                    <a:lnTo>
                      <a:pt x="104" y="90"/>
                    </a:lnTo>
                    <a:lnTo>
                      <a:pt x="102" y="96"/>
                    </a:lnTo>
                    <a:lnTo>
                      <a:pt x="98" y="102"/>
                    </a:lnTo>
                    <a:lnTo>
                      <a:pt x="93" y="107"/>
                    </a:lnTo>
                    <a:lnTo>
                      <a:pt x="93" y="107"/>
                    </a:lnTo>
                    <a:lnTo>
                      <a:pt x="85" y="111"/>
                    </a:lnTo>
                    <a:lnTo>
                      <a:pt x="77" y="114"/>
                    </a:lnTo>
                    <a:lnTo>
                      <a:pt x="68" y="115"/>
                    </a:lnTo>
                    <a:lnTo>
                      <a:pt x="59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5" y="1"/>
                    </a:lnTo>
                    <a:lnTo>
                      <a:pt x="73" y="2"/>
                    </a:lnTo>
                    <a:lnTo>
                      <a:pt x="81" y="4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93" y="12"/>
                    </a:lnTo>
                    <a:lnTo>
                      <a:pt x="97" y="18"/>
                    </a:lnTo>
                    <a:lnTo>
                      <a:pt x="99" y="24"/>
                    </a:lnTo>
                    <a:lnTo>
                      <a:pt x="99" y="30"/>
                    </a:lnTo>
                    <a:lnTo>
                      <a:pt x="99" y="30"/>
                    </a:lnTo>
                    <a:lnTo>
                      <a:pt x="98" y="38"/>
                    </a:lnTo>
                    <a:lnTo>
                      <a:pt x="95" y="45"/>
                    </a:lnTo>
                    <a:lnTo>
                      <a:pt x="95" y="45"/>
                    </a:lnTo>
                    <a:lnTo>
                      <a:pt x="90" y="52"/>
                    </a:lnTo>
                    <a:lnTo>
                      <a:pt x="84" y="56"/>
                    </a:lnTo>
                    <a:lnTo>
                      <a:pt x="84" y="56"/>
                    </a:lnTo>
                    <a:lnTo>
                      <a:pt x="88" y="57"/>
                    </a:lnTo>
                    <a:lnTo>
                      <a:pt x="92" y="60"/>
                    </a:lnTo>
                    <a:lnTo>
                      <a:pt x="96" y="62"/>
                    </a:lnTo>
                    <a:lnTo>
                      <a:pt x="99" y="66"/>
                    </a:lnTo>
                    <a:lnTo>
                      <a:pt x="99" y="66"/>
                    </a:lnTo>
                    <a:close/>
                    <a:moveTo>
                      <a:pt x="32" y="46"/>
                    </a:moveTo>
                    <a:lnTo>
                      <a:pt x="53" y="46"/>
                    </a:lnTo>
                    <a:lnTo>
                      <a:pt x="53" y="46"/>
                    </a:lnTo>
                    <a:lnTo>
                      <a:pt x="59" y="45"/>
                    </a:lnTo>
                    <a:lnTo>
                      <a:pt x="63" y="43"/>
                    </a:lnTo>
                    <a:lnTo>
                      <a:pt x="66" y="40"/>
                    </a:lnTo>
                    <a:lnTo>
                      <a:pt x="67" y="35"/>
                    </a:lnTo>
                    <a:lnTo>
                      <a:pt x="67" y="35"/>
                    </a:lnTo>
                    <a:lnTo>
                      <a:pt x="66" y="30"/>
                    </a:lnTo>
                    <a:lnTo>
                      <a:pt x="63" y="26"/>
                    </a:lnTo>
                    <a:lnTo>
                      <a:pt x="59" y="24"/>
                    </a:lnTo>
                    <a:lnTo>
                      <a:pt x="53" y="23"/>
                    </a:lnTo>
                    <a:lnTo>
                      <a:pt x="32" y="23"/>
                    </a:lnTo>
                    <a:lnTo>
                      <a:pt x="32" y="46"/>
                    </a:lnTo>
                    <a:close/>
                    <a:moveTo>
                      <a:pt x="72" y="80"/>
                    </a:moveTo>
                    <a:lnTo>
                      <a:pt x="72" y="80"/>
                    </a:lnTo>
                    <a:lnTo>
                      <a:pt x="71" y="75"/>
                    </a:lnTo>
                    <a:lnTo>
                      <a:pt x="69" y="72"/>
                    </a:lnTo>
                    <a:lnTo>
                      <a:pt x="64" y="69"/>
                    </a:lnTo>
                    <a:lnTo>
                      <a:pt x="58" y="69"/>
                    </a:lnTo>
                    <a:lnTo>
                      <a:pt x="32" y="69"/>
                    </a:lnTo>
                    <a:lnTo>
                      <a:pt x="32" y="92"/>
                    </a:lnTo>
                    <a:lnTo>
                      <a:pt x="58" y="92"/>
                    </a:lnTo>
                    <a:lnTo>
                      <a:pt x="58" y="92"/>
                    </a:lnTo>
                    <a:lnTo>
                      <a:pt x="64" y="91"/>
                    </a:lnTo>
                    <a:lnTo>
                      <a:pt x="69" y="89"/>
                    </a:lnTo>
                    <a:lnTo>
                      <a:pt x="71" y="85"/>
                    </a:lnTo>
                    <a:lnTo>
                      <a:pt x="72" y="80"/>
                    </a:lnTo>
                    <a:lnTo>
                      <a:pt x="72" y="80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19">
                <a:extLst>
                  <a:ext uri="{FF2B5EF4-FFF2-40B4-BE49-F238E27FC236}">
                    <a16:creationId xmlns:a16="http://schemas.microsoft.com/office/drawing/2014/main" id="{DBD407ED-BED0-454A-A05C-6476286AB8F5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664829" y="1535113"/>
                <a:ext cx="115888" cy="90487"/>
              </a:xfrm>
              <a:custGeom>
                <a:avLst/>
                <a:gdLst>
                  <a:gd name="T0" fmla="*/ 92 w 147"/>
                  <a:gd name="T1" fmla="*/ 46 h 115"/>
                  <a:gd name="T2" fmla="*/ 92 w 147"/>
                  <a:gd name="T3" fmla="*/ 46 h 115"/>
                  <a:gd name="T4" fmla="*/ 97 w 147"/>
                  <a:gd name="T5" fmla="*/ 53 h 115"/>
                  <a:gd name="T6" fmla="*/ 101 w 147"/>
                  <a:gd name="T7" fmla="*/ 60 h 115"/>
                  <a:gd name="T8" fmla="*/ 103 w 147"/>
                  <a:gd name="T9" fmla="*/ 67 h 115"/>
                  <a:gd name="T10" fmla="*/ 103 w 147"/>
                  <a:gd name="T11" fmla="*/ 75 h 115"/>
                  <a:gd name="T12" fmla="*/ 103 w 147"/>
                  <a:gd name="T13" fmla="*/ 75 h 115"/>
                  <a:gd name="T14" fmla="*/ 103 w 147"/>
                  <a:gd name="T15" fmla="*/ 83 h 115"/>
                  <a:gd name="T16" fmla="*/ 100 w 147"/>
                  <a:gd name="T17" fmla="*/ 91 h 115"/>
                  <a:gd name="T18" fmla="*/ 96 w 147"/>
                  <a:gd name="T19" fmla="*/ 99 h 115"/>
                  <a:gd name="T20" fmla="*/ 90 w 147"/>
                  <a:gd name="T21" fmla="*/ 105 h 115"/>
                  <a:gd name="T22" fmla="*/ 90 w 147"/>
                  <a:gd name="T23" fmla="*/ 105 h 115"/>
                  <a:gd name="T24" fmla="*/ 82 w 147"/>
                  <a:gd name="T25" fmla="*/ 110 h 115"/>
                  <a:gd name="T26" fmla="*/ 74 w 147"/>
                  <a:gd name="T27" fmla="*/ 113 h 115"/>
                  <a:gd name="T28" fmla="*/ 65 w 147"/>
                  <a:gd name="T29" fmla="*/ 115 h 115"/>
                  <a:gd name="T30" fmla="*/ 55 w 147"/>
                  <a:gd name="T31" fmla="*/ 115 h 115"/>
                  <a:gd name="T32" fmla="*/ 0 w 147"/>
                  <a:gd name="T33" fmla="*/ 115 h 115"/>
                  <a:gd name="T34" fmla="*/ 0 w 147"/>
                  <a:gd name="T35" fmla="*/ 1 h 115"/>
                  <a:gd name="T36" fmla="*/ 32 w 147"/>
                  <a:gd name="T37" fmla="*/ 1 h 115"/>
                  <a:gd name="T38" fmla="*/ 32 w 147"/>
                  <a:gd name="T39" fmla="*/ 37 h 115"/>
                  <a:gd name="T40" fmla="*/ 59 w 147"/>
                  <a:gd name="T41" fmla="*/ 37 h 115"/>
                  <a:gd name="T42" fmla="*/ 59 w 147"/>
                  <a:gd name="T43" fmla="*/ 37 h 115"/>
                  <a:gd name="T44" fmla="*/ 68 w 147"/>
                  <a:gd name="T45" fmla="*/ 37 h 115"/>
                  <a:gd name="T46" fmla="*/ 76 w 147"/>
                  <a:gd name="T47" fmla="*/ 39 h 115"/>
                  <a:gd name="T48" fmla="*/ 84 w 147"/>
                  <a:gd name="T49" fmla="*/ 42 h 115"/>
                  <a:gd name="T50" fmla="*/ 92 w 147"/>
                  <a:gd name="T51" fmla="*/ 46 h 115"/>
                  <a:gd name="T52" fmla="*/ 92 w 147"/>
                  <a:gd name="T53" fmla="*/ 46 h 115"/>
                  <a:gd name="T54" fmla="*/ 66 w 147"/>
                  <a:gd name="T55" fmla="*/ 88 h 115"/>
                  <a:gd name="T56" fmla="*/ 66 w 147"/>
                  <a:gd name="T57" fmla="*/ 88 h 115"/>
                  <a:gd name="T58" fmla="*/ 68 w 147"/>
                  <a:gd name="T59" fmla="*/ 85 h 115"/>
                  <a:gd name="T60" fmla="*/ 70 w 147"/>
                  <a:gd name="T61" fmla="*/ 82 h 115"/>
                  <a:gd name="T62" fmla="*/ 71 w 147"/>
                  <a:gd name="T63" fmla="*/ 79 h 115"/>
                  <a:gd name="T64" fmla="*/ 71 w 147"/>
                  <a:gd name="T65" fmla="*/ 76 h 115"/>
                  <a:gd name="T66" fmla="*/ 71 w 147"/>
                  <a:gd name="T67" fmla="*/ 76 h 115"/>
                  <a:gd name="T68" fmla="*/ 71 w 147"/>
                  <a:gd name="T69" fmla="*/ 72 h 115"/>
                  <a:gd name="T70" fmla="*/ 70 w 147"/>
                  <a:gd name="T71" fmla="*/ 69 h 115"/>
                  <a:gd name="T72" fmla="*/ 68 w 147"/>
                  <a:gd name="T73" fmla="*/ 67 h 115"/>
                  <a:gd name="T74" fmla="*/ 66 w 147"/>
                  <a:gd name="T75" fmla="*/ 64 h 115"/>
                  <a:gd name="T76" fmla="*/ 64 w 147"/>
                  <a:gd name="T77" fmla="*/ 63 h 115"/>
                  <a:gd name="T78" fmla="*/ 61 w 147"/>
                  <a:gd name="T79" fmla="*/ 62 h 115"/>
                  <a:gd name="T80" fmla="*/ 53 w 147"/>
                  <a:gd name="T81" fmla="*/ 61 h 115"/>
                  <a:gd name="T82" fmla="*/ 32 w 147"/>
                  <a:gd name="T83" fmla="*/ 61 h 115"/>
                  <a:gd name="T84" fmla="*/ 32 w 147"/>
                  <a:gd name="T85" fmla="*/ 92 h 115"/>
                  <a:gd name="T86" fmla="*/ 53 w 147"/>
                  <a:gd name="T87" fmla="*/ 92 h 115"/>
                  <a:gd name="T88" fmla="*/ 53 w 147"/>
                  <a:gd name="T89" fmla="*/ 92 h 115"/>
                  <a:gd name="T90" fmla="*/ 57 w 147"/>
                  <a:gd name="T91" fmla="*/ 92 h 115"/>
                  <a:gd name="T92" fmla="*/ 60 w 147"/>
                  <a:gd name="T93" fmla="*/ 91 h 115"/>
                  <a:gd name="T94" fmla="*/ 63 w 147"/>
                  <a:gd name="T95" fmla="*/ 90 h 115"/>
                  <a:gd name="T96" fmla="*/ 66 w 147"/>
                  <a:gd name="T97" fmla="*/ 88 h 115"/>
                  <a:gd name="T98" fmla="*/ 66 w 147"/>
                  <a:gd name="T99" fmla="*/ 88 h 115"/>
                  <a:gd name="T100" fmla="*/ 116 w 147"/>
                  <a:gd name="T101" fmla="*/ 0 h 115"/>
                  <a:gd name="T102" fmla="*/ 147 w 147"/>
                  <a:gd name="T103" fmla="*/ 0 h 115"/>
                  <a:gd name="T104" fmla="*/ 147 w 147"/>
                  <a:gd name="T105" fmla="*/ 115 h 115"/>
                  <a:gd name="T106" fmla="*/ 116 w 147"/>
                  <a:gd name="T107" fmla="*/ 115 h 115"/>
                  <a:gd name="T108" fmla="*/ 116 w 147"/>
                  <a:gd name="T109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47" h="115">
                    <a:moveTo>
                      <a:pt x="92" y="46"/>
                    </a:moveTo>
                    <a:lnTo>
                      <a:pt x="92" y="46"/>
                    </a:lnTo>
                    <a:lnTo>
                      <a:pt x="97" y="53"/>
                    </a:lnTo>
                    <a:lnTo>
                      <a:pt x="101" y="60"/>
                    </a:lnTo>
                    <a:lnTo>
                      <a:pt x="103" y="67"/>
                    </a:lnTo>
                    <a:lnTo>
                      <a:pt x="103" y="75"/>
                    </a:lnTo>
                    <a:lnTo>
                      <a:pt x="103" y="75"/>
                    </a:lnTo>
                    <a:lnTo>
                      <a:pt x="103" y="83"/>
                    </a:lnTo>
                    <a:lnTo>
                      <a:pt x="100" y="91"/>
                    </a:lnTo>
                    <a:lnTo>
                      <a:pt x="96" y="99"/>
                    </a:lnTo>
                    <a:lnTo>
                      <a:pt x="90" y="105"/>
                    </a:lnTo>
                    <a:lnTo>
                      <a:pt x="90" y="105"/>
                    </a:lnTo>
                    <a:lnTo>
                      <a:pt x="82" y="110"/>
                    </a:lnTo>
                    <a:lnTo>
                      <a:pt x="74" y="113"/>
                    </a:lnTo>
                    <a:lnTo>
                      <a:pt x="65" y="115"/>
                    </a:lnTo>
                    <a:lnTo>
                      <a:pt x="55" y="115"/>
                    </a:lnTo>
                    <a:lnTo>
                      <a:pt x="0" y="115"/>
                    </a:lnTo>
                    <a:lnTo>
                      <a:pt x="0" y="1"/>
                    </a:lnTo>
                    <a:lnTo>
                      <a:pt x="32" y="1"/>
                    </a:lnTo>
                    <a:lnTo>
                      <a:pt x="32" y="37"/>
                    </a:lnTo>
                    <a:lnTo>
                      <a:pt x="59" y="37"/>
                    </a:lnTo>
                    <a:lnTo>
                      <a:pt x="59" y="37"/>
                    </a:lnTo>
                    <a:lnTo>
                      <a:pt x="68" y="37"/>
                    </a:lnTo>
                    <a:lnTo>
                      <a:pt x="76" y="39"/>
                    </a:lnTo>
                    <a:lnTo>
                      <a:pt x="84" y="42"/>
                    </a:lnTo>
                    <a:lnTo>
                      <a:pt x="92" y="46"/>
                    </a:lnTo>
                    <a:lnTo>
                      <a:pt x="92" y="46"/>
                    </a:lnTo>
                    <a:close/>
                    <a:moveTo>
                      <a:pt x="66" y="88"/>
                    </a:moveTo>
                    <a:lnTo>
                      <a:pt x="66" y="88"/>
                    </a:lnTo>
                    <a:lnTo>
                      <a:pt x="68" y="85"/>
                    </a:lnTo>
                    <a:lnTo>
                      <a:pt x="70" y="82"/>
                    </a:lnTo>
                    <a:lnTo>
                      <a:pt x="71" y="79"/>
                    </a:lnTo>
                    <a:lnTo>
                      <a:pt x="71" y="76"/>
                    </a:lnTo>
                    <a:lnTo>
                      <a:pt x="71" y="76"/>
                    </a:lnTo>
                    <a:lnTo>
                      <a:pt x="71" y="72"/>
                    </a:lnTo>
                    <a:lnTo>
                      <a:pt x="70" y="69"/>
                    </a:lnTo>
                    <a:lnTo>
                      <a:pt x="68" y="67"/>
                    </a:lnTo>
                    <a:lnTo>
                      <a:pt x="66" y="64"/>
                    </a:lnTo>
                    <a:lnTo>
                      <a:pt x="64" y="63"/>
                    </a:lnTo>
                    <a:lnTo>
                      <a:pt x="61" y="62"/>
                    </a:lnTo>
                    <a:lnTo>
                      <a:pt x="53" y="61"/>
                    </a:lnTo>
                    <a:lnTo>
                      <a:pt x="32" y="61"/>
                    </a:lnTo>
                    <a:lnTo>
                      <a:pt x="32" y="92"/>
                    </a:lnTo>
                    <a:lnTo>
                      <a:pt x="53" y="92"/>
                    </a:lnTo>
                    <a:lnTo>
                      <a:pt x="53" y="92"/>
                    </a:lnTo>
                    <a:lnTo>
                      <a:pt x="57" y="92"/>
                    </a:lnTo>
                    <a:lnTo>
                      <a:pt x="60" y="91"/>
                    </a:lnTo>
                    <a:lnTo>
                      <a:pt x="63" y="90"/>
                    </a:lnTo>
                    <a:lnTo>
                      <a:pt x="66" y="88"/>
                    </a:lnTo>
                    <a:lnTo>
                      <a:pt x="66" y="88"/>
                    </a:lnTo>
                    <a:close/>
                    <a:moveTo>
                      <a:pt x="116" y="0"/>
                    </a:moveTo>
                    <a:lnTo>
                      <a:pt x="147" y="0"/>
                    </a:lnTo>
                    <a:lnTo>
                      <a:pt x="147" y="115"/>
                    </a:lnTo>
                    <a:lnTo>
                      <a:pt x="116" y="115"/>
                    </a:lnTo>
                    <a:lnTo>
                      <a:pt x="116" y="0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20">
                <a:extLst>
                  <a:ext uri="{FF2B5EF4-FFF2-40B4-BE49-F238E27FC236}">
                    <a16:creationId xmlns:a16="http://schemas.microsoft.com/office/drawing/2014/main" id="{C20272F1-A607-4DA2-ABF9-1CEC2D30F07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802941" y="1535113"/>
                <a:ext cx="74613" cy="90487"/>
              </a:xfrm>
              <a:custGeom>
                <a:avLst/>
                <a:gdLst>
                  <a:gd name="T0" fmla="*/ 92 w 92"/>
                  <a:gd name="T1" fmla="*/ 90 h 115"/>
                  <a:gd name="T2" fmla="*/ 92 w 92"/>
                  <a:gd name="T3" fmla="*/ 115 h 115"/>
                  <a:gd name="T4" fmla="*/ 0 w 92"/>
                  <a:gd name="T5" fmla="*/ 115 h 115"/>
                  <a:gd name="T6" fmla="*/ 0 w 92"/>
                  <a:gd name="T7" fmla="*/ 0 h 115"/>
                  <a:gd name="T8" fmla="*/ 90 w 92"/>
                  <a:gd name="T9" fmla="*/ 0 h 115"/>
                  <a:gd name="T10" fmla="*/ 90 w 92"/>
                  <a:gd name="T11" fmla="*/ 25 h 115"/>
                  <a:gd name="T12" fmla="*/ 32 w 92"/>
                  <a:gd name="T13" fmla="*/ 25 h 115"/>
                  <a:gd name="T14" fmla="*/ 32 w 92"/>
                  <a:gd name="T15" fmla="*/ 44 h 115"/>
                  <a:gd name="T16" fmla="*/ 83 w 92"/>
                  <a:gd name="T17" fmla="*/ 44 h 115"/>
                  <a:gd name="T18" fmla="*/ 83 w 92"/>
                  <a:gd name="T19" fmla="*/ 69 h 115"/>
                  <a:gd name="T20" fmla="*/ 32 w 92"/>
                  <a:gd name="T21" fmla="*/ 69 h 115"/>
                  <a:gd name="T22" fmla="*/ 32 w 92"/>
                  <a:gd name="T23" fmla="*/ 90 h 115"/>
                  <a:gd name="T24" fmla="*/ 92 w 92"/>
                  <a:gd name="T25" fmla="*/ 9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2" h="115">
                    <a:moveTo>
                      <a:pt x="92" y="90"/>
                    </a:moveTo>
                    <a:lnTo>
                      <a:pt x="9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25"/>
                    </a:lnTo>
                    <a:lnTo>
                      <a:pt x="32" y="25"/>
                    </a:lnTo>
                    <a:lnTo>
                      <a:pt x="32" y="44"/>
                    </a:lnTo>
                    <a:lnTo>
                      <a:pt x="83" y="44"/>
                    </a:lnTo>
                    <a:lnTo>
                      <a:pt x="83" y="69"/>
                    </a:lnTo>
                    <a:lnTo>
                      <a:pt x="32" y="69"/>
                    </a:lnTo>
                    <a:lnTo>
                      <a:pt x="32" y="90"/>
                    </a:lnTo>
                    <a:lnTo>
                      <a:pt x="92" y="90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21">
                <a:extLst>
                  <a:ext uri="{FF2B5EF4-FFF2-40B4-BE49-F238E27FC236}">
                    <a16:creationId xmlns:a16="http://schemas.microsoft.com/office/drawing/2014/main" id="{4DEEC5AE-7728-4EA3-9A39-350CFF127F4D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934704" y="1535113"/>
                <a:ext cx="82550" cy="90487"/>
              </a:xfrm>
              <a:custGeom>
                <a:avLst/>
                <a:gdLst>
                  <a:gd name="T0" fmla="*/ 79 w 104"/>
                  <a:gd name="T1" fmla="*/ 5 h 115"/>
                  <a:gd name="T2" fmla="*/ 79 w 104"/>
                  <a:gd name="T3" fmla="*/ 5 h 115"/>
                  <a:gd name="T4" fmla="*/ 85 w 104"/>
                  <a:gd name="T5" fmla="*/ 8 h 115"/>
                  <a:gd name="T6" fmla="*/ 90 w 104"/>
                  <a:gd name="T7" fmla="*/ 12 h 115"/>
                  <a:gd name="T8" fmla="*/ 94 w 104"/>
                  <a:gd name="T9" fmla="*/ 16 h 115"/>
                  <a:gd name="T10" fmla="*/ 98 w 104"/>
                  <a:gd name="T11" fmla="*/ 20 h 115"/>
                  <a:gd name="T12" fmla="*/ 98 w 104"/>
                  <a:gd name="T13" fmla="*/ 20 h 115"/>
                  <a:gd name="T14" fmla="*/ 101 w 104"/>
                  <a:gd name="T15" fmla="*/ 27 h 115"/>
                  <a:gd name="T16" fmla="*/ 104 w 104"/>
                  <a:gd name="T17" fmla="*/ 35 h 115"/>
                  <a:gd name="T18" fmla="*/ 104 w 104"/>
                  <a:gd name="T19" fmla="*/ 43 h 115"/>
                  <a:gd name="T20" fmla="*/ 104 w 104"/>
                  <a:gd name="T21" fmla="*/ 51 h 115"/>
                  <a:gd name="T22" fmla="*/ 102 w 104"/>
                  <a:gd name="T23" fmla="*/ 59 h 115"/>
                  <a:gd name="T24" fmla="*/ 98 w 104"/>
                  <a:gd name="T25" fmla="*/ 66 h 115"/>
                  <a:gd name="T26" fmla="*/ 93 w 104"/>
                  <a:gd name="T27" fmla="*/ 72 h 115"/>
                  <a:gd name="T28" fmla="*/ 87 w 104"/>
                  <a:gd name="T29" fmla="*/ 77 h 115"/>
                  <a:gd name="T30" fmla="*/ 87 w 104"/>
                  <a:gd name="T31" fmla="*/ 77 h 115"/>
                  <a:gd name="T32" fmla="*/ 79 w 104"/>
                  <a:gd name="T33" fmla="*/ 81 h 115"/>
                  <a:gd name="T34" fmla="*/ 79 w 104"/>
                  <a:gd name="T35" fmla="*/ 81 h 115"/>
                  <a:gd name="T36" fmla="*/ 72 w 104"/>
                  <a:gd name="T37" fmla="*/ 83 h 115"/>
                  <a:gd name="T38" fmla="*/ 66 w 104"/>
                  <a:gd name="T39" fmla="*/ 85 h 115"/>
                  <a:gd name="T40" fmla="*/ 59 w 104"/>
                  <a:gd name="T41" fmla="*/ 85 h 115"/>
                  <a:gd name="T42" fmla="*/ 52 w 104"/>
                  <a:gd name="T43" fmla="*/ 86 h 115"/>
                  <a:gd name="T44" fmla="*/ 32 w 104"/>
                  <a:gd name="T45" fmla="*/ 86 h 115"/>
                  <a:gd name="T46" fmla="*/ 32 w 104"/>
                  <a:gd name="T47" fmla="*/ 115 h 115"/>
                  <a:gd name="T48" fmla="*/ 0 w 104"/>
                  <a:gd name="T49" fmla="*/ 115 h 115"/>
                  <a:gd name="T50" fmla="*/ 0 w 104"/>
                  <a:gd name="T51" fmla="*/ 0 h 115"/>
                  <a:gd name="T52" fmla="*/ 52 w 104"/>
                  <a:gd name="T53" fmla="*/ 0 h 115"/>
                  <a:gd name="T54" fmla="*/ 52 w 104"/>
                  <a:gd name="T55" fmla="*/ 0 h 115"/>
                  <a:gd name="T56" fmla="*/ 59 w 104"/>
                  <a:gd name="T57" fmla="*/ 1 h 115"/>
                  <a:gd name="T58" fmla="*/ 66 w 104"/>
                  <a:gd name="T59" fmla="*/ 2 h 115"/>
                  <a:gd name="T60" fmla="*/ 73 w 104"/>
                  <a:gd name="T61" fmla="*/ 3 h 115"/>
                  <a:gd name="T62" fmla="*/ 79 w 104"/>
                  <a:gd name="T63" fmla="*/ 5 h 115"/>
                  <a:gd name="T64" fmla="*/ 79 w 104"/>
                  <a:gd name="T65" fmla="*/ 5 h 115"/>
                  <a:gd name="T66" fmla="*/ 65 w 104"/>
                  <a:gd name="T67" fmla="*/ 56 h 115"/>
                  <a:gd name="T68" fmla="*/ 65 w 104"/>
                  <a:gd name="T69" fmla="*/ 56 h 115"/>
                  <a:gd name="T70" fmla="*/ 67 w 104"/>
                  <a:gd name="T71" fmla="*/ 53 h 115"/>
                  <a:gd name="T72" fmla="*/ 69 w 104"/>
                  <a:gd name="T73" fmla="*/ 50 h 115"/>
                  <a:gd name="T74" fmla="*/ 70 w 104"/>
                  <a:gd name="T75" fmla="*/ 46 h 115"/>
                  <a:gd name="T76" fmla="*/ 70 w 104"/>
                  <a:gd name="T77" fmla="*/ 43 h 115"/>
                  <a:gd name="T78" fmla="*/ 70 w 104"/>
                  <a:gd name="T79" fmla="*/ 43 h 115"/>
                  <a:gd name="T80" fmla="*/ 70 w 104"/>
                  <a:gd name="T81" fmla="*/ 39 h 115"/>
                  <a:gd name="T82" fmla="*/ 69 w 104"/>
                  <a:gd name="T83" fmla="*/ 36 h 115"/>
                  <a:gd name="T84" fmla="*/ 67 w 104"/>
                  <a:gd name="T85" fmla="*/ 33 h 115"/>
                  <a:gd name="T86" fmla="*/ 65 w 104"/>
                  <a:gd name="T87" fmla="*/ 30 h 115"/>
                  <a:gd name="T88" fmla="*/ 65 w 104"/>
                  <a:gd name="T89" fmla="*/ 30 h 115"/>
                  <a:gd name="T90" fmla="*/ 62 w 104"/>
                  <a:gd name="T91" fmla="*/ 28 h 115"/>
                  <a:gd name="T92" fmla="*/ 58 w 104"/>
                  <a:gd name="T93" fmla="*/ 27 h 115"/>
                  <a:gd name="T94" fmla="*/ 54 w 104"/>
                  <a:gd name="T95" fmla="*/ 26 h 115"/>
                  <a:gd name="T96" fmla="*/ 50 w 104"/>
                  <a:gd name="T97" fmla="*/ 26 h 115"/>
                  <a:gd name="T98" fmla="*/ 32 w 104"/>
                  <a:gd name="T99" fmla="*/ 26 h 115"/>
                  <a:gd name="T100" fmla="*/ 32 w 104"/>
                  <a:gd name="T101" fmla="*/ 60 h 115"/>
                  <a:gd name="T102" fmla="*/ 50 w 104"/>
                  <a:gd name="T103" fmla="*/ 60 h 115"/>
                  <a:gd name="T104" fmla="*/ 50 w 104"/>
                  <a:gd name="T105" fmla="*/ 60 h 115"/>
                  <a:gd name="T106" fmla="*/ 54 w 104"/>
                  <a:gd name="T107" fmla="*/ 60 h 115"/>
                  <a:gd name="T108" fmla="*/ 58 w 104"/>
                  <a:gd name="T109" fmla="*/ 59 h 115"/>
                  <a:gd name="T110" fmla="*/ 62 w 104"/>
                  <a:gd name="T111" fmla="*/ 58 h 115"/>
                  <a:gd name="T112" fmla="*/ 65 w 104"/>
                  <a:gd name="T113" fmla="*/ 56 h 115"/>
                  <a:gd name="T114" fmla="*/ 65 w 104"/>
                  <a:gd name="T115" fmla="*/ 56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04" h="115">
                    <a:moveTo>
                      <a:pt x="79" y="5"/>
                    </a:moveTo>
                    <a:lnTo>
                      <a:pt x="79" y="5"/>
                    </a:lnTo>
                    <a:lnTo>
                      <a:pt x="85" y="8"/>
                    </a:lnTo>
                    <a:lnTo>
                      <a:pt x="90" y="12"/>
                    </a:lnTo>
                    <a:lnTo>
                      <a:pt x="94" y="16"/>
                    </a:lnTo>
                    <a:lnTo>
                      <a:pt x="98" y="20"/>
                    </a:lnTo>
                    <a:lnTo>
                      <a:pt x="98" y="20"/>
                    </a:lnTo>
                    <a:lnTo>
                      <a:pt x="101" y="27"/>
                    </a:lnTo>
                    <a:lnTo>
                      <a:pt x="104" y="35"/>
                    </a:lnTo>
                    <a:lnTo>
                      <a:pt x="104" y="43"/>
                    </a:lnTo>
                    <a:lnTo>
                      <a:pt x="104" y="51"/>
                    </a:lnTo>
                    <a:lnTo>
                      <a:pt x="102" y="59"/>
                    </a:lnTo>
                    <a:lnTo>
                      <a:pt x="98" y="66"/>
                    </a:lnTo>
                    <a:lnTo>
                      <a:pt x="93" y="72"/>
                    </a:lnTo>
                    <a:lnTo>
                      <a:pt x="87" y="77"/>
                    </a:lnTo>
                    <a:lnTo>
                      <a:pt x="87" y="77"/>
                    </a:lnTo>
                    <a:lnTo>
                      <a:pt x="79" y="81"/>
                    </a:lnTo>
                    <a:lnTo>
                      <a:pt x="79" y="81"/>
                    </a:lnTo>
                    <a:lnTo>
                      <a:pt x="72" y="83"/>
                    </a:lnTo>
                    <a:lnTo>
                      <a:pt x="66" y="85"/>
                    </a:lnTo>
                    <a:lnTo>
                      <a:pt x="59" y="85"/>
                    </a:lnTo>
                    <a:lnTo>
                      <a:pt x="52" y="86"/>
                    </a:lnTo>
                    <a:lnTo>
                      <a:pt x="32" y="86"/>
                    </a:lnTo>
                    <a:lnTo>
                      <a:pt x="3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52" y="0"/>
                    </a:lnTo>
                    <a:lnTo>
                      <a:pt x="52" y="0"/>
                    </a:lnTo>
                    <a:lnTo>
                      <a:pt x="59" y="1"/>
                    </a:lnTo>
                    <a:lnTo>
                      <a:pt x="66" y="2"/>
                    </a:lnTo>
                    <a:lnTo>
                      <a:pt x="73" y="3"/>
                    </a:lnTo>
                    <a:lnTo>
                      <a:pt x="79" y="5"/>
                    </a:lnTo>
                    <a:lnTo>
                      <a:pt x="79" y="5"/>
                    </a:lnTo>
                    <a:close/>
                    <a:moveTo>
                      <a:pt x="65" y="56"/>
                    </a:moveTo>
                    <a:lnTo>
                      <a:pt x="65" y="56"/>
                    </a:lnTo>
                    <a:lnTo>
                      <a:pt x="67" y="53"/>
                    </a:lnTo>
                    <a:lnTo>
                      <a:pt x="69" y="50"/>
                    </a:lnTo>
                    <a:lnTo>
                      <a:pt x="70" y="46"/>
                    </a:lnTo>
                    <a:lnTo>
                      <a:pt x="70" y="43"/>
                    </a:lnTo>
                    <a:lnTo>
                      <a:pt x="70" y="43"/>
                    </a:lnTo>
                    <a:lnTo>
                      <a:pt x="70" y="39"/>
                    </a:lnTo>
                    <a:lnTo>
                      <a:pt x="69" y="36"/>
                    </a:lnTo>
                    <a:lnTo>
                      <a:pt x="67" y="33"/>
                    </a:lnTo>
                    <a:lnTo>
                      <a:pt x="65" y="30"/>
                    </a:lnTo>
                    <a:lnTo>
                      <a:pt x="65" y="30"/>
                    </a:lnTo>
                    <a:lnTo>
                      <a:pt x="62" y="28"/>
                    </a:lnTo>
                    <a:lnTo>
                      <a:pt x="58" y="27"/>
                    </a:lnTo>
                    <a:lnTo>
                      <a:pt x="54" y="26"/>
                    </a:lnTo>
                    <a:lnTo>
                      <a:pt x="50" y="26"/>
                    </a:lnTo>
                    <a:lnTo>
                      <a:pt x="32" y="26"/>
                    </a:lnTo>
                    <a:lnTo>
                      <a:pt x="32" y="60"/>
                    </a:lnTo>
                    <a:lnTo>
                      <a:pt x="50" y="60"/>
                    </a:lnTo>
                    <a:lnTo>
                      <a:pt x="50" y="60"/>
                    </a:lnTo>
                    <a:lnTo>
                      <a:pt x="54" y="60"/>
                    </a:lnTo>
                    <a:lnTo>
                      <a:pt x="58" y="59"/>
                    </a:lnTo>
                    <a:lnTo>
                      <a:pt x="62" y="58"/>
                    </a:lnTo>
                    <a:lnTo>
                      <a:pt x="65" y="56"/>
                    </a:lnTo>
                    <a:lnTo>
                      <a:pt x="65" y="56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22">
                <a:extLst>
                  <a:ext uri="{FF2B5EF4-FFF2-40B4-BE49-F238E27FC236}">
                    <a16:creationId xmlns:a16="http://schemas.microsoft.com/office/drawing/2014/main" id="{C0B8B68F-ACED-4525-9285-727E2414537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029954" y="1535113"/>
                <a:ext cx="74613" cy="90487"/>
              </a:xfrm>
              <a:custGeom>
                <a:avLst/>
                <a:gdLst>
                  <a:gd name="T0" fmla="*/ 93 w 93"/>
                  <a:gd name="T1" fmla="*/ 90 h 115"/>
                  <a:gd name="T2" fmla="*/ 93 w 93"/>
                  <a:gd name="T3" fmla="*/ 115 h 115"/>
                  <a:gd name="T4" fmla="*/ 0 w 93"/>
                  <a:gd name="T5" fmla="*/ 115 h 115"/>
                  <a:gd name="T6" fmla="*/ 0 w 93"/>
                  <a:gd name="T7" fmla="*/ 0 h 115"/>
                  <a:gd name="T8" fmla="*/ 91 w 93"/>
                  <a:gd name="T9" fmla="*/ 0 h 115"/>
                  <a:gd name="T10" fmla="*/ 91 w 93"/>
                  <a:gd name="T11" fmla="*/ 25 h 115"/>
                  <a:gd name="T12" fmla="*/ 32 w 93"/>
                  <a:gd name="T13" fmla="*/ 25 h 115"/>
                  <a:gd name="T14" fmla="*/ 32 w 93"/>
                  <a:gd name="T15" fmla="*/ 44 h 115"/>
                  <a:gd name="T16" fmla="*/ 83 w 93"/>
                  <a:gd name="T17" fmla="*/ 44 h 115"/>
                  <a:gd name="T18" fmla="*/ 83 w 93"/>
                  <a:gd name="T19" fmla="*/ 69 h 115"/>
                  <a:gd name="T20" fmla="*/ 32 w 93"/>
                  <a:gd name="T21" fmla="*/ 69 h 115"/>
                  <a:gd name="T22" fmla="*/ 32 w 93"/>
                  <a:gd name="T23" fmla="*/ 90 h 115"/>
                  <a:gd name="T24" fmla="*/ 93 w 93"/>
                  <a:gd name="T25" fmla="*/ 9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3" h="115">
                    <a:moveTo>
                      <a:pt x="93" y="90"/>
                    </a:moveTo>
                    <a:lnTo>
                      <a:pt x="93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91" y="0"/>
                    </a:lnTo>
                    <a:lnTo>
                      <a:pt x="91" y="25"/>
                    </a:lnTo>
                    <a:lnTo>
                      <a:pt x="32" y="25"/>
                    </a:lnTo>
                    <a:lnTo>
                      <a:pt x="32" y="44"/>
                    </a:lnTo>
                    <a:lnTo>
                      <a:pt x="83" y="44"/>
                    </a:lnTo>
                    <a:lnTo>
                      <a:pt x="83" y="69"/>
                    </a:lnTo>
                    <a:lnTo>
                      <a:pt x="32" y="69"/>
                    </a:lnTo>
                    <a:lnTo>
                      <a:pt x="32" y="90"/>
                    </a:lnTo>
                    <a:lnTo>
                      <a:pt x="93" y="90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23">
                <a:extLst>
                  <a:ext uri="{FF2B5EF4-FFF2-40B4-BE49-F238E27FC236}">
                    <a16:creationId xmlns:a16="http://schemas.microsoft.com/office/drawing/2014/main" id="{58624B8F-E55C-4E93-8E5E-6E39C941A8B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122029" y="1535113"/>
                <a:ext cx="122238" cy="90487"/>
              </a:xfrm>
              <a:custGeom>
                <a:avLst/>
                <a:gdLst>
                  <a:gd name="T0" fmla="*/ 155 w 155"/>
                  <a:gd name="T1" fmla="*/ 0 h 115"/>
                  <a:gd name="T2" fmla="*/ 155 w 155"/>
                  <a:gd name="T3" fmla="*/ 115 h 115"/>
                  <a:gd name="T4" fmla="*/ 0 w 155"/>
                  <a:gd name="T5" fmla="*/ 115 h 115"/>
                  <a:gd name="T6" fmla="*/ 0 w 155"/>
                  <a:gd name="T7" fmla="*/ 0 h 115"/>
                  <a:gd name="T8" fmla="*/ 31 w 155"/>
                  <a:gd name="T9" fmla="*/ 0 h 115"/>
                  <a:gd name="T10" fmla="*/ 31 w 155"/>
                  <a:gd name="T11" fmla="*/ 90 h 115"/>
                  <a:gd name="T12" fmla="*/ 61 w 155"/>
                  <a:gd name="T13" fmla="*/ 90 h 115"/>
                  <a:gd name="T14" fmla="*/ 61 w 155"/>
                  <a:gd name="T15" fmla="*/ 0 h 115"/>
                  <a:gd name="T16" fmla="*/ 93 w 155"/>
                  <a:gd name="T17" fmla="*/ 0 h 115"/>
                  <a:gd name="T18" fmla="*/ 93 w 155"/>
                  <a:gd name="T19" fmla="*/ 90 h 115"/>
                  <a:gd name="T20" fmla="*/ 123 w 155"/>
                  <a:gd name="T21" fmla="*/ 90 h 115"/>
                  <a:gd name="T22" fmla="*/ 123 w 155"/>
                  <a:gd name="T23" fmla="*/ 0 h 115"/>
                  <a:gd name="T24" fmla="*/ 155 w 155"/>
                  <a:gd name="T25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5" h="115">
                    <a:moveTo>
                      <a:pt x="155" y="0"/>
                    </a:moveTo>
                    <a:lnTo>
                      <a:pt x="155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1" y="0"/>
                    </a:lnTo>
                    <a:lnTo>
                      <a:pt x="31" y="90"/>
                    </a:lnTo>
                    <a:lnTo>
                      <a:pt x="61" y="90"/>
                    </a:lnTo>
                    <a:lnTo>
                      <a:pt x="61" y="0"/>
                    </a:lnTo>
                    <a:lnTo>
                      <a:pt x="93" y="0"/>
                    </a:lnTo>
                    <a:lnTo>
                      <a:pt x="93" y="90"/>
                    </a:lnTo>
                    <a:lnTo>
                      <a:pt x="123" y="90"/>
                    </a:lnTo>
                    <a:lnTo>
                      <a:pt x="123" y="0"/>
                    </a:lnTo>
                    <a:lnTo>
                      <a:pt x="155" y="0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24">
                <a:extLst>
                  <a:ext uri="{FF2B5EF4-FFF2-40B4-BE49-F238E27FC236}">
                    <a16:creationId xmlns:a16="http://schemas.microsoft.com/office/drawing/2014/main" id="{09D1F7D3-D83B-4911-8DFA-85E80F9845F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268079" y="1535113"/>
                <a:ext cx="71438" cy="90487"/>
              </a:xfrm>
              <a:custGeom>
                <a:avLst/>
                <a:gdLst>
                  <a:gd name="T0" fmla="*/ 92 w 92"/>
                  <a:gd name="T1" fmla="*/ 90 h 115"/>
                  <a:gd name="T2" fmla="*/ 92 w 92"/>
                  <a:gd name="T3" fmla="*/ 115 h 115"/>
                  <a:gd name="T4" fmla="*/ 0 w 92"/>
                  <a:gd name="T5" fmla="*/ 115 h 115"/>
                  <a:gd name="T6" fmla="*/ 0 w 92"/>
                  <a:gd name="T7" fmla="*/ 0 h 115"/>
                  <a:gd name="T8" fmla="*/ 90 w 92"/>
                  <a:gd name="T9" fmla="*/ 0 h 115"/>
                  <a:gd name="T10" fmla="*/ 90 w 92"/>
                  <a:gd name="T11" fmla="*/ 25 h 115"/>
                  <a:gd name="T12" fmla="*/ 32 w 92"/>
                  <a:gd name="T13" fmla="*/ 25 h 115"/>
                  <a:gd name="T14" fmla="*/ 32 w 92"/>
                  <a:gd name="T15" fmla="*/ 44 h 115"/>
                  <a:gd name="T16" fmla="*/ 83 w 92"/>
                  <a:gd name="T17" fmla="*/ 44 h 115"/>
                  <a:gd name="T18" fmla="*/ 83 w 92"/>
                  <a:gd name="T19" fmla="*/ 69 h 115"/>
                  <a:gd name="T20" fmla="*/ 32 w 92"/>
                  <a:gd name="T21" fmla="*/ 69 h 115"/>
                  <a:gd name="T22" fmla="*/ 32 w 92"/>
                  <a:gd name="T23" fmla="*/ 90 h 115"/>
                  <a:gd name="T24" fmla="*/ 92 w 92"/>
                  <a:gd name="T25" fmla="*/ 9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2" h="115">
                    <a:moveTo>
                      <a:pt x="92" y="90"/>
                    </a:moveTo>
                    <a:lnTo>
                      <a:pt x="9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25"/>
                    </a:lnTo>
                    <a:lnTo>
                      <a:pt x="32" y="25"/>
                    </a:lnTo>
                    <a:lnTo>
                      <a:pt x="32" y="44"/>
                    </a:lnTo>
                    <a:lnTo>
                      <a:pt x="83" y="44"/>
                    </a:lnTo>
                    <a:lnTo>
                      <a:pt x="83" y="69"/>
                    </a:lnTo>
                    <a:lnTo>
                      <a:pt x="32" y="69"/>
                    </a:lnTo>
                    <a:lnTo>
                      <a:pt x="32" y="90"/>
                    </a:lnTo>
                    <a:lnTo>
                      <a:pt x="92" y="90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25">
                <a:extLst>
                  <a:ext uri="{FF2B5EF4-FFF2-40B4-BE49-F238E27FC236}">
                    <a16:creationId xmlns:a16="http://schemas.microsoft.com/office/drawing/2014/main" id="{BF3EB9F1-AE17-4843-B173-7E957F7DEB2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358566" y="1535113"/>
                <a:ext cx="85725" cy="90487"/>
              </a:xfrm>
              <a:custGeom>
                <a:avLst/>
                <a:gdLst>
                  <a:gd name="T0" fmla="*/ 109 w 109"/>
                  <a:gd name="T1" fmla="*/ 0 h 115"/>
                  <a:gd name="T2" fmla="*/ 109 w 109"/>
                  <a:gd name="T3" fmla="*/ 115 h 115"/>
                  <a:gd name="T4" fmla="*/ 77 w 109"/>
                  <a:gd name="T5" fmla="*/ 115 h 115"/>
                  <a:gd name="T6" fmla="*/ 77 w 109"/>
                  <a:gd name="T7" fmla="*/ 71 h 115"/>
                  <a:gd name="T8" fmla="*/ 32 w 109"/>
                  <a:gd name="T9" fmla="*/ 71 h 115"/>
                  <a:gd name="T10" fmla="*/ 32 w 109"/>
                  <a:gd name="T11" fmla="*/ 115 h 115"/>
                  <a:gd name="T12" fmla="*/ 0 w 109"/>
                  <a:gd name="T13" fmla="*/ 115 h 115"/>
                  <a:gd name="T14" fmla="*/ 0 w 109"/>
                  <a:gd name="T15" fmla="*/ 0 h 115"/>
                  <a:gd name="T16" fmla="*/ 32 w 109"/>
                  <a:gd name="T17" fmla="*/ 0 h 115"/>
                  <a:gd name="T18" fmla="*/ 32 w 109"/>
                  <a:gd name="T19" fmla="*/ 43 h 115"/>
                  <a:gd name="T20" fmla="*/ 77 w 109"/>
                  <a:gd name="T21" fmla="*/ 43 h 115"/>
                  <a:gd name="T22" fmla="*/ 77 w 109"/>
                  <a:gd name="T23" fmla="*/ 0 h 115"/>
                  <a:gd name="T24" fmla="*/ 109 w 109"/>
                  <a:gd name="T25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9" h="115">
                    <a:moveTo>
                      <a:pt x="109" y="0"/>
                    </a:moveTo>
                    <a:lnTo>
                      <a:pt x="109" y="115"/>
                    </a:lnTo>
                    <a:lnTo>
                      <a:pt x="77" y="115"/>
                    </a:lnTo>
                    <a:lnTo>
                      <a:pt x="77" y="71"/>
                    </a:lnTo>
                    <a:lnTo>
                      <a:pt x="32" y="71"/>
                    </a:lnTo>
                    <a:lnTo>
                      <a:pt x="3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2" y="0"/>
                    </a:lnTo>
                    <a:lnTo>
                      <a:pt x="32" y="43"/>
                    </a:lnTo>
                    <a:lnTo>
                      <a:pt x="77" y="43"/>
                    </a:lnTo>
                    <a:lnTo>
                      <a:pt x="77" y="0"/>
                    </a:lnTo>
                    <a:lnTo>
                      <a:pt x="109" y="0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26">
                <a:extLst>
                  <a:ext uri="{FF2B5EF4-FFF2-40B4-BE49-F238E27FC236}">
                    <a16:creationId xmlns:a16="http://schemas.microsoft.com/office/drawing/2014/main" id="{6FA65157-0B8C-4F5F-B906-647386A479B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466516" y="1535113"/>
                <a:ext cx="87313" cy="90487"/>
              </a:xfrm>
              <a:custGeom>
                <a:avLst/>
                <a:gdLst>
                  <a:gd name="T0" fmla="*/ 0 w 110"/>
                  <a:gd name="T1" fmla="*/ 0 h 115"/>
                  <a:gd name="T2" fmla="*/ 32 w 110"/>
                  <a:gd name="T3" fmla="*/ 0 h 115"/>
                  <a:gd name="T4" fmla="*/ 32 w 110"/>
                  <a:gd name="T5" fmla="*/ 68 h 115"/>
                  <a:gd name="T6" fmla="*/ 80 w 110"/>
                  <a:gd name="T7" fmla="*/ 0 h 115"/>
                  <a:gd name="T8" fmla="*/ 110 w 110"/>
                  <a:gd name="T9" fmla="*/ 0 h 115"/>
                  <a:gd name="T10" fmla="*/ 110 w 110"/>
                  <a:gd name="T11" fmla="*/ 115 h 115"/>
                  <a:gd name="T12" fmla="*/ 78 w 110"/>
                  <a:gd name="T13" fmla="*/ 115 h 115"/>
                  <a:gd name="T14" fmla="*/ 78 w 110"/>
                  <a:gd name="T15" fmla="*/ 48 h 115"/>
                  <a:gd name="T16" fmla="*/ 30 w 110"/>
                  <a:gd name="T17" fmla="*/ 115 h 115"/>
                  <a:gd name="T18" fmla="*/ 0 w 110"/>
                  <a:gd name="T19" fmla="*/ 115 h 115"/>
                  <a:gd name="T20" fmla="*/ 0 w 110"/>
                  <a:gd name="T21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0" h="115">
                    <a:moveTo>
                      <a:pt x="0" y="0"/>
                    </a:moveTo>
                    <a:lnTo>
                      <a:pt x="32" y="0"/>
                    </a:lnTo>
                    <a:lnTo>
                      <a:pt x="32" y="68"/>
                    </a:lnTo>
                    <a:lnTo>
                      <a:pt x="80" y="0"/>
                    </a:lnTo>
                    <a:lnTo>
                      <a:pt x="110" y="0"/>
                    </a:lnTo>
                    <a:lnTo>
                      <a:pt x="110" y="115"/>
                    </a:lnTo>
                    <a:lnTo>
                      <a:pt x="78" y="115"/>
                    </a:lnTo>
                    <a:lnTo>
                      <a:pt x="78" y="48"/>
                    </a:lnTo>
                    <a:lnTo>
                      <a:pt x="30" y="115"/>
                    </a:lnTo>
                    <a:lnTo>
                      <a:pt x="0" y="11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27">
                <a:extLst>
                  <a:ext uri="{FF2B5EF4-FFF2-40B4-BE49-F238E27FC236}">
                    <a16:creationId xmlns:a16="http://schemas.microsoft.com/office/drawing/2014/main" id="{43C56682-5240-4ACB-B556-4BC2064BB658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1571291" y="1535113"/>
                <a:ext cx="80963" cy="90487"/>
              </a:xfrm>
              <a:custGeom>
                <a:avLst/>
                <a:gdLst>
                  <a:gd name="T0" fmla="*/ 103 w 103"/>
                  <a:gd name="T1" fmla="*/ 0 h 115"/>
                  <a:gd name="T2" fmla="*/ 103 w 103"/>
                  <a:gd name="T3" fmla="*/ 115 h 115"/>
                  <a:gd name="T4" fmla="*/ 71 w 103"/>
                  <a:gd name="T5" fmla="*/ 115 h 115"/>
                  <a:gd name="T6" fmla="*/ 71 w 103"/>
                  <a:gd name="T7" fmla="*/ 87 h 115"/>
                  <a:gd name="T8" fmla="*/ 54 w 103"/>
                  <a:gd name="T9" fmla="*/ 87 h 115"/>
                  <a:gd name="T10" fmla="*/ 34 w 103"/>
                  <a:gd name="T11" fmla="*/ 115 h 115"/>
                  <a:gd name="T12" fmla="*/ 0 w 103"/>
                  <a:gd name="T13" fmla="*/ 115 h 115"/>
                  <a:gd name="T14" fmla="*/ 23 w 103"/>
                  <a:gd name="T15" fmla="*/ 82 h 115"/>
                  <a:gd name="T16" fmla="*/ 23 w 103"/>
                  <a:gd name="T17" fmla="*/ 82 h 115"/>
                  <a:gd name="T18" fmla="*/ 18 w 103"/>
                  <a:gd name="T19" fmla="*/ 79 h 115"/>
                  <a:gd name="T20" fmla="*/ 13 w 103"/>
                  <a:gd name="T21" fmla="*/ 76 h 115"/>
                  <a:gd name="T22" fmla="*/ 9 w 103"/>
                  <a:gd name="T23" fmla="*/ 72 h 115"/>
                  <a:gd name="T24" fmla="*/ 6 w 103"/>
                  <a:gd name="T25" fmla="*/ 67 h 115"/>
                  <a:gd name="T26" fmla="*/ 6 w 103"/>
                  <a:gd name="T27" fmla="*/ 67 h 115"/>
                  <a:gd name="T28" fmla="*/ 3 w 103"/>
                  <a:gd name="T29" fmla="*/ 62 h 115"/>
                  <a:gd name="T30" fmla="*/ 1 w 103"/>
                  <a:gd name="T31" fmla="*/ 57 h 115"/>
                  <a:gd name="T32" fmla="*/ 0 w 103"/>
                  <a:gd name="T33" fmla="*/ 51 h 115"/>
                  <a:gd name="T34" fmla="*/ 0 w 103"/>
                  <a:gd name="T35" fmla="*/ 44 h 115"/>
                  <a:gd name="T36" fmla="*/ 0 w 103"/>
                  <a:gd name="T37" fmla="*/ 44 h 115"/>
                  <a:gd name="T38" fmla="*/ 0 w 103"/>
                  <a:gd name="T39" fmla="*/ 38 h 115"/>
                  <a:gd name="T40" fmla="*/ 1 w 103"/>
                  <a:gd name="T41" fmla="*/ 32 h 115"/>
                  <a:gd name="T42" fmla="*/ 3 w 103"/>
                  <a:gd name="T43" fmla="*/ 26 h 115"/>
                  <a:gd name="T44" fmla="*/ 6 w 103"/>
                  <a:gd name="T45" fmla="*/ 21 h 115"/>
                  <a:gd name="T46" fmla="*/ 6 w 103"/>
                  <a:gd name="T47" fmla="*/ 21 h 115"/>
                  <a:gd name="T48" fmla="*/ 10 w 103"/>
                  <a:gd name="T49" fmla="*/ 16 h 115"/>
                  <a:gd name="T50" fmla="*/ 14 w 103"/>
                  <a:gd name="T51" fmla="*/ 12 h 115"/>
                  <a:gd name="T52" fmla="*/ 19 w 103"/>
                  <a:gd name="T53" fmla="*/ 8 h 115"/>
                  <a:gd name="T54" fmla="*/ 24 w 103"/>
                  <a:gd name="T55" fmla="*/ 6 h 115"/>
                  <a:gd name="T56" fmla="*/ 24 w 103"/>
                  <a:gd name="T57" fmla="*/ 6 h 115"/>
                  <a:gd name="T58" fmla="*/ 30 w 103"/>
                  <a:gd name="T59" fmla="*/ 3 h 115"/>
                  <a:gd name="T60" fmla="*/ 37 w 103"/>
                  <a:gd name="T61" fmla="*/ 2 h 115"/>
                  <a:gd name="T62" fmla="*/ 45 w 103"/>
                  <a:gd name="T63" fmla="*/ 1 h 115"/>
                  <a:gd name="T64" fmla="*/ 52 w 103"/>
                  <a:gd name="T65" fmla="*/ 1 h 115"/>
                  <a:gd name="T66" fmla="*/ 103 w 103"/>
                  <a:gd name="T67" fmla="*/ 0 h 115"/>
                  <a:gd name="T68" fmla="*/ 32 w 103"/>
                  <a:gd name="T69" fmla="*/ 43 h 115"/>
                  <a:gd name="T70" fmla="*/ 32 w 103"/>
                  <a:gd name="T71" fmla="*/ 43 h 115"/>
                  <a:gd name="T72" fmla="*/ 33 w 103"/>
                  <a:gd name="T73" fmla="*/ 48 h 115"/>
                  <a:gd name="T74" fmla="*/ 34 w 103"/>
                  <a:gd name="T75" fmla="*/ 51 h 115"/>
                  <a:gd name="T76" fmla="*/ 35 w 103"/>
                  <a:gd name="T77" fmla="*/ 54 h 115"/>
                  <a:gd name="T78" fmla="*/ 37 w 103"/>
                  <a:gd name="T79" fmla="*/ 57 h 115"/>
                  <a:gd name="T80" fmla="*/ 37 w 103"/>
                  <a:gd name="T81" fmla="*/ 57 h 115"/>
                  <a:gd name="T82" fmla="*/ 42 w 103"/>
                  <a:gd name="T83" fmla="*/ 59 h 115"/>
                  <a:gd name="T84" fmla="*/ 45 w 103"/>
                  <a:gd name="T85" fmla="*/ 61 h 115"/>
                  <a:gd name="T86" fmla="*/ 49 w 103"/>
                  <a:gd name="T87" fmla="*/ 62 h 115"/>
                  <a:gd name="T88" fmla="*/ 52 w 103"/>
                  <a:gd name="T89" fmla="*/ 62 h 115"/>
                  <a:gd name="T90" fmla="*/ 72 w 103"/>
                  <a:gd name="T91" fmla="*/ 62 h 115"/>
                  <a:gd name="T92" fmla="*/ 72 w 103"/>
                  <a:gd name="T93" fmla="*/ 26 h 115"/>
                  <a:gd name="T94" fmla="*/ 53 w 103"/>
                  <a:gd name="T95" fmla="*/ 26 h 115"/>
                  <a:gd name="T96" fmla="*/ 53 w 103"/>
                  <a:gd name="T97" fmla="*/ 26 h 115"/>
                  <a:gd name="T98" fmla="*/ 48 w 103"/>
                  <a:gd name="T99" fmla="*/ 26 h 115"/>
                  <a:gd name="T100" fmla="*/ 44 w 103"/>
                  <a:gd name="T101" fmla="*/ 27 h 115"/>
                  <a:gd name="T102" fmla="*/ 41 w 103"/>
                  <a:gd name="T103" fmla="*/ 28 h 115"/>
                  <a:gd name="T104" fmla="*/ 37 w 103"/>
                  <a:gd name="T105" fmla="*/ 30 h 115"/>
                  <a:gd name="T106" fmla="*/ 35 w 103"/>
                  <a:gd name="T107" fmla="*/ 32 h 115"/>
                  <a:gd name="T108" fmla="*/ 34 w 103"/>
                  <a:gd name="T109" fmla="*/ 35 h 115"/>
                  <a:gd name="T110" fmla="*/ 33 w 103"/>
                  <a:gd name="T111" fmla="*/ 39 h 115"/>
                  <a:gd name="T112" fmla="*/ 32 w 103"/>
                  <a:gd name="T113" fmla="*/ 43 h 115"/>
                  <a:gd name="T114" fmla="*/ 32 w 103"/>
                  <a:gd name="T115" fmla="*/ 43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03" h="115">
                    <a:moveTo>
                      <a:pt x="103" y="0"/>
                    </a:moveTo>
                    <a:lnTo>
                      <a:pt x="103" y="115"/>
                    </a:lnTo>
                    <a:lnTo>
                      <a:pt x="71" y="115"/>
                    </a:lnTo>
                    <a:lnTo>
                      <a:pt x="71" y="87"/>
                    </a:lnTo>
                    <a:lnTo>
                      <a:pt x="54" y="87"/>
                    </a:lnTo>
                    <a:lnTo>
                      <a:pt x="34" y="115"/>
                    </a:lnTo>
                    <a:lnTo>
                      <a:pt x="0" y="115"/>
                    </a:lnTo>
                    <a:lnTo>
                      <a:pt x="23" y="82"/>
                    </a:lnTo>
                    <a:lnTo>
                      <a:pt x="23" y="82"/>
                    </a:lnTo>
                    <a:lnTo>
                      <a:pt x="18" y="79"/>
                    </a:lnTo>
                    <a:lnTo>
                      <a:pt x="13" y="76"/>
                    </a:lnTo>
                    <a:lnTo>
                      <a:pt x="9" y="72"/>
                    </a:lnTo>
                    <a:lnTo>
                      <a:pt x="6" y="67"/>
                    </a:lnTo>
                    <a:lnTo>
                      <a:pt x="6" y="67"/>
                    </a:lnTo>
                    <a:lnTo>
                      <a:pt x="3" y="62"/>
                    </a:lnTo>
                    <a:lnTo>
                      <a:pt x="1" y="57"/>
                    </a:lnTo>
                    <a:lnTo>
                      <a:pt x="0" y="51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38"/>
                    </a:lnTo>
                    <a:lnTo>
                      <a:pt x="1" y="32"/>
                    </a:lnTo>
                    <a:lnTo>
                      <a:pt x="3" y="26"/>
                    </a:lnTo>
                    <a:lnTo>
                      <a:pt x="6" y="21"/>
                    </a:lnTo>
                    <a:lnTo>
                      <a:pt x="6" y="21"/>
                    </a:lnTo>
                    <a:lnTo>
                      <a:pt x="10" y="16"/>
                    </a:lnTo>
                    <a:lnTo>
                      <a:pt x="14" y="12"/>
                    </a:lnTo>
                    <a:lnTo>
                      <a:pt x="19" y="8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30" y="3"/>
                    </a:lnTo>
                    <a:lnTo>
                      <a:pt x="37" y="2"/>
                    </a:lnTo>
                    <a:lnTo>
                      <a:pt x="45" y="1"/>
                    </a:lnTo>
                    <a:lnTo>
                      <a:pt x="52" y="1"/>
                    </a:lnTo>
                    <a:lnTo>
                      <a:pt x="103" y="0"/>
                    </a:lnTo>
                    <a:close/>
                    <a:moveTo>
                      <a:pt x="32" y="43"/>
                    </a:moveTo>
                    <a:lnTo>
                      <a:pt x="32" y="43"/>
                    </a:lnTo>
                    <a:lnTo>
                      <a:pt x="33" y="48"/>
                    </a:lnTo>
                    <a:lnTo>
                      <a:pt x="34" y="51"/>
                    </a:lnTo>
                    <a:lnTo>
                      <a:pt x="35" y="54"/>
                    </a:lnTo>
                    <a:lnTo>
                      <a:pt x="37" y="57"/>
                    </a:lnTo>
                    <a:lnTo>
                      <a:pt x="37" y="57"/>
                    </a:lnTo>
                    <a:lnTo>
                      <a:pt x="42" y="59"/>
                    </a:lnTo>
                    <a:lnTo>
                      <a:pt x="45" y="61"/>
                    </a:lnTo>
                    <a:lnTo>
                      <a:pt x="49" y="62"/>
                    </a:lnTo>
                    <a:lnTo>
                      <a:pt x="52" y="62"/>
                    </a:lnTo>
                    <a:lnTo>
                      <a:pt x="72" y="62"/>
                    </a:lnTo>
                    <a:lnTo>
                      <a:pt x="72" y="26"/>
                    </a:lnTo>
                    <a:lnTo>
                      <a:pt x="53" y="26"/>
                    </a:lnTo>
                    <a:lnTo>
                      <a:pt x="53" y="26"/>
                    </a:lnTo>
                    <a:lnTo>
                      <a:pt x="48" y="26"/>
                    </a:lnTo>
                    <a:lnTo>
                      <a:pt x="44" y="27"/>
                    </a:lnTo>
                    <a:lnTo>
                      <a:pt x="41" y="28"/>
                    </a:lnTo>
                    <a:lnTo>
                      <a:pt x="37" y="30"/>
                    </a:lnTo>
                    <a:lnTo>
                      <a:pt x="35" y="32"/>
                    </a:lnTo>
                    <a:lnTo>
                      <a:pt x="34" y="35"/>
                    </a:lnTo>
                    <a:lnTo>
                      <a:pt x="33" y="39"/>
                    </a:lnTo>
                    <a:lnTo>
                      <a:pt x="32" y="43"/>
                    </a:lnTo>
                    <a:lnTo>
                      <a:pt x="32" y="43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5BFB995E-D60C-4EF7-A232-A61BC2FB7C19}"/>
                </a:ext>
              </a:extLst>
            </p:cNvPr>
            <p:cNvGrpSpPr/>
            <p:nvPr userDrawn="1"/>
          </p:nvGrpSpPr>
          <p:grpSpPr>
            <a:xfrm>
              <a:off x="10332720" y="658368"/>
              <a:ext cx="670092" cy="617763"/>
              <a:chOff x="10301291" y="611188"/>
              <a:chExt cx="731838" cy="674687"/>
            </a:xfrm>
          </p:grpSpPr>
          <p:sp>
            <p:nvSpPr>
              <p:cNvPr id="75" name="Freeform 28">
                <a:extLst>
                  <a:ext uri="{FF2B5EF4-FFF2-40B4-BE49-F238E27FC236}">
                    <a16:creationId xmlns:a16="http://schemas.microsoft.com/office/drawing/2014/main" id="{F5B9BDFA-EBE4-4DBD-A9F3-9A3D85A3240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301291" y="611188"/>
                <a:ext cx="731838" cy="674687"/>
              </a:xfrm>
              <a:custGeom>
                <a:avLst/>
                <a:gdLst>
                  <a:gd name="T0" fmla="*/ 922 w 922"/>
                  <a:gd name="T1" fmla="*/ 0 h 850"/>
                  <a:gd name="T2" fmla="*/ 922 w 922"/>
                  <a:gd name="T3" fmla="*/ 850 h 850"/>
                  <a:gd name="T4" fmla="*/ 0 w 922"/>
                  <a:gd name="T5" fmla="*/ 850 h 850"/>
                  <a:gd name="T6" fmla="*/ 922 w 922"/>
                  <a:gd name="T7" fmla="*/ 0 h 8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22" h="850">
                    <a:moveTo>
                      <a:pt x="922" y="0"/>
                    </a:moveTo>
                    <a:lnTo>
                      <a:pt x="922" y="850"/>
                    </a:lnTo>
                    <a:lnTo>
                      <a:pt x="0" y="850"/>
                    </a:lnTo>
                    <a:lnTo>
                      <a:pt x="922" y="0"/>
                    </a:lnTo>
                    <a:close/>
                  </a:path>
                </a:pathLst>
              </a:custGeom>
              <a:solidFill>
                <a:srgbClr val="46AC4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29">
                <a:extLst>
                  <a:ext uri="{FF2B5EF4-FFF2-40B4-BE49-F238E27FC236}">
                    <a16:creationId xmlns:a16="http://schemas.microsoft.com/office/drawing/2014/main" id="{E66CE1DE-39E3-4527-B4DC-FFBA12E63AC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877554" y="611188"/>
                <a:ext cx="155575" cy="674687"/>
              </a:xfrm>
              <a:custGeom>
                <a:avLst/>
                <a:gdLst>
                  <a:gd name="T0" fmla="*/ 196 w 196"/>
                  <a:gd name="T1" fmla="*/ 0 h 850"/>
                  <a:gd name="T2" fmla="*/ 196 w 196"/>
                  <a:gd name="T3" fmla="*/ 850 h 850"/>
                  <a:gd name="T4" fmla="*/ 0 w 196"/>
                  <a:gd name="T5" fmla="*/ 850 h 850"/>
                  <a:gd name="T6" fmla="*/ 0 w 196"/>
                  <a:gd name="T7" fmla="*/ 181 h 850"/>
                  <a:gd name="T8" fmla="*/ 196 w 196"/>
                  <a:gd name="T9" fmla="*/ 0 h 8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6" h="850">
                    <a:moveTo>
                      <a:pt x="196" y="0"/>
                    </a:moveTo>
                    <a:lnTo>
                      <a:pt x="196" y="850"/>
                    </a:lnTo>
                    <a:lnTo>
                      <a:pt x="0" y="850"/>
                    </a:lnTo>
                    <a:lnTo>
                      <a:pt x="0" y="181"/>
                    </a:lnTo>
                    <a:lnTo>
                      <a:pt x="196" y="0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30">
                <a:extLst>
                  <a:ext uri="{FF2B5EF4-FFF2-40B4-BE49-F238E27FC236}">
                    <a16:creationId xmlns:a16="http://schemas.microsoft.com/office/drawing/2014/main" id="{997CA7EA-995A-4D97-AD59-59B716A115D4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301291" y="625475"/>
                <a:ext cx="493713" cy="660400"/>
              </a:xfrm>
              <a:custGeom>
                <a:avLst/>
                <a:gdLst>
                  <a:gd name="T0" fmla="*/ 339 w 622"/>
                  <a:gd name="T1" fmla="*/ 302 h 833"/>
                  <a:gd name="T2" fmla="*/ 366 w 622"/>
                  <a:gd name="T3" fmla="*/ 303 h 833"/>
                  <a:gd name="T4" fmla="*/ 419 w 622"/>
                  <a:gd name="T5" fmla="*/ 309 h 833"/>
                  <a:gd name="T6" fmla="*/ 447 w 622"/>
                  <a:gd name="T7" fmla="*/ 315 h 833"/>
                  <a:gd name="T8" fmla="*/ 493 w 622"/>
                  <a:gd name="T9" fmla="*/ 332 h 833"/>
                  <a:gd name="T10" fmla="*/ 536 w 622"/>
                  <a:gd name="T11" fmla="*/ 358 h 833"/>
                  <a:gd name="T12" fmla="*/ 546 w 622"/>
                  <a:gd name="T13" fmla="*/ 366 h 833"/>
                  <a:gd name="T14" fmla="*/ 564 w 622"/>
                  <a:gd name="T15" fmla="*/ 383 h 833"/>
                  <a:gd name="T16" fmla="*/ 580 w 622"/>
                  <a:gd name="T17" fmla="*/ 404 h 833"/>
                  <a:gd name="T18" fmla="*/ 594 w 622"/>
                  <a:gd name="T19" fmla="*/ 428 h 833"/>
                  <a:gd name="T20" fmla="*/ 600 w 622"/>
                  <a:gd name="T21" fmla="*/ 440 h 833"/>
                  <a:gd name="T22" fmla="*/ 609 w 622"/>
                  <a:gd name="T23" fmla="*/ 468 h 833"/>
                  <a:gd name="T24" fmla="*/ 616 w 622"/>
                  <a:gd name="T25" fmla="*/ 500 h 833"/>
                  <a:gd name="T26" fmla="*/ 620 w 622"/>
                  <a:gd name="T27" fmla="*/ 532 h 833"/>
                  <a:gd name="T28" fmla="*/ 622 w 622"/>
                  <a:gd name="T29" fmla="*/ 568 h 833"/>
                  <a:gd name="T30" fmla="*/ 621 w 622"/>
                  <a:gd name="T31" fmla="*/ 586 h 833"/>
                  <a:gd name="T32" fmla="*/ 619 w 622"/>
                  <a:gd name="T33" fmla="*/ 620 h 833"/>
                  <a:gd name="T34" fmla="*/ 613 w 622"/>
                  <a:gd name="T35" fmla="*/ 653 h 833"/>
                  <a:gd name="T36" fmla="*/ 605 w 622"/>
                  <a:gd name="T37" fmla="*/ 682 h 833"/>
                  <a:gd name="T38" fmla="*/ 600 w 622"/>
                  <a:gd name="T39" fmla="*/ 695 h 833"/>
                  <a:gd name="T40" fmla="*/ 587 w 622"/>
                  <a:gd name="T41" fmla="*/ 720 h 833"/>
                  <a:gd name="T42" fmla="*/ 573 w 622"/>
                  <a:gd name="T43" fmla="*/ 742 h 833"/>
                  <a:gd name="T44" fmla="*/ 555 w 622"/>
                  <a:gd name="T45" fmla="*/ 761 h 833"/>
                  <a:gd name="T46" fmla="*/ 536 w 622"/>
                  <a:gd name="T47" fmla="*/ 779 h 833"/>
                  <a:gd name="T48" fmla="*/ 515 w 622"/>
                  <a:gd name="T49" fmla="*/ 792 h 833"/>
                  <a:gd name="T50" fmla="*/ 470 w 622"/>
                  <a:gd name="T51" fmla="*/ 813 h 833"/>
                  <a:gd name="T52" fmla="*/ 447 w 622"/>
                  <a:gd name="T53" fmla="*/ 820 h 833"/>
                  <a:gd name="T54" fmla="*/ 392 w 622"/>
                  <a:gd name="T55" fmla="*/ 830 h 833"/>
                  <a:gd name="T56" fmla="*/ 338 w 622"/>
                  <a:gd name="T57" fmla="*/ 833 h 833"/>
                  <a:gd name="T58" fmla="*/ 0 w 622"/>
                  <a:gd name="T59" fmla="*/ 0 h 833"/>
                  <a:gd name="T60" fmla="*/ 558 w 622"/>
                  <a:gd name="T61" fmla="*/ 187 h 833"/>
                  <a:gd name="T62" fmla="*/ 187 w 622"/>
                  <a:gd name="T63" fmla="*/ 302 h 833"/>
                  <a:gd name="T64" fmla="*/ 338 w 622"/>
                  <a:gd name="T65" fmla="*/ 661 h 833"/>
                  <a:gd name="T66" fmla="*/ 349 w 622"/>
                  <a:gd name="T67" fmla="*/ 660 h 833"/>
                  <a:gd name="T68" fmla="*/ 368 w 622"/>
                  <a:gd name="T69" fmla="*/ 658 h 833"/>
                  <a:gd name="T70" fmla="*/ 384 w 622"/>
                  <a:gd name="T71" fmla="*/ 652 h 833"/>
                  <a:gd name="T72" fmla="*/ 397 w 622"/>
                  <a:gd name="T73" fmla="*/ 644 h 833"/>
                  <a:gd name="T74" fmla="*/ 408 w 622"/>
                  <a:gd name="T75" fmla="*/ 634 h 833"/>
                  <a:gd name="T76" fmla="*/ 416 w 622"/>
                  <a:gd name="T77" fmla="*/ 620 h 833"/>
                  <a:gd name="T78" fmla="*/ 422 w 622"/>
                  <a:gd name="T79" fmla="*/ 604 h 833"/>
                  <a:gd name="T80" fmla="*/ 424 w 622"/>
                  <a:gd name="T81" fmla="*/ 586 h 833"/>
                  <a:gd name="T82" fmla="*/ 425 w 622"/>
                  <a:gd name="T83" fmla="*/ 575 h 833"/>
                  <a:gd name="T84" fmla="*/ 423 w 622"/>
                  <a:gd name="T85" fmla="*/ 556 h 833"/>
                  <a:gd name="T86" fmla="*/ 419 w 622"/>
                  <a:gd name="T87" fmla="*/ 539 h 833"/>
                  <a:gd name="T88" fmla="*/ 413 w 622"/>
                  <a:gd name="T89" fmla="*/ 524 h 833"/>
                  <a:gd name="T90" fmla="*/ 403 w 622"/>
                  <a:gd name="T91" fmla="*/ 512 h 833"/>
                  <a:gd name="T92" fmla="*/ 391 w 622"/>
                  <a:gd name="T93" fmla="*/ 503 h 833"/>
                  <a:gd name="T94" fmla="*/ 376 w 622"/>
                  <a:gd name="T95" fmla="*/ 497 h 833"/>
                  <a:gd name="T96" fmla="*/ 358 w 622"/>
                  <a:gd name="T97" fmla="*/ 493 h 833"/>
                  <a:gd name="T98" fmla="*/ 338 w 622"/>
                  <a:gd name="T99" fmla="*/ 491 h 833"/>
                  <a:gd name="T100" fmla="*/ 187 w 622"/>
                  <a:gd name="T101" fmla="*/ 661 h 8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622" h="833">
                    <a:moveTo>
                      <a:pt x="187" y="302"/>
                    </a:moveTo>
                    <a:lnTo>
                      <a:pt x="339" y="302"/>
                    </a:lnTo>
                    <a:lnTo>
                      <a:pt x="339" y="302"/>
                    </a:lnTo>
                    <a:lnTo>
                      <a:pt x="366" y="303"/>
                    </a:lnTo>
                    <a:lnTo>
                      <a:pt x="393" y="305"/>
                    </a:lnTo>
                    <a:lnTo>
                      <a:pt x="419" y="309"/>
                    </a:lnTo>
                    <a:lnTo>
                      <a:pt x="447" y="315"/>
                    </a:lnTo>
                    <a:lnTo>
                      <a:pt x="447" y="315"/>
                    </a:lnTo>
                    <a:lnTo>
                      <a:pt x="471" y="323"/>
                    </a:lnTo>
                    <a:lnTo>
                      <a:pt x="493" y="332"/>
                    </a:lnTo>
                    <a:lnTo>
                      <a:pt x="515" y="345"/>
                    </a:lnTo>
                    <a:lnTo>
                      <a:pt x="536" y="358"/>
                    </a:lnTo>
                    <a:lnTo>
                      <a:pt x="536" y="358"/>
                    </a:lnTo>
                    <a:lnTo>
                      <a:pt x="546" y="366"/>
                    </a:lnTo>
                    <a:lnTo>
                      <a:pt x="555" y="374"/>
                    </a:lnTo>
                    <a:lnTo>
                      <a:pt x="564" y="383"/>
                    </a:lnTo>
                    <a:lnTo>
                      <a:pt x="573" y="393"/>
                    </a:lnTo>
                    <a:lnTo>
                      <a:pt x="580" y="404"/>
                    </a:lnTo>
                    <a:lnTo>
                      <a:pt x="587" y="415"/>
                    </a:lnTo>
                    <a:lnTo>
                      <a:pt x="594" y="428"/>
                    </a:lnTo>
                    <a:lnTo>
                      <a:pt x="600" y="440"/>
                    </a:lnTo>
                    <a:lnTo>
                      <a:pt x="600" y="440"/>
                    </a:lnTo>
                    <a:lnTo>
                      <a:pt x="605" y="454"/>
                    </a:lnTo>
                    <a:lnTo>
                      <a:pt x="609" y="468"/>
                    </a:lnTo>
                    <a:lnTo>
                      <a:pt x="613" y="484"/>
                    </a:lnTo>
                    <a:lnTo>
                      <a:pt x="616" y="500"/>
                    </a:lnTo>
                    <a:lnTo>
                      <a:pt x="619" y="516"/>
                    </a:lnTo>
                    <a:lnTo>
                      <a:pt x="620" y="532"/>
                    </a:lnTo>
                    <a:lnTo>
                      <a:pt x="621" y="550"/>
                    </a:lnTo>
                    <a:lnTo>
                      <a:pt x="622" y="568"/>
                    </a:lnTo>
                    <a:lnTo>
                      <a:pt x="622" y="568"/>
                    </a:lnTo>
                    <a:lnTo>
                      <a:pt x="621" y="586"/>
                    </a:lnTo>
                    <a:lnTo>
                      <a:pt x="620" y="603"/>
                    </a:lnTo>
                    <a:lnTo>
                      <a:pt x="619" y="620"/>
                    </a:lnTo>
                    <a:lnTo>
                      <a:pt x="616" y="637"/>
                    </a:lnTo>
                    <a:lnTo>
                      <a:pt x="613" y="653"/>
                    </a:lnTo>
                    <a:lnTo>
                      <a:pt x="609" y="668"/>
                    </a:lnTo>
                    <a:lnTo>
                      <a:pt x="605" y="682"/>
                    </a:lnTo>
                    <a:lnTo>
                      <a:pt x="600" y="695"/>
                    </a:lnTo>
                    <a:lnTo>
                      <a:pt x="600" y="695"/>
                    </a:lnTo>
                    <a:lnTo>
                      <a:pt x="594" y="708"/>
                    </a:lnTo>
                    <a:lnTo>
                      <a:pt x="587" y="720"/>
                    </a:lnTo>
                    <a:lnTo>
                      <a:pt x="580" y="732"/>
                    </a:lnTo>
                    <a:lnTo>
                      <a:pt x="573" y="742"/>
                    </a:lnTo>
                    <a:lnTo>
                      <a:pt x="564" y="752"/>
                    </a:lnTo>
                    <a:lnTo>
                      <a:pt x="555" y="761"/>
                    </a:lnTo>
                    <a:lnTo>
                      <a:pt x="546" y="771"/>
                    </a:lnTo>
                    <a:lnTo>
                      <a:pt x="536" y="779"/>
                    </a:lnTo>
                    <a:lnTo>
                      <a:pt x="536" y="779"/>
                    </a:lnTo>
                    <a:lnTo>
                      <a:pt x="515" y="792"/>
                    </a:lnTo>
                    <a:lnTo>
                      <a:pt x="493" y="804"/>
                    </a:lnTo>
                    <a:lnTo>
                      <a:pt x="470" y="813"/>
                    </a:lnTo>
                    <a:lnTo>
                      <a:pt x="447" y="820"/>
                    </a:lnTo>
                    <a:lnTo>
                      <a:pt x="447" y="820"/>
                    </a:lnTo>
                    <a:lnTo>
                      <a:pt x="419" y="826"/>
                    </a:lnTo>
                    <a:lnTo>
                      <a:pt x="392" y="830"/>
                    </a:lnTo>
                    <a:lnTo>
                      <a:pt x="365" y="833"/>
                    </a:lnTo>
                    <a:lnTo>
                      <a:pt x="338" y="833"/>
                    </a:lnTo>
                    <a:lnTo>
                      <a:pt x="0" y="833"/>
                    </a:lnTo>
                    <a:lnTo>
                      <a:pt x="0" y="0"/>
                    </a:lnTo>
                    <a:lnTo>
                      <a:pt x="558" y="0"/>
                    </a:lnTo>
                    <a:lnTo>
                      <a:pt x="558" y="187"/>
                    </a:lnTo>
                    <a:lnTo>
                      <a:pt x="187" y="187"/>
                    </a:lnTo>
                    <a:lnTo>
                      <a:pt x="187" y="302"/>
                    </a:lnTo>
                    <a:close/>
                    <a:moveTo>
                      <a:pt x="187" y="661"/>
                    </a:moveTo>
                    <a:lnTo>
                      <a:pt x="338" y="661"/>
                    </a:lnTo>
                    <a:lnTo>
                      <a:pt x="338" y="661"/>
                    </a:lnTo>
                    <a:lnTo>
                      <a:pt x="349" y="660"/>
                    </a:lnTo>
                    <a:lnTo>
                      <a:pt x="358" y="659"/>
                    </a:lnTo>
                    <a:lnTo>
                      <a:pt x="368" y="658"/>
                    </a:lnTo>
                    <a:lnTo>
                      <a:pt x="376" y="655"/>
                    </a:lnTo>
                    <a:lnTo>
                      <a:pt x="384" y="652"/>
                    </a:lnTo>
                    <a:lnTo>
                      <a:pt x="391" y="649"/>
                    </a:lnTo>
                    <a:lnTo>
                      <a:pt x="397" y="644"/>
                    </a:lnTo>
                    <a:lnTo>
                      <a:pt x="403" y="640"/>
                    </a:lnTo>
                    <a:lnTo>
                      <a:pt x="408" y="634"/>
                    </a:lnTo>
                    <a:lnTo>
                      <a:pt x="413" y="628"/>
                    </a:lnTo>
                    <a:lnTo>
                      <a:pt x="416" y="620"/>
                    </a:lnTo>
                    <a:lnTo>
                      <a:pt x="419" y="612"/>
                    </a:lnTo>
                    <a:lnTo>
                      <a:pt x="422" y="604"/>
                    </a:lnTo>
                    <a:lnTo>
                      <a:pt x="423" y="595"/>
                    </a:lnTo>
                    <a:lnTo>
                      <a:pt x="424" y="586"/>
                    </a:lnTo>
                    <a:lnTo>
                      <a:pt x="425" y="575"/>
                    </a:lnTo>
                    <a:lnTo>
                      <a:pt x="425" y="575"/>
                    </a:lnTo>
                    <a:lnTo>
                      <a:pt x="424" y="565"/>
                    </a:lnTo>
                    <a:lnTo>
                      <a:pt x="423" y="556"/>
                    </a:lnTo>
                    <a:lnTo>
                      <a:pt x="422" y="547"/>
                    </a:lnTo>
                    <a:lnTo>
                      <a:pt x="419" y="539"/>
                    </a:lnTo>
                    <a:lnTo>
                      <a:pt x="416" y="531"/>
                    </a:lnTo>
                    <a:lnTo>
                      <a:pt x="413" y="524"/>
                    </a:lnTo>
                    <a:lnTo>
                      <a:pt x="408" y="518"/>
                    </a:lnTo>
                    <a:lnTo>
                      <a:pt x="403" y="512"/>
                    </a:lnTo>
                    <a:lnTo>
                      <a:pt x="397" y="507"/>
                    </a:lnTo>
                    <a:lnTo>
                      <a:pt x="391" y="503"/>
                    </a:lnTo>
                    <a:lnTo>
                      <a:pt x="384" y="500"/>
                    </a:lnTo>
                    <a:lnTo>
                      <a:pt x="376" y="497"/>
                    </a:lnTo>
                    <a:lnTo>
                      <a:pt x="368" y="494"/>
                    </a:lnTo>
                    <a:lnTo>
                      <a:pt x="358" y="493"/>
                    </a:lnTo>
                    <a:lnTo>
                      <a:pt x="349" y="492"/>
                    </a:lnTo>
                    <a:lnTo>
                      <a:pt x="338" y="491"/>
                    </a:lnTo>
                    <a:lnTo>
                      <a:pt x="187" y="491"/>
                    </a:lnTo>
                    <a:lnTo>
                      <a:pt x="187" y="661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59139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5123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4D9BD1BD-3EE6-60CD-A82B-0954AB1FFEFA}"/>
              </a:ext>
            </a:extLst>
          </p:cNvPr>
          <p:cNvSpPr txBox="1"/>
          <p:nvPr userDrawn="1"/>
        </p:nvSpPr>
        <p:spPr>
          <a:xfrm>
            <a:off x="2706258" y="4866647"/>
            <a:ext cx="1393431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000" dirty="0">
                <a:solidFill>
                  <a:srgbClr val="958F91"/>
                </a:solidFill>
                <a:latin typeface="+mn-lt"/>
              </a:rPr>
              <a:t>Written by</a:t>
            </a:r>
          </a:p>
        </p:txBody>
      </p:sp>
      <p:sp>
        <p:nvSpPr>
          <p:cNvPr id="14" name="Text Placeholder 16">
            <a:extLst>
              <a:ext uri="{FF2B5EF4-FFF2-40B4-BE49-F238E27FC236}">
                <a16:creationId xmlns:a16="http://schemas.microsoft.com/office/drawing/2014/main" id="{77F589C7-387E-EE5B-08B7-BA9A555EAF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06258" y="5193556"/>
            <a:ext cx="4119033" cy="180000"/>
          </a:xfrm>
        </p:spPr>
        <p:txBody>
          <a:bodyPr/>
          <a:lstStyle>
            <a:lvl1pPr marL="0" indent="0">
              <a:buNone/>
              <a:defRPr sz="1200" b="0" i="0">
                <a:solidFill>
                  <a:srgbClr val="4AA851"/>
                </a:solidFill>
                <a:latin typeface="Montserrat Medium" pitchFamily="2" charset="77"/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5" name="Text Placeholder 16">
            <a:extLst>
              <a:ext uri="{FF2B5EF4-FFF2-40B4-BE49-F238E27FC236}">
                <a16:creationId xmlns:a16="http://schemas.microsoft.com/office/drawing/2014/main" id="{01272147-B0B6-EB58-AC56-C8372E8FBA3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706258" y="5493080"/>
            <a:ext cx="4119033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Job Title</a:t>
            </a:r>
            <a:endParaRPr lang="en-GB" dirty="0"/>
          </a:p>
        </p:txBody>
      </p:sp>
      <p:sp>
        <p:nvSpPr>
          <p:cNvPr id="16" name="Picture Placeholder 19">
            <a:extLst>
              <a:ext uri="{FF2B5EF4-FFF2-40B4-BE49-F238E27FC236}">
                <a16:creationId xmlns:a16="http://schemas.microsoft.com/office/drawing/2014/main" id="{0CCA63C4-64DE-B20E-0AFC-DE4D8820F5D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667743" y="4903509"/>
            <a:ext cx="808712" cy="816824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676">
                <a:solidFill>
                  <a:schemeClr val="bg1"/>
                </a:solidFill>
                <a:latin typeface="Montserrat Light" panose="00000400000000000000" pitchFamily="2" charset="-52"/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pic>
        <p:nvPicPr>
          <p:cNvPr id="17" name="Рисунок 12">
            <a:extLst>
              <a:ext uri="{FF2B5EF4-FFF2-40B4-BE49-F238E27FC236}">
                <a16:creationId xmlns:a16="http://schemas.microsoft.com/office/drawing/2014/main" id="{3FB0A3FD-2DB8-A816-6523-77C9B7F7785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3447555" y="4882257"/>
            <a:ext cx="164174" cy="151471"/>
          </a:xfrm>
          <a:prstGeom prst="rect">
            <a:avLst/>
          </a:prstGeom>
        </p:spPr>
      </p:pic>
      <p:pic>
        <p:nvPicPr>
          <p:cNvPr id="25" name="Рисунок 10">
            <a:extLst>
              <a:ext uri="{FF2B5EF4-FFF2-40B4-BE49-F238E27FC236}">
                <a16:creationId xmlns:a16="http://schemas.microsoft.com/office/drawing/2014/main" id="{5DB1760D-1120-62E3-B833-E24FAAACC8D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8208818" y="3175737"/>
            <a:ext cx="3993572" cy="3684558"/>
          </a:xfrm>
          <a:prstGeom prst="rect">
            <a:avLst/>
          </a:prstGeom>
        </p:spPr>
      </p:pic>
      <p:pic>
        <p:nvPicPr>
          <p:cNvPr id="26" name="Рисунок 9">
            <a:extLst>
              <a:ext uri="{FF2B5EF4-FFF2-40B4-BE49-F238E27FC236}">
                <a16:creationId xmlns:a16="http://schemas.microsoft.com/office/drawing/2014/main" id="{42F9C879-3768-16AD-B56F-38EF58B3FAD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rot="5400000" flipH="1">
            <a:off x="-2576074" y="2576071"/>
            <a:ext cx="6867440" cy="1715294"/>
          </a:xfrm>
          <a:prstGeom prst="rect">
            <a:avLst/>
          </a:prstGeom>
        </p:spPr>
      </p:pic>
      <p:sp>
        <p:nvSpPr>
          <p:cNvPr id="53" name="Title 1">
            <a:extLst>
              <a:ext uri="{FF2B5EF4-FFF2-40B4-BE49-F238E27FC236}">
                <a16:creationId xmlns:a16="http://schemas.microsoft.com/office/drawing/2014/main" id="{DAE5B8DC-F457-4E2F-8704-E5E21D511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667743" y="2155923"/>
            <a:ext cx="7448353" cy="1273077"/>
          </a:xfrm>
        </p:spPr>
        <p:txBody>
          <a:bodyPr/>
          <a:lstStyle>
            <a:lvl1pPr>
              <a:lnSpc>
                <a:spcPts val="4000"/>
              </a:lnSpc>
              <a:defRPr sz="3200" b="1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GB" dirty="0"/>
              <a:t>TITLE CAPS</a:t>
            </a:r>
            <a:br>
              <a:rPr lang="en-GB" dirty="0"/>
            </a:br>
            <a:r>
              <a:rPr lang="en-GB" dirty="0"/>
              <a:t>(MONTSERRAT 32 POINT)</a:t>
            </a:r>
          </a:p>
        </p:txBody>
      </p:sp>
      <p:sp>
        <p:nvSpPr>
          <p:cNvPr id="54" name="Text Placeholder 73">
            <a:extLst>
              <a:ext uri="{FF2B5EF4-FFF2-40B4-BE49-F238E27FC236}">
                <a16:creationId xmlns:a16="http://schemas.microsoft.com/office/drawing/2014/main" id="{7A0C8343-55B7-46EC-80F3-CAC054FDCD19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67743" y="3383279"/>
            <a:ext cx="5210175" cy="35964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Subtitle (Montserrat 20 point)</a:t>
            </a:r>
          </a:p>
        </p:txBody>
      </p:sp>
      <p:sp>
        <p:nvSpPr>
          <p:cNvPr id="55" name="Text Placeholder 77">
            <a:extLst>
              <a:ext uri="{FF2B5EF4-FFF2-40B4-BE49-F238E27FC236}">
                <a16:creationId xmlns:a16="http://schemas.microsoft.com/office/drawing/2014/main" id="{9DD41EF6-1518-4E43-BE7F-4617ACDB39A1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67743" y="3822733"/>
            <a:ext cx="5210175" cy="326348"/>
          </a:xfrm>
        </p:spPr>
        <p:txBody>
          <a:bodyPr/>
          <a:lstStyle>
            <a:lvl1pPr marL="0" indent="0">
              <a:buNone/>
              <a:defRPr sz="1600" b="0" i="0" u="none">
                <a:latin typeface="Montserrat Alternates SemiBold" panose="00000700000000000000" pitchFamily="50" charset="-52"/>
              </a:defRPr>
            </a:lvl1pPr>
          </a:lstStyle>
          <a:p>
            <a:pPr>
              <a:lnSpc>
                <a:spcPts val="2400"/>
              </a:lnSpc>
              <a:spcBef>
                <a:spcPts val="0"/>
              </a:spcBef>
              <a:spcAft>
                <a:spcPts val="600"/>
              </a:spcAft>
            </a:pPr>
            <a:r>
              <a:rPr lang="en-IN" b="1">
                <a:solidFill>
                  <a:schemeClr val="bg1"/>
                </a:solidFill>
                <a:latin typeface="Montserrat" pitchFamily="2" charset="77"/>
              </a:rPr>
              <a:t>XX Month 200X (Montserrat bold 16 point)</a:t>
            </a:r>
            <a:endParaRPr lang="en-IN" b="1" dirty="0">
              <a:solidFill>
                <a:schemeClr val="bg1"/>
              </a:solidFill>
              <a:latin typeface="Montserrat" pitchFamily="2" charset="77"/>
            </a:endParaRP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0AB7DFF3-C340-4DEC-A6B6-6E67D593DA44}"/>
              </a:ext>
            </a:extLst>
          </p:cNvPr>
          <p:cNvGrpSpPr/>
          <p:nvPr userDrawn="1"/>
        </p:nvGrpSpPr>
        <p:grpSpPr>
          <a:xfrm>
            <a:off x="10346853" y="658368"/>
            <a:ext cx="1319534" cy="970407"/>
            <a:chOff x="10332720" y="658368"/>
            <a:chExt cx="1319534" cy="970407"/>
          </a:xfrm>
        </p:grpSpPr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9FB7F806-1318-4702-B31B-F682C5896EDC}"/>
                </a:ext>
              </a:extLst>
            </p:cNvPr>
            <p:cNvGrpSpPr/>
            <p:nvPr userDrawn="1"/>
          </p:nvGrpSpPr>
          <p:grpSpPr>
            <a:xfrm>
              <a:off x="10344154" y="1376363"/>
              <a:ext cx="1308100" cy="252412"/>
              <a:chOff x="10344154" y="1376363"/>
              <a:chExt cx="1308100" cy="252412"/>
            </a:xfrm>
          </p:grpSpPr>
          <p:sp>
            <p:nvSpPr>
              <p:cNvPr id="49" name="Freeform 5">
                <a:extLst>
                  <a:ext uri="{FF2B5EF4-FFF2-40B4-BE49-F238E27FC236}">
                    <a16:creationId xmlns:a16="http://schemas.microsoft.com/office/drawing/2014/main" id="{F06B0BAB-3229-42CD-9696-56841457C02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344154" y="1379538"/>
                <a:ext cx="85725" cy="90487"/>
              </a:xfrm>
              <a:custGeom>
                <a:avLst/>
                <a:gdLst>
                  <a:gd name="T0" fmla="*/ 109 w 109"/>
                  <a:gd name="T1" fmla="*/ 0 h 115"/>
                  <a:gd name="T2" fmla="*/ 109 w 109"/>
                  <a:gd name="T3" fmla="*/ 115 h 115"/>
                  <a:gd name="T4" fmla="*/ 77 w 109"/>
                  <a:gd name="T5" fmla="*/ 115 h 115"/>
                  <a:gd name="T6" fmla="*/ 77 w 109"/>
                  <a:gd name="T7" fmla="*/ 69 h 115"/>
                  <a:gd name="T8" fmla="*/ 32 w 109"/>
                  <a:gd name="T9" fmla="*/ 69 h 115"/>
                  <a:gd name="T10" fmla="*/ 32 w 109"/>
                  <a:gd name="T11" fmla="*/ 115 h 115"/>
                  <a:gd name="T12" fmla="*/ 0 w 109"/>
                  <a:gd name="T13" fmla="*/ 115 h 115"/>
                  <a:gd name="T14" fmla="*/ 0 w 109"/>
                  <a:gd name="T15" fmla="*/ 0 h 115"/>
                  <a:gd name="T16" fmla="*/ 32 w 109"/>
                  <a:gd name="T17" fmla="*/ 0 h 115"/>
                  <a:gd name="T18" fmla="*/ 32 w 109"/>
                  <a:gd name="T19" fmla="*/ 43 h 115"/>
                  <a:gd name="T20" fmla="*/ 77 w 109"/>
                  <a:gd name="T21" fmla="*/ 43 h 115"/>
                  <a:gd name="T22" fmla="*/ 77 w 109"/>
                  <a:gd name="T23" fmla="*/ 0 h 115"/>
                  <a:gd name="T24" fmla="*/ 109 w 109"/>
                  <a:gd name="T25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9" h="115">
                    <a:moveTo>
                      <a:pt x="109" y="0"/>
                    </a:moveTo>
                    <a:lnTo>
                      <a:pt x="109" y="115"/>
                    </a:lnTo>
                    <a:lnTo>
                      <a:pt x="77" y="115"/>
                    </a:lnTo>
                    <a:lnTo>
                      <a:pt x="77" y="69"/>
                    </a:lnTo>
                    <a:lnTo>
                      <a:pt x="32" y="69"/>
                    </a:lnTo>
                    <a:lnTo>
                      <a:pt x="3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2" y="0"/>
                    </a:lnTo>
                    <a:lnTo>
                      <a:pt x="32" y="43"/>
                    </a:lnTo>
                    <a:lnTo>
                      <a:pt x="77" y="43"/>
                    </a:lnTo>
                    <a:lnTo>
                      <a:pt x="77" y="0"/>
                    </a:lnTo>
                    <a:lnTo>
                      <a:pt x="109" y="0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6">
                <a:extLst>
                  <a:ext uri="{FF2B5EF4-FFF2-40B4-BE49-F238E27FC236}">
                    <a16:creationId xmlns:a16="http://schemas.microsoft.com/office/drawing/2014/main" id="{1411A9D6-49C5-4436-AA09-2CC11BA4BD1E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447341" y="1377950"/>
                <a:ext cx="101600" cy="93662"/>
              </a:xfrm>
              <a:custGeom>
                <a:avLst/>
                <a:gdLst>
                  <a:gd name="T0" fmla="*/ 31 w 128"/>
                  <a:gd name="T1" fmla="*/ 112 h 119"/>
                  <a:gd name="T2" fmla="*/ 21 w 128"/>
                  <a:gd name="T3" fmla="*/ 105 h 119"/>
                  <a:gd name="T4" fmla="*/ 6 w 128"/>
                  <a:gd name="T5" fmla="*/ 87 h 119"/>
                  <a:gd name="T6" fmla="*/ 0 w 128"/>
                  <a:gd name="T7" fmla="*/ 65 h 119"/>
                  <a:gd name="T8" fmla="*/ 2 w 128"/>
                  <a:gd name="T9" fmla="*/ 43 h 119"/>
                  <a:gd name="T10" fmla="*/ 6 w 128"/>
                  <a:gd name="T11" fmla="*/ 32 h 119"/>
                  <a:gd name="T12" fmla="*/ 11 w 128"/>
                  <a:gd name="T13" fmla="*/ 24 h 119"/>
                  <a:gd name="T14" fmla="*/ 23 w 128"/>
                  <a:gd name="T15" fmla="*/ 12 h 119"/>
                  <a:gd name="T16" fmla="*/ 31 w 128"/>
                  <a:gd name="T17" fmla="*/ 7 h 119"/>
                  <a:gd name="T18" fmla="*/ 46 w 128"/>
                  <a:gd name="T19" fmla="*/ 2 h 119"/>
                  <a:gd name="T20" fmla="*/ 64 w 128"/>
                  <a:gd name="T21" fmla="*/ 0 h 119"/>
                  <a:gd name="T22" fmla="*/ 81 w 128"/>
                  <a:gd name="T23" fmla="*/ 2 h 119"/>
                  <a:gd name="T24" fmla="*/ 97 w 128"/>
                  <a:gd name="T25" fmla="*/ 7 h 119"/>
                  <a:gd name="T26" fmla="*/ 102 w 128"/>
                  <a:gd name="T27" fmla="*/ 10 h 119"/>
                  <a:gd name="T28" fmla="*/ 115 w 128"/>
                  <a:gd name="T29" fmla="*/ 22 h 119"/>
                  <a:gd name="T30" fmla="*/ 125 w 128"/>
                  <a:gd name="T31" fmla="*/ 42 h 119"/>
                  <a:gd name="T32" fmla="*/ 128 w 128"/>
                  <a:gd name="T33" fmla="*/ 64 h 119"/>
                  <a:gd name="T34" fmla="*/ 124 w 128"/>
                  <a:gd name="T35" fmla="*/ 81 h 119"/>
                  <a:gd name="T36" fmla="*/ 121 w 128"/>
                  <a:gd name="T37" fmla="*/ 86 h 119"/>
                  <a:gd name="T38" fmla="*/ 111 w 128"/>
                  <a:gd name="T39" fmla="*/ 100 h 119"/>
                  <a:gd name="T40" fmla="*/ 97 w 128"/>
                  <a:gd name="T41" fmla="*/ 112 h 119"/>
                  <a:gd name="T42" fmla="*/ 89 w 128"/>
                  <a:gd name="T43" fmla="*/ 115 h 119"/>
                  <a:gd name="T44" fmla="*/ 72 w 128"/>
                  <a:gd name="T45" fmla="*/ 119 h 119"/>
                  <a:gd name="T46" fmla="*/ 55 w 128"/>
                  <a:gd name="T47" fmla="*/ 119 h 119"/>
                  <a:gd name="T48" fmla="*/ 38 w 128"/>
                  <a:gd name="T49" fmla="*/ 115 h 119"/>
                  <a:gd name="T50" fmla="*/ 31 w 128"/>
                  <a:gd name="T51" fmla="*/ 112 h 119"/>
                  <a:gd name="T52" fmla="*/ 80 w 128"/>
                  <a:gd name="T53" fmla="*/ 87 h 119"/>
                  <a:gd name="T54" fmla="*/ 91 w 128"/>
                  <a:gd name="T55" fmla="*/ 76 h 119"/>
                  <a:gd name="T56" fmla="*/ 94 w 128"/>
                  <a:gd name="T57" fmla="*/ 68 h 119"/>
                  <a:gd name="T58" fmla="*/ 94 w 128"/>
                  <a:gd name="T59" fmla="*/ 50 h 119"/>
                  <a:gd name="T60" fmla="*/ 91 w 128"/>
                  <a:gd name="T61" fmla="*/ 42 h 119"/>
                  <a:gd name="T62" fmla="*/ 80 w 128"/>
                  <a:gd name="T63" fmla="*/ 30 h 119"/>
                  <a:gd name="T64" fmla="*/ 72 w 128"/>
                  <a:gd name="T65" fmla="*/ 27 h 119"/>
                  <a:gd name="T66" fmla="*/ 55 w 128"/>
                  <a:gd name="T67" fmla="*/ 27 h 119"/>
                  <a:gd name="T68" fmla="*/ 47 w 128"/>
                  <a:gd name="T69" fmla="*/ 30 h 119"/>
                  <a:gd name="T70" fmla="*/ 36 w 128"/>
                  <a:gd name="T71" fmla="*/ 42 h 119"/>
                  <a:gd name="T72" fmla="*/ 33 w 128"/>
                  <a:gd name="T73" fmla="*/ 50 h 119"/>
                  <a:gd name="T74" fmla="*/ 33 w 128"/>
                  <a:gd name="T75" fmla="*/ 68 h 119"/>
                  <a:gd name="T76" fmla="*/ 36 w 128"/>
                  <a:gd name="T77" fmla="*/ 76 h 119"/>
                  <a:gd name="T78" fmla="*/ 47 w 128"/>
                  <a:gd name="T79" fmla="*/ 87 h 119"/>
                  <a:gd name="T80" fmla="*/ 55 w 128"/>
                  <a:gd name="T81" fmla="*/ 90 h 119"/>
                  <a:gd name="T82" fmla="*/ 72 w 128"/>
                  <a:gd name="T83" fmla="*/ 90 h 119"/>
                  <a:gd name="T84" fmla="*/ 80 w 128"/>
                  <a:gd name="T85" fmla="*/ 87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28" h="119">
                    <a:moveTo>
                      <a:pt x="31" y="112"/>
                    </a:moveTo>
                    <a:lnTo>
                      <a:pt x="31" y="112"/>
                    </a:lnTo>
                    <a:lnTo>
                      <a:pt x="25" y="109"/>
                    </a:lnTo>
                    <a:lnTo>
                      <a:pt x="21" y="105"/>
                    </a:lnTo>
                    <a:lnTo>
                      <a:pt x="13" y="96"/>
                    </a:lnTo>
                    <a:lnTo>
                      <a:pt x="6" y="87"/>
                    </a:lnTo>
                    <a:lnTo>
                      <a:pt x="2" y="76"/>
                    </a:lnTo>
                    <a:lnTo>
                      <a:pt x="0" y="65"/>
                    </a:lnTo>
                    <a:lnTo>
                      <a:pt x="0" y="54"/>
                    </a:lnTo>
                    <a:lnTo>
                      <a:pt x="2" y="43"/>
                    </a:lnTo>
                    <a:lnTo>
                      <a:pt x="4" y="37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11" y="24"/>
                    </a:lnTo>
                    <a:lnTo>
                      <a:pt x="16" y="18"/>
                    </a:lnTo>
                    <a:lnTo>
                      <a:pt x="23" y="12"/>
                    </a:lnTo>
                    <a:lnTo>
                      <a:pt x="31" y="7"/>
                    </a:lnTo>
                    <a:lnTo>
                      <a:pt x="31" y="7"/>
                    </a:lnTo>
                    <a:lnTo>
                      <a:pt x="38" y="4"/>
                    </a:lnTo>
                    <a:lnTo>
                      <a:pt x="46" y="2"/>
                    </a:lnTo>
                    <a:lnTo>
                      <a:pt x="55" y="0"/>
                    </a:lnTo>
                    <a:lnTo>
                      <a:pt x="64" y="0"/>
                    </a:lnTo>
                    <a:lnTo>
                      <a:pt x="72" y="0"/>
                    </a:lnTo>
                    <a:lnTo>
                      <a:pt x="81" y="2"/>
                    </a:lnTo>
                    <a:lnTo>
                      <a:pt x="89" y="4"/>
                    </a:lnTo>
                    <a:lnTo>
                      <a:pt x="97" y="7"/>
                    </a:lnTo>
                    <a:lnTo>
                      <a:pt x="97" y="7"/>
                    </a:lnTo>
                    <a:lnTo>
                      <a:pt x="102" y="10"/>
                    </a:lnTo>
                    <a:lnTo>
                      <a:pt x="106" y="14"/>
                    </a:lnTo>
                    <a:lnTo>
                      <a:pt x="115" y="22"/>
                    </a:lnTo>
                    <a:lnTo>
                      <a:pt x="121" y="31"/>
                    </a:lnTo>
                    <a:lnTo>
                      <a:pt x="125" y="42"/>
                    </a:lnTo>
                    <a:lnTo>
                      <a:pt x="127" y="53"/>
                    </a:lnTo>
                    <a:lnTo>
                      <a:pt x="128" y="64"/>
                    </a:lnTo>
                    <a:lnTo>
                      <a:pt x="125" y="75"/>
                    </a:lnTo>
                    <a:lnTo>
                      <a:pt x="124" y="81"/>
                    </a:lnTo>
                    <a:lnTo>
                      <a:pt x="121" y="86"/>
                    </a:lnTo>
                    <a:lnTo>
                      <a:pt x="121" y="86"/>
                    </a:lnTo>
                    <a:lnTo>
                      <a:pt x="116" y="94"/>
                    </a:lnTo>
                    <a:lnTo>
                      <a:pt x="111" y="100"/>
                    </a:lnTo>
                    <a:lnTo>
                      <a:pt x="104" y="107"/>
                    </a:lnTo>
                    <a:lnTo>
                      <a:pt x="97" y="112"/>
                    </a:lnTo>
                    <a:lnTo>
                      <a:pt x="97" y="112"/>
                    </a:lnTo>
                    <a:lnTo>
                      <a:pt x="89" y="115"/>
                    </a:lnTo>
                    <a:lnTo>
                      <a:pt x="81" y="117"/>
                    </a:lnTo>
                    <a:lnTo>
                      <a:pt x="72" y="119"/>
                    </a:lnTo>
                    <a:lnTo>
                      <a:pt x="64" y="119"/>
                    </a:lnTo>
                    <a:lnTo>
                      <a:pt x="55" y="119"/>
                    </a:lnTo>
                    <a:lnTo>
                      <a:pt x="46" y="117"/>
                    </a:lnTo>
                    <a:lnTo>
                      <a:pt x="38" y="115"/>
                    </a:lnTo>
                    <a:lnTo>
                      <a:pt x="31" y="112"/>
                    </a:lnTo>
                    <a:lnTo>
                      <a:pt x="31" y="112"/>
                    </a:lnTo>
                    <a:close/>
                    <a:moveTo>
                      <a:pt x="80" y="87"/>
                    </a:moveTo>
                    <a:lnTo>
                      <a:pt x="80" y="87"/>
                    </a:lnTo>
                    <a:lnTo>
                      <a:pt x="86" y="82"/>
                    </a:lnTo>
                    <a:lnTo>
                      <a:pt x="91" y="76"/>
                    </a:lnTo>
                    <a:lnTo>
                      <a:pt x="91" y="76"/>
                    </a:lnTo>
                    <a:lnTo>
                      <a:pt x="94" y="68"/>
                    </a:lnTo>
                    <a:lnTo>
                      <a:pt x="95" y="59"/>
                    </a:lnTo>
                    <a:lnTo>
                      <a:pt x="94" y="50"/>
                    </a:lnTo>
                    <a:lnTo>
                      <a:pt x="91" y="42"/>
                    </a:lnTo>
                    <a:lnTo>
                      <a:pt x="91" y="42"/>
                    </a:lnTo>
                    <a:lnTo>
                      <a:pt x="86" y="35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72" y="27"/>
                    </a:lnTo>
                    <a:lnTo>
                      <a:pt x="64" y="26"/>
                    </a:lnTo>
                    <a:lnTo>
                      <a:pt x="55" y="27"/>
                    </a:lnTo>
                    <a:lnTo>
                      <a:pt x="47" y="30"/>
                    </a:lnTo>
                    <a:lnTo>
                      <a:pt x="47" y="30"/>
                    </a:lnTo>
                    <a:lnTo>
                      <a:pt x="41" y="35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3" y="50"/>
                    </a:lnTo>
                    <a:lnTo>
                      <a:pt x="32" y="59"/>
                    </a:lnTo>
                    <a:lnTo>
                      <a:pt x="33" y="68"/>
                    </a:lnTo>
                    <a:lnTo>
                      <a:pt x="36" y="76"/>
                    </a:lnTo>
                    <a:lnTo>
                      <a:pt x="36" y="76"/>
                    </a:lnTo>
                    <a:lnTo>
                      <a:pt x="41" y="82"/>
                    </a:lnTo>
                    <a:lnTo>
                      <a:pt x="47" y="87"/>
                    </a:lnTo>
                    <a:lnTo>
                      <a:pt x="47" y="87"/>
                    </a:lnTo>
                    <a:lnTo>
                      <a:pt x="55" y="90"/>
                    </a:lnTo>
                    <a:lnTo>
                      <a:pt x="64" y="91"/>
                    </a:lnTo>
                    <a:lnTo>
                      <a:pt x="72" y="90"/>
                    </a:lnTo>
                    <a:lnTo>
                      <a:pt x="80" y="87"/>
                    </a:lnTo>
                    <a:lnTo>
                      <a:pt x="80" y="87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7">
                <a:extLst>
                  <a:ext uri="{FF2B5EF4-FFF2-40B4-BE49-F238E27FC236}">
                    <a16:creationId xmlns:a16="http://schemas.microsoft.com/office/drawing/2014/main" id="{3916C133-BAA9-4FF9-AEE0-3BAA961C86C9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564816" y="1379538"/>
                <a:ext cx="84138" cy="90487"/>
              </a:xfrm>
              <a:custGeom>
                <a:avLst/>
                <a:gdLst>
                  <a:gd name="T0" fmla="*/ 99 w 105"/>
                  <a:gd name="T1" fmla="*/ 64 h 115"/>
                  <a:gd name="T2" fmla="*/ 103 w 105"/>
                  <a:gd name="T3" fmla="*/ 72 h 115"/>
                  <a:gd name="T4" fmla="*/ 105 w 105"/>
                  <a:gd name="T5" fmla="*/ 81 h 115"/>
                  <a:gd name="T6" fmla="*/ 104 w 105"/>
                  <a:gd name="T7" fmla="*/ 88 h 115"/>
                  <a:gd name="T8" fmla="*/ 98 w 105"/>
                  <a:gd name="T9" fmla="*/ 101 h 115"/>
                  <a:gd name="T10" fmla="*/ 93 w 105"/>
                  <a:gd name="T11" fmla="*/ 106 h 115"/>
                  <a:gd name="T12" fmla="*/ 77 w 105"/>
                  <a:gd name="T13" fmla="*/ 113 h 115"/>
                  <a:gd name="T14" fmla="*/ 59 w 105"/>
                  <a:gd name="T15" fmla="*/ 115 h 115"/>
                  <a:gd name="T16" fmla="*/ 0 w 105"/>
                  <a:gd name="T17" fmla="*/ 0 h 115"/>
                  <a:gd name="T18" fmla="*/ 56 w 105"/>
                  <a:gd name="T19" fmla="*/ 0 h 115"/>
                  <a:gd name="T20" fmla="*/ 73 w 105"/>
                  <a:gd name="T21" fmla="*/ 2 h 115"/>
                  <a:gd name="T22" fmla="*/ 88 w 105"/>
                  <a:gd name="T23" fmla="*/ 8 h 115"/>
                  <a:gd name="T24" fmla="*/ 93 w 105"/>
                  <a:gd name="T25" fmla="*/ 12 h 115"/>
                  <a:gd name="T26" fmla="*/ 99 w 105"/>
                  <a:gd name="T27" fmla="*/ 23 h 115"/>
                  <a:gd name="T28" fmla="*/ 99 w 105"/>
                  <a:gd name="T29" fmla="*/ 30 h 115"/>
                  <a:gd name="T30" fmla="*/ 95 w 105"/>
                  <a:gd name="T31" fmla="*/ 45 h 115"/>
                  <a:gd name="T32" fmla="*/ 90 w 105"/>
                  <a:gd name="T33" fmla="*/ 50 h 115"/>
                  <a:gd name="T34" fmla="*/ 84 w 105"/>
                  <a:gd name="T35" fmla="*/ 54 h 115"/>
                  <a:gd name="T36" fmla="*/ 92 w 105"/>
                  <a:gd name="T37" fmla="*/ 58 h 115"/>
                  <a:gd name="T38" fmla="*/ 99 w 105"/>
                  <a:gd name="T39" fmla="*/ 64 h 115"/>
                  <a:gd name="T40" fmla="*/ 32 w 105"/>
                  <a:gd name="T41" fmla="*/ 46 h 115"/>
                  <a:gd name="T42" fmla="*/ 53 w 105"/>
                  <a:gd name="T43" fmla="*/ 46 h 115"/>
                  <a:gd name="T44" fmla="*/ 63 w 105"/>
                  <a:gd name="T45" fmla="*/ 43 h 115"/>
                  <a:gd name="T46" fmla="*/ 67 w 105"/>
                  <a:gd name="T47" fmla="*/ 34 h 115"/>
                  <a:gd name="T48" fmla="*/ 66 w 105"/>
                  <a:gd name="T49" fmla="*/ 29 h 115"/>
                  <a:gd name="T50" fmla="*/ 59 w 105"/>
                  <a:gd name="T51" fmla="*/ 24 h 115"/>
                  <a:gd name="T52" fmla="*/ 32 w 105"/>
                  <a:gd name="T53" fmla="*/ 23 h 115"/>
                  <a:gd name="T54" fmla="*/ 72 w 105"/>
                  <a:gd name="T55" fmla="*/ 79 h 115"/>
                  <a:gd name="T56" fmla="*/ 71 w 105"/>
                  <a:gd name="T57" fmla="*/ 74 h 115"/>
                  <a:gd name="T58" fmla="*/ 64 w 105"/>
                  <a:gd name="T59" fmla="*/ 68 h 115"/>
                  <a:gd name="T60" fmla="*/ 32 w 105"/>
                  <a:gd name="T61" fmla="*/ 67 h 115"/>
                  <a:gd name="T62" fmla="*/ 58 w 105"/>
                  <a:gd name="T63" fmla="*/ 91 h 115"/>
                  <a:gd name="T64" fmla="*/ 64 w 105"/>
                  <a:gd name="T65" fmla="*/ 90 h 115"/>
                  <a:gd name="T66" fmla="*/ 71 w 105"/>
                  <a:gd name="T67" fmla="*/ 84 h 115"/>
                  <a:gd name="T68" fmla="*/ 72 w 105"/>
                  <a:gd name="T69" fmla="*/ 79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5" h="115">
                    <a:moveTo>
                      <a:pt x="99" y="64"/>
                    </a:moveTo>
                    <a:lnTo>
                      <a:pt x="99" y="64"/>
                    </a:lnTo>
                    <a:lnTo>
                      <a:pt x="102" y="68"/>
                    </a:lnTo>
                    <a:lnTo>
                      <a:pt x="103" y="72"/>
                    </a:lnTo>
                    <a:lnTo>
                      <a:pt x="104" y="77"/>
                    </a:lnTo>
                    <a:lnTo>
                      <a:pt x="105" y="81"/>
                    </a:lnTo>
                    <a:lnTo>
                      <a:pt x="105" y="81"/>
                    </a:lnTo>
                    <a:lnTo>
                      <a:pt x="104" y="88"/>
                    </a:lnTo>
                    <a:lnTo>
                      <a:pt x="102" y="95"/>
                    </a:lnTo>
                    <a:lnTo>
                      <a:pt x="98" y="101"/>
                    </a:lnTo>
                    <a:lnTo>
                      <a:pt x="93" y="106"/>
                    </a:lnTo>
                    <a:lnTo>
                      <a:pt x="93" y="106"/>
                    </a:lnTo>
                    <a:lnTo>
                      <a:pt x="85" y="110"/>
                    </a:lnTo>
                    <a:lnTo>
                      <a:pt x="77" y="113"/>
                    </a:lnTo>
                    <a:lnTo>
                      <a:pt x="68" y="115"/>
                    </a:lnTo>
                    <a:lnTo>
                      <a:pt x="59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5" y="0"/>
                    </a:lnTo>
                    <a:lnTo>
                      <a:pt x="73" y="2"/>
                    </a:lnTo>
                    <a:lnTo>
                      <a:pt x="81" y="4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93" y="12"/>
                    </a:lnTo>
                    <a:lnTo>
                      <a:pt x="97" y="17"/>
                    </a:lnTo>
                    <a:lnTo>
                      <a:pt x="99" y="23"/>
                    </a:lnTo>
                    <a:lnTo>
                      <a:pt x="99" y="30"/>
                    </a:lnTo>
                    <a:lnTo>
                      <a:pt x="99" y="30"/>
                    </a:lnTo>
                    <a:lnTo>
                      <a:pt x="98" y="37"/>
                    </a:lnTo>
                    <a:lnTo>
                      <a:pt x="95" y="45"/>
                    </a:lnTo>
                    <a:lnTo>
                      <a:pt x="95" y="45"/>
                    </a:lnTo>
                    <a:lnTo>
                      <a:pt x="90" y="50"/>
                    </a:lnTo>
                    <a:lnTo>
                      <a:pt x="84" y="54"/>
                    </a:lnTo>
                    <a:lnTo>
                      <a:pt x="84" y="54"/>
                    </a:lnTo>
                    <a:lnTo>
                      <a:pt x="88" y="56"/>
                    </a:lnTo>
                    <a:lnTo>
                      <a:pt x="92" y="58"/>
                    </a:lnTo>
                    <a:lnTo>
                      <a:pt x="96" y="61"/>
                    </a:lnTo>
                    <a:lnTo>
                      <a:pt x="99" y="64"/>
                    </a:lnTo>
                    <a:lnTo>
                      <a:pt x="99" y="64"/>
                    </a:lnTo>
                    <a:close/>
                    <a:moveTo>
                      <a:pt x="32" y="46"/>
                    </a:moveTo>
                    <a:lnTo>
                      <a:pt x="53" y="46"/>
                    </a:lnTo>
                    <a:lnTo>
                      <a:pt x="53" y="46"/>
                    </a:lnTo>
                    <a:lnTo>
                      <a:pt x="59" y="45"/>
                    </a:lnTo>
                    <a:lnTo>
                      <a:pt x="63" y="43"/>
                    </a:lnTo>
                    <a:lnTo>
                      <a:pt x="66" y="39"/>
                    </a:lnTo>
                    <a:lnTo>
                      <a:pt x="67" y="34"/>
                    </a:lnTo>
                    <a:lnTo>
                      <a:pt x="67" y="34"/>
                    </a:lnTo>
                    <a:lnTo>
                      <a:pt x="66" y="29"/>
                    </a:lnTo>
                    <a:lnTo>
                      <a:pt x="63" y="26"/>
                    </a:lnTo>
                    <a:lnTo>
                      <a:pt x="59" y="24"/>
                    </a:lnTo>
                    <a:lnTo>
                      <a:pt x="53" y="23"/>
                    </a:lnTo>
                    <a:lnTo>
                      <a:pt x="32" y="23"/>
                    </a:lnTo>
                    <a:lnTo>
                      <a:pt x="32" y="46"/>
                    </a:lnTo>
                    <a:close/>
                    <a:moveTo>
                      <a:pt x="72" y="79"/>
                    </a:moveTo>
                    <a:lnTo>
                      <a:pt x="72" y="79"/>
                    </a:lnTo>
                    <a:lnTo>
                      <a:pt x="71" y="74"/>
                    </a:lnTo>
                    <a:lnTo>
                      <a:pt x="69" y="70"/>
                    </a:lnTo>
                    <a:lnTo>
                      <a:pt x="64" y="68"/>
                    </a:lnTo>
                    <a:lnTo>
                      <a:pt x="58" y="67"/>
                    </a:lnTo>
                    <a:lnTo>
                      <a:pt x="32" y="67"/>
                    </a:lnTo>
                    <a:lnTo>
                      <a:pt x="32" y="91"/>
                    </a:lnTo>
                    <a:lnTo>
                      <a:pt x="58" y="91"/>
                    </a:lnTo>
                    <a:lnTo>
                      <a:pt x="58" y="91"/>
                    </a:lnTo>
                    <a:lnTo>
                      <a:pt x="64" y="90"/>
                    </a:lnTo>
                    <a:lnTo>
                      <a:pt x="69" y="88"/>
                    </a:lnTo>
                    <a:lnTo>
                      <a:pt x="71" y="84"/>
                    </a:lnTo>
                    <a:lnTo>
                      <a:pt x="72" y="79"/>
                    </a:lnTo>
                    <a:lnTo>
                      <a:pt x="72" y="79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8">
                <a:extLst>
                  <a:ext uri="{FF2B5EF4-FFF2-40B4-BE49-F238E27FC236}">
                    <a16:creationId xmlns:a16="http://schemas.microsoft.com/office/drawing/2014/main" id="{7003E4FF-8444-41E7-945F-5D3E4525083A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664829" y="1379538"/>
                <a:ext cx="115888" cy="90487"/>
              </a:xfrm>
              <a:custGeom>
                <a:avLst/>
                <a:gdLst>
                  <a:gd name="T0" fmla="*/ 92 w 147"/>
                  <a:gd name="T1" fmla="*/ 46 h 115"/>
                  <a:gd name="T2" fmla="*/ 92 w 147"/>
                  <a:gd name="T3" fmla="*/ 46 h 115"/>
                  <a:gd name="T4" fmla="*/ 97 w 147"/>
                  <a:gd name="T5" fmla="*/ 51 h 115"/>
                  <a:gd name="T6" fmla="*/ 101 w 147"/>
                  <a:gd name="T7" fmla="*/ 58 h 115"/>
                  <a:gd name="T8" fmla="*/ 103 w 147"/>
                  <a:gd name="T9" fmla="*/ 66 h 115"/>
                  <a:gd name="T10" fmla="*/ 103 w 147"/>
                  <a:gd name="T11" fmla="*/ 73 h 115"/>
                  <a:gd name="T12" fmla="*/ 103 w 147"/>
                  <a:gd name="T13" fmla="*/ 73 h 115"/>
                  <a:gd name="T14" fmla="*/ 103 w 147"/>
                  <a:gd name="T15" fmla="*/ 82 h 115"/>
                  <a:gd name="T16" fmla="*/ 100 w 147"/>
                  <a:gd name="T17" fmla="*/ 90 h 115"/>
                  <a:gd name="T18" fmla="*/ 96 w 147"/>
                  <a:gd name="T19" fmla="*/ 97 h 115"/>
                  <a:gd name="T20" fmla="*/ 90 w 147"/>
                  <a:gd name="T21" fmla="*/ 104 h 115"/>
                  <a:gd name="T22" fmla="*/ 90 w 147"/>
                  <a:gd name="T23" fmla="*/ 104 h 115"/>
                  <a:gd name="T24" fmla="*/ 82 w 147"/>
                  <a:gd name="T25" fmla="*/ 109 h 115"/>
                  <a:gd name="T26" fmla="*/ 74 w 147"/>
                  <a:gd name="T27" fmla="*/ 113 h 115"/>
                  <a:gd name="T28" fmla="*/ 65 w 147"/>
                  <a:gd name="T29" fmla="*/ 115 h 115"/>
                  <a:gd name="T30" fmla="*/ 55 w 147"/>
                  <a:gd name="T31" fmla="*/ 115 h 115"/>
                  <a:gd name="T32" fmla="*/ 0 w 147"/>
                  <a:gd name="T33" fmla="*/ 115 h 115"/>
                  <a:gd name="T34" fmla="*/ 0 w 147"/>
                  <a:gd name="T35" fmla="*/ 0 h 115"/>
                  <a:gd name="T36" fmla="*/ 32 w 147"/>
                  <a:gd name="T37" fmla="*/ 0 h 115"/>
                  <a:gd name="T38" fmla="*/ 32 w 147"/>
                  <a:gd name="T39" fmla="*/ 36 h 115"/>
                  <a:gd name="T40" fmla="*/ 59 w 147"/>
                  <a:gd name="T41" fmla="*/ 36 h 115"/>
                  <a:gd name="T42" fmla="*/ 59 w 147"/>
                  <a:gd name="T43" fmla="*/ 36 h 115"/>
                  <a:gd name="T44" fmla="*/ 68 w 147"/>
                  <a:gd name="T45" fmla="*/ 37 h 115"/>
                  <a:gd name="T46" fmla="*/ 76 w 147"/>
                  <a:gd name="T47" fmla="*/ 38 h 115"/>
                  <a:gd name="T48" fmla="*/ 84 w 147"/>
                  <a:gd name="T49" fmla="*/ 41 h 115"/>
                  <a:gd name="T50" fmla="*/ 92 w 147"/>
                  <a:gd name="T51" fmla="*/ 46 h 115"/>
                  <a:gd name="T52" fmla="*/ 92 w 147"/>
                  <a:gd name="T53" fmla="*/ 46 h 115"/>
                  <a:gd name="T54" fmla="*/ 66 w 147"/>
                  <a:gd name="T55" fmla="*/ 86 h 115"/>
                  <a:gd name="T56" fmla="*/ 66 w 147"/>
                  <a:gd name="T57" fmla="*/ 86 h 115"/>
                  <a:gd name="T58" fmla="*/ 68 w 147"/>
                  <a:gd name="T59" fmla="*/ 84 h 115"/>
                  <a:gd name="T60" fmla="*/ 70 w 147"/>
                  <a:gd name="T61" fmla="*/ 81 h 115"/>
                  <a:gd name="T62" fmla="*/ 71 w 147"/>
                  <a:gd name="T63" fmla="*/ 77 h 115"/>
                  <a:gd name="T64" fmla="*/ 71 w 147"/>
                  <a:gd name="T65" fmla="*/ 74 h 115"/>
                  <a:gd name="T66" fmla="*/ 71 w 147"/>
                  <a:gd name="T67" fmla="*/ 74 h 115"/>
                  <a:gd name="T68" fmla="*/ 71 w 147"/>
                  <a:gd name="T69" fmla="*/ 71 h 115"/>
                  <a:gd name="T70" fmla="*/ 70 w 147"/>
                  <a:gd name="T71" fmla="*/ 68 h 115"/>
                  <a:gd name="T72" fmla="*/ 68 w 147"/>
                  <a:gd name="T73" fmla="*/ 65 h 115"/>
                  <a:gd name="T74" fmla="*/ 67 w 147"/>
                  <a:gd name="T75" fmla="*/ 63 h 115"/>
                  <a:gd name="T76" fmla="*/ 64 w 147"/>
                  <a:gd name="T77" fmla="*/ 61 h 115"/>
                  <a:gd name="T78" fmla="*/ 61 w 147"/>
                  <a:gd name="T79" fmla="*/ 60 h 115"/>
                  <a:gd name="T80" fmla="*/ 53 w 147"/>
                  <a:gd name="T81" fmla="*/ 59 h 115"/>
                  <a:gd name="T82" fmla="*/ 32 w 147"/>
                  <a:gd name="T83" fmla="*/ 59 h 115"/>
                  <a:gd name="T84" fmla="*/ 32 w 147"/>
                  <a:gd name="T85" fmla="*/ 91 h 115"/>
                  <a:gd name="T86" fmla="*/ 53 w 147"/>
                  <a:gd name="T87" fmla="*/ 91 h 115"/>
                  <a:gd name="T88" fmla="*/ 53 w 147"/>
                  <a:gd name="T89" fmla="*/ 91 h 115"/>
                  <a:gd name="T90" fmla="*/ 57 w 147"/>
                  <a:gd name="T91" fmla="*/ 91 h 115"/>
                  <a:gd name="T92" fmla="*/ 60 w 147"/>
                  <a:gd name="T93" fmla="*/ 90 h 115"/>
                  <a:gd name="T94" fmla="*/ 63 w 147"/>
                  <a:gd name="T95" fmla="*/ 88 h 115"/>
                  <a:gd name="T96" fmla="*/ 66 w 147"/>
                  <a:gd name="T97" fmla="*/ 86 h 115"/>
                  <a:gd name="T98" fmla="*/ 66 w 147"/>
                  <a:gd name="T99" fmla="*/ 86 h 115"/>
                  <a:gd name="T100" fmla="*/ 116 w 147"/>
                  <a:gd name="T101" fmla="*/ 0 h 115"/>
                  <a:gd name="T102" fmla="*/ 147 w 147"/>
                  <a:gd name="T103" fmla="*/ 0 h 115"/>
                  <a:gd name="T104" fmla="*/ 147 w 147"/>
                  <a:gd name="T105" fmla="*/ 115 h 115"/>
                  <a:gd name="T106" fmla="*/ 116 w 147"/>
                  <a:gd name="T107" fmla="*/ 115 h 115"/>
                  <a:gd name="T108" fmla="*/ 116 w 147"/>
                  <a:gd name="T109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47" h="115">
                    <a:moveTo>
                      <a:pt x="92" y="46"/>
                    </a:moveTo>
                    <a:lnTo>
                      <a:pt x="92" y="46"/>
                    </a:lnTo>
                    <a:lnTo>
                      <a:pt x="97" y="51"/>
                    </a:lnTo>
                    <a:lnTo>
                      <a:pt x="101" y="58"/>
                    </a:lnTo>
                    <a:lnTo>
                      <a:pt x="103" y="66"/>
                    </a:lnTo>
                    <a:lnTo>
                      <a:pt x="103" y="73"/>
                    </a:lnTo>
                    <a:lnTo>
                      <a:pt x="103" y="73"/>
                    </a:lnTo>
                    <a:lnTo>
                      <a:pt x="103" y="82"/>
                    </a:lnTo>
                    <a:lnTo>
                      <a:pt x="100" y="90"/>
                    </a:lnTo>
                    <a:lnTo>
                      <a:pt x="96" y="97"/>
                    </a:lnTo>
                    <a:lnTo>
                      <a:pt x="90" y="104"/>
                    </a:lnTo>
                    <a:lnTo>
                      <a:pt x="90" y="104"/>
                    </a:lnTo>
                    <a:lnTo>
                      <a:pt x="82" y="109"/>
                    </a:lnTo>
                    <a:lnTo>
                      <a:pt x="74" y="113"/>
                    </a:lnTo>
                    <a:lnTo>
                      <a:pt x="65" y="115"/>
                    </a:lnTo>
                    <a:lnTo>
                      <a:pt x="55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2" y="0"/>
                    </a:lnTo>
                    <a:lnTo>
                      <a:pt x="32" y="36"/>
                    </a:lnTo>
                    <a:lnTo>
                      <a:pt x="59" y="36"/>
                    </a:lnTo>
                    <a:lnTo>
                      <a:pt x="59" y="36"/>
                    </a:lnTo>
                    <a:lnTo>
                      <a:pt x="68" y="37"/>
                    </a:lnTo>
                    <a:lnTo>
                      <a:pt x="76" y="38"/>
                    </a:lnTo>
                    <a:lnTo>
                      <a:pt x="84" y="41"/>
                    </a:lnTo>
                    <a:lnTo>
                      <a:pt x="92" y="46"/>
                    </a:lnTo>
                    <a:lnTo>
                      <a:pt x="92" y="46"/>
                    </a:lnTo>
                    <a:close/>
                    <a:moveTo>
                      <a:pt x="66" y="86"/>
                    </a:moveTo>
                    <a:lnTo>
                      <a:pt x="66" y="86"/>
                    </a:lnTo>
                    <a:lnTo>
                      <a:pt x="68" y="84"/>
                    </a:lnTo>
                    <a:lnTo>
                      <a:pt x="70" y="81"/>
                    </a:lnTo>
                    <a:lnTo>
                      <a:pt x="71" y="77"/>
                    </a:lnTo>
                    <a:lnTo>
                      <a:pt x="71" y="74"/>
                    </a:lnTo>
                    <a:lnTo>
                      <a:pt x="71" y="74"/>
                    </a:lnTo>
                    <a:lnTo>
                      <a:pt x="71" y="71"/>
                    </a:lnTo>
                    <a:lnTo>
                      <a:pt x="70" y="68"/>
                    </a:lnTo>
                    <a:lnTo>
                      <a:pt x="68" y="65"/>
                    </a:lnTo>
                    <a:lnTo>
                      <a:pt x="67" y="63"/>
                    </a:lnTo>
                    <a:lnTo>
                      <a:pt x="64" y="61"/>
                    </a:lnTo>
                    <a:lnTo>
                      <a:pt x="61" y="60"/>
                    </a:lnTo>
                    <a:lnTo>
                      <a:pt x="53" y="59"/>
                    </a:lnTo>
                    <a:lnTo>
                      <a:pt x="32" y="59"/>
                    </a:lnTo>
                    <a:lnTo>
                      <a:pt x="32" y="91"/>
                    </a:lnTo>
                    <a:lnTo>
                      <a:pt x="53" y="91"/>
                    </a:lnTo>
                    <a:lnTo>
                      <a:pt x="53" y="91"/>
                    </a:lnTo>
                    <a:lnTo>
                      <a:pt x="57" y="91"/>
                    </a:lnTo>
                    <a:lnTo>
                      <a:pt x="60" y="90"/>
                    </a:lnTo>
                    <a:lnTo>
                      <a:pt x="63" y="88"/>
                    </a:lnTo>
                    <a:lnTo>
                      <a:pt x="66" y="86"/>
                    </a:lnTo>
                    <a:lnTo>
                      <a:pt x="66" y="86"/>
                    </a:lnTo>
                    <a:close/>
                    <a:moveTo>
                      <a:pt x="116" y="0"/>
                    </a:moveTo>
                    <a:lnTo>
                      <a:pt x="147" y="0"/>
                    </a:lnTo>
                    <a:lnTo>
                      <a:pt x="147" y="115"/>
                    </a:lnTo>
                    <a:lnTo>
                      <a:pt x="116" y="115"/>
                    </a:lnTo>
                    <a:lnTo>
                      <a:pt x="116" y="0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9">
                <a:extLst>
                  <a:ext uri="{FF2B5EF4-FFF2-40B4-BE49-F238E27FC236}">
                    <a16:creationId xmlns:a16="http://schemas.microsoft.com/office/drawing/2014/main" id="{9A1B6CD0-3E41-4F38-85C1-61DAE5D358D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802941" y="1379538"/>
                <a:ext cx="74613" cy="90487"/>
              </a:xfrm>
              <a:custGeom>
                <a:avLst/>
                <a:gdLst>
                  <a:gd name="T0" fmla="*/ 92 w 92"/>
                  <a:gd name="T1" fmla="*/ 89 h 115"/>
                  <a:gd name="T2" fmla="*/ 92 w 92"/>
                  <a:gd name="T3" fmla="*/ 115 h 115"/>
                  <a:gd name="T4" fmla="*/ 0 w 92"/>
                  <a:gd name="T5" fmla="*/ 115 h 115"/>
                  <a:gd name="T6" fmla="*/ 0 w 92"/>
                  <a:gd name="T7" fmla="*/ 0 h 115"/>
                  <a:gd name="T8" fmla="*/ 90 w 92"/>
                  <a:gd name="T9" fmla="*/ 0 h 115"/>
                  <a:gd name="T10" fmla="*/ 90 w 92"/>
                  <a:gd name="T11" fmla="*/ 25 h 115"/>
                  <a:gd name="T12" fmla="*/ 32 w 92"/>
                  <a:gd name="T13" fmla="*/ 25 h 115"/>
                  <a:gd name="T14" fmla="*/ 32 w 92"/>
                  <a:gd name="T15" fmla="*/ 44 h 115"/>
                  <a:gd name="T16" fmla="*/ 83 w 92"/>
                  <a:gd name="T17" fmla="*/ 44 h 115"/>
                  <a:gd name="T18" fmla="*/ 83 w 92"/>
                  <a:gd name="T19" fmla="*/ 68 h 115"/>
                  <a:gd name="T20" fmla="*/ 32 w 92"/>
                  <a:gd name="T21" fmla="*/ 68 h 115"/>
                  <a:gd name="T22" fmla="*/ 32 w 92"/>
                  <a:gd name="T23" fmla="*/ 89 h 115"/>
                  <a:gd name="T24" fmla="*/ 92 w 92"/>
                  <a:gd name="T25" fmla="*/ 89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2" h="115">
                    <a:moveTo>
                      <a:pt x="92" y="89"/>
                    </a:moveTo>
                    <a:lnTo>
                      <a:pt x="9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25"/>
                    </a:lnTo>
                    <a:lnTo>
                      <a:pt x="32" y="25"/>
                    </a:lnTo>
                    <a:lnTo>
                      <a:pt x="32" y="44"/>
                    </a:lnTo>
                    <a:lnTo>
                      <a:pt x="83" y="44"/>
                    </a:lnTo>
                    <a:lnTo>
                      <a:pt x="83" y="68"/>
                    </a:lnTo>
                    <a:lnTo>
                      <a:pt x="32" y="68"/>
                    </a:lnTo>
                    <a:lnTo>
                      <a:pt x="32" y="89"/>
                    </a:lnTo>
                    <a:lnTo>
                      <a:pt x="92" y="89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10">
                <a:extLst>
                  <a:ext uri="{FF2B5EF4-FFF2-40B4-BE49-F238E27FC236}">
                    <a16:creationId xmlns:a16="http://schemas.microsoft.com/office/drawing/2014/main" id="{0F2B76F3-BD6B-4E99-BAE1-684D4AFB5C2E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934704" y="1379538"/>
                <a:ext cx="82550" cy="90487"/>
              </a:xfrm>
              <a:custGeom>
                <a:avLst/>
                <a:gdLst>
                  <a:gd name="T0" fmla="*/ 99 w 105"/>
                  <a:gd name="T1" fmla="*/ 64 h 115"/>
                  <a:gd name="T2" fmla="*/ 104 w 105"/>
                  <a:gd name="T3" fmla="*/ 72 h 115"/>
                  <a:gd name="T4" fmla="*/ 105 w 105"/>
                  <a:gd name="T5" fmla="*/ 81 h 115"/>
                  <a:gd name="T6" fmla="*/ 104 w 105"/>
                  <a:gd name="T7" fmla="*/ 88 h 115"/>
                  <a:gd name="T8" fmla="*/ 98 w 105"/>
                  <a:gd name="T9" fmla="*/ 101 h 115"/>
                  <a:gd name="T10" fmla="*/ 93 w 105"/>
                  <a:gd name="T11" fmla="*/ 106 h 115"/>
                  <a:gd name="T12" fmla="*/ 78 w 105"/>
                  <a:gd name="T13" fmla="*/ 113 h 115"/>
                  <a:gd name="T14" fmla="*/ 58 w 105"/>
                  <a:gd name="T15" fmla="*/ 115 h 115"/>
                  <a:gd name="T16" fmla="*/ 0 w 105"/>
                  <a:gd name="T17" fmla="*/ 0 h 115"/>
                  <a:gd name="T18" fmla="*/ 55 w 105"/>
                  <a:gd name="T19" fmla="*/ 0 h 115"/>
                  <a:gd name="T20" fmla="*/ 72 w 105"/>
                  <a:gd name="T21" fmla="*/ 2 h 115"/>
                  <a:gd name="T22" fmla="*/ 88 w 105"/>
                  <a:gd name="T23" fmla="*/ 8 h 115"/>
                  <a:gd name="T24" fmla="*/ 93 w 105"/>
                  <a:gd name="T25" fmla="*/ 12 h 115"/>
                  <a:gd name="T26" fmla="*/ 99 w 105"/>
                  <a:gd name="T27" fmla="*/ 23 h 115"/>
                  <a:gd name="T28" fmla="*/ 100 w 105"/>
                  <a:gd name="T29" fmla="*/ 30 h 115"/>
                  <a:gd name="T30" fmla="*/ 96 w 105"/>
                  <a:gd name="T31" fmla="*/ 45 h 115"/>
                  <a:gd name="T32" fmla="*/ 91 w 105"/>
                  <a:gd name="T33" fmla="*/ 50 h 115"/>
                  <a:gd name="T34" fmla="*/ 84 w 105"/>
                  <a:gd name="T35" fmla="*/ 54 h 115"/>
                  <a:gd name="T36" fmla="*/ 93 w 105"/>
                  <a:gd name="T37" fmla="*/ 58 h 115"/>
                  <a:gd name="T38" fmla="*/ 99 w 105"/>
                  <a:gd name="T39" fmla="*/ 64 h 115"/>
                  <a:gd name="T40" fmla="*/ 32 w 105"/>
                  <a:gd name="T41" fmla="*/ 46 h 115"/>
                  <a:gd name="T42" fmla="*/ 52 w 105"/>
                  <a:gd name="T43" fmla="*/ 46 h 115"/>
                  <a:gd name="T44" fmla="*/ 63 w 105"/>
                  <a:gd name="T45" fmla="*/ 43 h 115"/>
                  <a:gd name="T46" fmla="*/ 66 w 105"/>
                  <a:gd name="T47" fmla="*/ 34 h 115"/>
                  <a:gd name="T48" fmla="*/ 65 w 105"/>
                  <a:gd name="T49" fmla="*/ 29 h 115"/>
                  <a:gd name="T50" fmla="*/ 58 w 105"/>
                  <a:gd name="T51" fmla="*/ 24 h 115"/>
                  <a:gd name="T52" fmla="*/ 32 w 105"/>
                  <a:gd name="T53" fmla="*/ 23 h 115"/>
                  <a:gd name="T54" fmla="*/ 71 w 105"/>
                  <a:gd name="T55" fmla="*/ 79 h 115"/>
                  <a:gd name="T56" fmla="*/ 70 w 105"/>
                  <a:gd name="T57" fmla="*/ 74 h 115"/>
                  <a:gd name="T58" fmla="*/ 63 w 105"/>
                  <a:gd name="T59" fmla="*/ 68 h 115"/>
                  <a:gd name="T60" fmla="*/ 32 w 105"/>
                  <a:gd name="T61" fmla="*/ 67 h 115"/>
                  <a:gd name="T62" fmla="*/ 57 w 105"/>
                  <a:gd name="T63" fmla="*/ 91 h 115"/>
                  <a:gd name="T64" fmla="*/ 63 w 105"/>
                  <a:gd name="T65" fmla="*/ 90 h 115"/>
                  <a:gd name="T66" fmla="*/ 70 w 105"/>
                  <a:gd name="T67" fmla="*/ 84 h 115"/>
                  <a:gd name="T68" fmla="*/ 71 w 105"/>
                  <a:gd name="T69" fmla="*/ 79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5" h="115">
                    <a:moveTo>
                      <a:pt x="99" y="64"/>
                    </a:moveTo>
                    <a:lnTo>
                      <a:pt x="99" y="64"/>
                    </a:lnTo>
                    <a:lnTo>
                      <a:pt x="102" y="68"/>
                    </a:lnTo>
                    <a:lnTo>
                      <a:pt x="104" y="72"/>
                    </a:lnTo>
                    <a:lnTo>
                      <a:pt x="105" y="77"/>
                    </a:lnTo>
                    <a:lnTo>
                      <a:pt x="105" y="81"/>
                    </a:lnTo>
                    <a:lnTo>
                      <a:pt x="105" y="81"/>
                    </a:lnTo>
                    <a:lnTo>
                      <a:pt x="104" y="88"/>
                    </a:lnTo>
                    <a:lnTo>
                      <a:pt x="102" y="95"/>
                    </a:lnTo>
                    <a:lnTo>
                      <a:pt x="98" y="101"/>
                    </a:lnTo>
                    <a:lnTo>
                      <a:pt x="93" y="106"/>
                    </a:lnTo>
                    <a:lnTo>
                      <a:pt x="93" y="106"/>
                    </a:lnTo>
                    <a:lnTo>
                      <a:pt x="86" y="110"/>
                    </a:lnTo>
                    <a:lnTo>
                      <a:pt x="78" y="113"/>
                    </a:lnTo>
                    <a:lnTo>
                      <a:pt x="69" y="114"/>
                    </a:lnTo>
                    <a:lnTo>
                      <a:pt x="58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55" y="0"/>
                    </a:lnTo>
                    <a:lnTo>
                      <a:pt x="55" y="0"/>
                    </a:lnTo>
                    <a:lnTo>
                      <a:pt x="64" y="0"/>
                    </a:lnTo>
                    <a:lnTo>
                      <a:pt x="72" y="2"/>
                    </a:lnTo>
                    <a:lnTo>
                      <a:pt x="81" y="4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93" y="12"/>
                    </a:lnTo>
                    <a:lnTo>
                      <a:pt x="97" y="17"/>
                    </a:lnTo>
                    <a:lnTo>
                      <a:pt x="99" y="23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99" y="37"/>
                    </a:lnTo>
                    <a:lnTo>
                      <a:pt x="96" y="45"/>
                    </a:lnTo>
                    <a:lnTo>
                      <a:pt x="96" y="45"/>
                    </a:lnTo>
                    <a:lnTo>
                      <a:pt x="91" y="50"/>
                    </a:lnTo>
                    <a:lnTo>
                      <a:pt x="84" y="54"/>
                    </a:lnTo>
                    <a:lnTo>
                      <a:pt x="84" y="54"/>
                    </a:lnTo>
                    <a:lnTo>
                      <a:pt x="88" y="56"/>
                    </a:lnTo>
                    <a:lnTo>
                      <a:pt x="93" y="58"/>
                    </a:lnTo>
                    <a:lnTo>
                      <a:pt x="96" y="61"/>
                    </a:lnTo>
                    <a:lnTo>
                      <a:pt x="99" y="64"/>
                    </a:lnTo>
                    <a:lnTo>
                      <a:pt x="99" y="64"/>
                    </a:lnTo>
                    <a:close/>
                    <a:moveTo>
                      <a:pt x="32" y="46"/>
                    </a:moveTo>
                    <a:lnTo>
                      <a:pt x="52" y="46"/>
                    </a:lnTo>
                    <a:lnTo>
                      <a:pt x="52" y="46"/>
                    </a:lnTo>
                    <a:lnTo>
                      <a:pt x="58" y="45"/>
                    </a:lnTo>
                    <a:lnTo>
                      <a:pt x="63" y="43"/>
                    </a:lnTo>
                    <a:lnTo>
                      <a:pt x="65" y="39"/>
                    </a:lnTo>
                    <a:lnTo>
                      <a:pt x="66" y="34"/>
                    </a:lnTo>
                    <a:lnTo>
                      <a:pt x="66" y="34"/>
                    </a:lnTo>
                    <a:lnTo>
                      <a:pt x="65" y="29"/>
                    </a:lnTo>
                    <a:lnTo>
                      <a:pt x="63" y="26"/>
                    </a:lnTo>
                    <a:lnTo>
                      <a:pt x="58" y="24"/>
                    </a:lnTo>
                    <a:lnTo>
                      <a:pt x="52" y="23"/>
                    </a:lnTo>
                    <a:lnTo>
                      <a:pt x="32" y="23"/>
                    </a:lnTo>
                    <a:lnTo>
                      <a:pt x="32" y="46"/>
                    </a:lnTo>
                    <a:close/>
                    <a:moveTo>
                      <a:pt x="71" y="79"/>
                    </a:moveTo>
                    <a:lnTo>
                      <a:pt x="71" y="79"/>
                    </a:lnTo>
                    <a:lnTo>
                      <a:pt x="70" y="74"/>
                    </a:lnTo>
                    <a:lnTo>
                      <a:pt x="68" y="70"/>
                    </a:lnTo>
                    <a:lnTo>
                      <a:pt x="63" y="68"/>
                    </a:lnTo>
                    <a:lnTo>
                      <a:pt x="57" y="67"/>
                    </a:lnTo>
                    <a:lnTo>
                      <a:pt x="32" y="67"/>
                    </a:lnTo>
                    <a:lnTo>
                      <a:pt x="32" y="91"/>
                    </a:lnTo>
                    <a:lnTo>
                      <a:pt x="57" y="91"/>
                    </a:lnTo>
                    <a:lnTo>
                      <a:pt x="57" y="91"/>
                    </a:lnTo>
                    <a:lnTo>
                      <a:pt x="63" y="90"/>
                    </a:lnTo>
                    <a:lnTo>
                      <a:pt x="68" y="88"/>
                    </a:lnTo>
                    <a:lnTo>
                      <a:pt x="70" y="84"/>
                    </a:lnTo>
                    <a:lnTo>
                      <a:pt x="71" y="79"/>
                    </a:lnTo>
                    <a:lnTo>
                      <a:pt x="71" y="79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11">
                <a:extLst>
                  <a:ext uri="{FF2B5EF4-FFF2-40B4-BE49-F238E27FC236}">
                    <a16:creationId xmlns:a16="http://schemas.microsoft.com/office/drawing/2014/main" id="{7E5E1E36-C59F-4F36-AE79-192BBFB309ED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1033129" y="1379538"/>
                <a:ext cx="119063" cy="90487"/>
              </a:xfrm>
              <a:custGeom>
                <a:avLst/>
                <a:gdLst>
                  <a:gd name="T0" fmla="*/ 92 w 148"/>
                  <a:gd name="T1" fmla="*/ 46 h 115"/>
                  <a:gd name="T2" fmla="*/ 92 w 148"/>
                  <a:gd name="T3" fmla="*/ 46 h 115"/>
                  <a:gd name="T4" fmla="*/ 97 w 148"/>
                  <a:gd name="T5" fmla="*/ 51 h 115"/>
                  <a:gd name="T6" fmla="*/ 101 w 148"/>
                  <a:gd name="T7" fmla="*/ 58 h 115"/>
                  <a:gd name="T8" fmla="*/ 103 w 148"/>
                  <a:gd name="T9" fmla="*/ 66 h 115"/>
                  <a:gd name="T10" fmla="*/ 103 w 148"/>
                  <a:gd name="T11" fmla="*/ 73 h 115"/>
                  <a:gd name="T12" fmla="*/ 103 w 148"/>
                  <a:gd name="T13" fmla="*/ 73 h 115"/>
                  <a:gd name="T14" fmla="*/ 103 w 148"/>
                  <a:gd name="T15" fmla="*/ 82 h 115"/>
                  <a:gd name="T16" fmla="*/ 100 w 148"/>
                  <a:gd name="T17" fmla="*/ 90 h 115"/>
                  <a:gd name="T18" fmla="*/ 96 w 148"/>
                  <a:gd name="T19" fmla="*/ 97 h 115"/>
                  <a:gd name="T20" fmla="*/ 91 w 148"/>
                  <a:gd name="T21" fmla="*/ 104 h 115"/>
                  <a:gd name="T22" fmla="*/ 91 w 148"/>
                  <a:gd name="T23" fmla="*/ 104 h 115"/>
                  <a:gd name="T24" fmla="*/ 83 w 148"/>
                  <a:gd name="T25" fmla="*/ 109 h 115"/>
                  <a:gd name="T26" fmla="*/ 73 w 148"/>
                  <a:gd name="T27" fmla="*/ 113 h 115"/>
                  <a:gd name="T28" fmla="*/ 64 w 148"/>
                  <a:gd name="T29" fmla="*/ 115 h 115"/>
                  <a:gd name="T30" fmla="*/ 54 w 148"/>
                  <a:gd name="T31" fmla="*/ 115 h 115"/>
                  <a:gd name="T32" fmla="*/ 0 w 148"/>
                  <a:gd name="T33" fmla="*/ 115 h 115"/>
                  <a:gd name="T34" fmla="*/ 0 w 148"/>
                  <a:gd name="T35" fmla="*/ 0 h 115"/>
                  <a:gd name="T36" fmla="*/ 32 w 148"/>
                  <a:gd name="T37" fmla="*/ 0 h 115"/>
                  <a:gd name="T38" fmla="*/ 32 w 148"/>
                  <a:gd name="T39" fmla="*/ 36 h 115"/>
                  <a:gd name="T40" fmla="*/ 59 w 148"/>
                  <a:gd name="T41" fmla="*/ 36 h 115"/>
                  <a:gd name="T42" fmla="*/ 59 w 148"/>
                  <a:gd name="T43" fmla="*/ 36 h 115"/>
                  <a:gd name="T44" fmla="*/ 67 w 148"/>
                  <a:gd name="T45" fmla="*/ 37 h 115"/>
                  <a:gd name="T46" fmla="*/ 76 w 148"/>
                  <a:gd name="T47" fmla="*/ 38 h 115"/>
                  <a:gd name="T48" fmla="*/ 85 w 148"/>
                  <a:gd name="T49" fmla="*/ 41 h 115"/>
                  <a:gd name="T50" fmla="*/ 92 w 148"/>
                  <a:gd name="T51" fmla="*/ 46 h 115"/>
                  <a:gd name="T52" fmla="*/ 92 w 148"/>
                  <a:gd name="T53" fmla="*/ 46 h 115"/>
                  <a:gd name="T54" fmla="*/ 65 w 148"/>
                  <a:gd name="T55" fmla="*/ 86 h 115"/>
                  <a:gd name="T56" fmla="*/ 65 w 148"/>
                  <a:gd name="T57" fmla="*/ 86 h 115"/>
                  <a:gd name="T58" fmla="*/ 67 w 148"/>
                  <a:gd name="T59" fmla="*/ 84 h 115"/>
                  <a:gd name="T60" fmla="*/ 69 w 148"/>
                  <a:gd name="T61" fmla="*/ 81 h 115"/>
                  <a:gd name="T62" fmla="*/ 70 w 148"/>
                  <a:gd name="T63" fmla="*/ 77 h 115"/>
                  <a:gd name="T64" fmla="*/ 70 w 148"/>
                  <a:gd name="T65" fmla="*/ 74 h 115"/>
                  <a:gd name="T66" fmla="*/ 70 w 148"/>
                  <a:gd name="T67" fmla="*/ 74 h 115"/>
                  <a:gd name="T68" fmla="*/ 70 w 148"/>
                  <a:gd name="T69" fmla="*/ 71 h 115"/>
                  <a:gd name="T70" fmla="*/ 69 w 148"/>
                  <a:gd name="T71" fmla="*/ 68 h 115"/>
                  <a:gd name="T72" fmla="*/ 68 w 148"/>
                  <a:gd name="T73" fmla="*/ 65 h 115"/>
                  <a:gd name="T74" fmla="*/ 66 w 148"/>
                  <a:gd name="T75" fmla="*/ 63 h 115"/>
                  <a:gd name="T76" fmla="*/ 63 w 148"/>
                  <a:gd name="T77" fmla="*/ 61 h 115"/>
                  <a:gd name="T78" fmla="*/ 60 w 148"/>
                  <a:gd name="T79" fmla="*/ 60 h 115"/>
                  <a:gd name="T80" fmla="*/ 52 w 148"/>
                  <a:gd name="T81" fmla="*/ 59 h 115"/>
                  <a:gd name="T82" fmla="*/ 33 w 148"/>
                  <a:gd name="T83" fmla="*/ 59 h 115"/>
                  <a:gd name="T84" fmla="*/ 33 w 148"/>
                  <a:gd name="T85" fmla="*/ 91 h 115"/>
                  <a:gd name="T86" fmla="*/ 52 w 148"/>
                  <a:gd name="T87" fmla="*/ 91 h 115"/>
                  <a:gd name="T88" fmla="*/ 52 w 148"/>
                  <a:gd name="T89" fmla="*/ 91 h 115"/>
                  <a:gd name="T90" fmla="*/ 56 w 148"/>
                  <a:gd name="T91" fmla="*/ 91 h 115"/>
                  <a:gd name="T92" fmla="*/ 59 w 148"/>
                  <a:gd name="T93" fmla="*/ 90 h 115"/>
                  <a:gd name="T94" fmla="*/ 62 w 148"/>
                  <a:gd name="T95" fmla="*/ 88 h 115"/>
                  <a:gd name="T96" fmla="*/ 65 w 148"/>
                  <a:gd name="T97" fmla="*/ 86 h 115"/>
                  <a:gd name="T98" fmla="*/ 65 w 148"/>
                  <a:gd name="T99" fmla="*/ 86 h 115"/>
                  <a:gd name="T100" fmla="*/ 116 w 148"/>
                  <a:gd name="T101" fmla="*/ 0 h 115"/>
                  <a:gd name="T102" fmla="*/ 148 w 148"/>
                  <a:gd name="T103" fmla="*/ 0 h 115"/>
                  <a:gd name="T104" fmla="*/ 148 w 148"/>
                  <a:gd name="T105" fmla="*/ 115 h 115"/>
                  <a:gd name="T106" fmla="*/ 116 w 148"/>
                  <a:gd name="T107" fmla="*/ 115 h 115"/>
                  <a:gd name="T108" fmla="*/ 116 w 148"/>
                  <a:gd name="T109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48" h="115">
                    <a:moveTo>
                      <a:pt x="92" y="46"/>
                    </a:moveTo>
                    <a:lnTo>
                      <a:pt x="92" y="46"/>
                    </a:lnTo>
                    <a:lnTo>
                      <a:pt x="97" y="51"/>
                    </a:lnTo>
                    <a:lnTo>
                      <a:pt x="101" y="58"/>
                    </a:lnTo>
                    <a:lnTo>
                      <a:pt x="103" y="66"/>
                    </a:lnTo>
                    <a:lnTo>
                      <a:pt x="103" y="73"/>
                    </a:lnTo>
                    <a:lnTo>
                      <a:pt x="103" y="73"/>
                    </a:lnTo>
                    <a:lnTo>
                      <a:pt x="103" y="82"/>
                    </a:lnTo>
                    <a:lnTo>
                      <a:pt x="100" y="90"/>
                    </a:lnTo>
                    <a:lnTo>
                      <a:pt x="96" y="97"/>
                    </a:lnTo>
                    <a:lnTo>
                      <a:pt x="91" y="104"/>
                    </a:lnTo>
                    <a:lnTo>
                      <a:pt x="91" y="104"/>
                    </a:lnTo>
                    <a:lnTo>
                      <a:pt x="83" y="109"/>
                    </a:lnTo>
                    <a:lnTo>
                      <a:pt x="73" y="113"/>
                    </a:lnTo>
                    <a:lnTo>
                      <a:pt x="64" y="115"/>
                    </a:lnTo>
                    <a:lnTo>
                      <a:pt x="54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2" y="0"/>
                    </a:lnTo>
                    <a:lnTo>
                      <a:pt x="32" y="36"/>
                    </a:lnTo>
                    <a:lnTo>
                      <a:pt x="59" y="36"/>
                    </a:lnTo>
                    <a:lnTo>
                      <a:pt x="59" y="36"/>
                    </a:lnTo>
                    <a:lnTo>
                      <a:pt x="67" y="37"/>
                    </a:lnTo>
                    <a:lnTo>
                      <a:pt x="76" y="38"/>
                    </a:lnTo>
                    <a:lnTo>
                      <a:pt x="85" y="41"/>
                    </a:lnTo>
                    <a:lnTo>
                      <a:pt x="92" y="46"/>
                    </a:lnTo>
                    <a:lnTo>
                      <a:pt x="92" y="46"/>
                    </a:lnTo>
                    <a:close/>
                    <a:moveTo>
                      <a:pt x="65" y="86"/>
                    </a:moveTo>
                    <a:lnTo>
                      <a:pt x="65" y="86"/>
                    </a:lnTo>
                    <a:lnTo>
                      <a:pt x="67" y="84"/>
                    </a:lnTo>
                    <a:lnTo>
                      <a:pt x="69" y="81"/>
                    </a:lnTo>
                    <a:lnTo>
                      <a:pt x="70" y="77"/>
                    </a:lnTo>
                    <a:lnTo>
                      <a:pt x="70" y="74"/>
                    </a:lnTo>
                    <a:lnTo>
                      <a:pt x="70" y="74"/>
                    </a:lnTo>
                    <a:lnTo>
                      <a:pt x="70" y="71"/>
                    </a:lnTo>
                    <a:lnTo>
                      <a:pt x="69" y="68"/>
                    </a:lnTo>
                    <a:lnTo>
                      <a:pt x="68" y="65"/>
                    </a:lnTo>
                    <a:lnTo>
                      <a:pt x="66" y="63"/>
                    </a:lnTo>
                    <a:lnTo>
                      <a:pt x="63" y="61"/>
                    </a:lnTo>
                    <a:lnTo>
                      <a:pt x="60" y="60"/>
                    </a:lnTo>
                    <a:lnTo>
                      <a:pt x="52" y="59"/>
                    </a:lnTo>
                    <a:lnTo>
                      <a:pt x="33" y="59"/>
                    </a:lnTo>
                    <a:lnTo>
                      <a:pt x="33" y="91"/>
                    </a:lnTo>
                    <a:lnTo>
                      <a:pt x="52" y="91"/>
                    </a:lnTo>
                    <a:lnTo>
                      <a:pt x="52" y="91"/>
                    </a:lnTo>
                    <a:lnTo>
                      <a:pt x="56" y="91"/>
                    </a:lnTo>
                    <a:lnTo>
                      <a:pt x="59" y="90"/>
                    </a:lnTo>
                    <a:lnTo>
                      <a:pt x="62" y="88"/>
                    </a:lnTo>
                    <a:lnTo>
                      <a:pt x="65" y="86"/>
                    </a:lnTo>
                    <a:lnTo>
                      <a:pt x="65" y="86"/>
                    </a:lnTo>
                    <a:close/>
                    <a:moveTo>
                      <a:pt x="116" y="0"/>
                    </a:moveTo>
                    <a:lnTo>
                      <a:pt x="148" y="0"/>
                    </a:lnTo>
                    <a:lnTo>
                      <a:pt x="148" y="115"/>
                    </a:lnTo>
                    <a:lnTo>
                      <a:pt x="116" y="115"/>
                    </a:lnTo>
                    <a:lnTo>
                      <a:pt x="116" y="0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12">
                <a:extLst>
                  <a:ext uri="{FF2B5EF4-FFF2-40B4-BE49-F238E27FC236}">
                    <a16:creationId xmlns:a16="http://schemas.microsoft.com/office/drawing/2014/main" id="{960F5458-3E5D-4239-9DE9-CA0901C1C78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166479" y="1376363"/>
                <a:ext cx="79375" cy="95250"/>
              </a:xfrm>
              <a:custGeom>
                <a:avLst/>
                <a:gdLst>
                  <a:gd name="T0" fmla="*/ 96 w 101"/>
                  <a:gd name="T1" fmla="*/ 68 h 120"/>
                  <a:gd name="T2" fmla="*/ 100 w 101"/>
                  <a:gd name="T3" fmla="*/ 76 h 120"/>
                  <a:gd name="T4" fmla="*/ 101 w 101"/>
                  <a:gd name="T5" fmla="*/ 85 h 120"/>
                  <a:gd name="T6" fmla="*/ 101 w 101"/>
                  <a:gd name="T7" fmla="*/ 90 h 120"/>
                  <a:gd name="T8" fmla="*/ 97 w 101"/>
                  <a:gd name="T9" fmla="*/ 99 h 120"/>
                  <a:gd name="T10" fmla="*/ 94 w 101"/>
                  <a:gd name="T11" fmla="*/ 104 h 120"/>
                  <a:gd name="T12" fmla="*/ 85 w 101"/>
                  <a:gd name="T13" fmla="*/ 111 h 120"/>
                  <a:gd name="T14" fmla="*/ 75 w 101"/>
                  <a:gd name="T15" fmla="*/ 116 h 120"/>
                  <a:gd name="T16" fmla="*/ 61 w 101"/>
                  <a:gd name="T17" fmla="*/ 119 h 120"/>
                  <a:gd name="T18" fmla="*/ 48 w 101"/>
                  <a:gd name="T19" fmla="*/ 120 h 120"/>
                  <a:gd name="T20" fmla="*/ 23 w 101"/>
                  <a:gd name="T21" fmla="*/ 118 h 120"/>
                  <a:gd name="T22" fmla="*/ 12 w 101"/>
                  <a:gd name="T23" fmla="*/ 114 h 120"/>
                  <a:gd name="T24" fmla="*/ 10 w 101"/>
                  <a:gd name="T25" fmla="*/ 86 h 120"/>
                  <a:gd name="T26" fmla="*/ 18 w 101"/>
                  <a:gd name="T27" fmla="*/ 89 h 120"/>
                  <a:gd name="T28" fmla="*/ 26 w 101"/>
                  <a:gd name="T29" fmla="*/ 92 h 120"/>
                  <a:gd name="T30" fmla="*/ 44 w 101"/>
                  <a:gd name="T31" fmla="*/ 94 h 120"/>
                  <a:gd name="T32" fmla="*/ 53 w 101"/>
                  <a:gd name="T33" fmla="*/ 93 h 120"/>
                  <a:gd name="T34" fmla="*/ 62 w 101"/>
                  <a:gd name="T35" fmla="*/ 90 h 120"/>
                  <a:gd name="T36" fmla="*/ 67 w 101"/>
                  <a:gd name="T37" fmla="*/ 86 h 120"/>
                  <a:gd name="T38" fmla="*/ 69 w 101"/>
                  <a:gd name="T39" fmla="*/ 80 h 120"/>
                  <a:gd name="T40" fmla="*/ 68 w 101"/>
                  <a:gd name="T41" fmla="*/ 78 h 120"/>
                  <a:gd name="T42" fmla="*/ 66 w 101"/>
                  <a:gd name="T43" fmla="*/ 74 h 120"/>
                  <a:gd name="T44" fmla="*/ 64 w 101"/>
                  <a:gd name="T45" fmla="*/ 73 h 120"/>
                  <a:gd name="T46" fmla="*/ 53 w 101"/>
                  <a:gd name="T47" fmla="*/ 70 h 120"/>
                  <a:gd name="T48" fmla="*/ 23 w 101"/>
                  <a:gd name="T49" fmla="*/ 47 h 120"/>
                  <a:gd name="T50" fmla="*/ 50 w 101"/>
                  <a:gd name="T51" fmla="*/ 47 h 120"/>
                  <a:gd name="T52" fmla="*/ 60 w 101"/>
                  <a:gd name="T53" fmla="*/ 44 h 120"/>
                  <a:gd name="T54" fmla="*/ 63 w 101"/>
                  <a:gd name="T55" fmla="*/ 41 h 120"/>
                  <a:gd name="T56" fmla="*/ 64 w 101"/>
                  <a:gd name="T57" fmla="*/ 37 h 120"/>
                  <a:gd name="T58" fmla="*/ 62 w 101"/>
                  <a:gd name="T59" fmla="*/ 32 h 120"/>
                  <a:gd name="T60" fmla="*/ 58 w 101"/>
                  <a:gd name="T61" fmla="*/ 29 h 120"/>
                  <a:gd name="T62" fmla="*/ 51 w 101"/>
                  <a:gd name="T63" fmla="*/ 26 h 120"/>
                  <a:gd name="T64" fmla="*/ 44 w 101"/>
                  <a:gd name="T65" fmla="*/ 26 h 120"/>
                  <a:gd name="T66" fmla="*/ 28 w 101"/>
                  <a:gd name="T67" fmla="*/ 28 h 120"/>
                  <a:gd name="T68" fmla="*/ 20 w 101"/>
                  <a:gd name="T69" fmla="*/ 30 h 120"/>
                  <a:gd name="T70" fmla="*/ 3 w 101"/>
                  <a:gd name="T71" fmla="*/ 9 h 120"/>
                  <a:gd name="T72" fmla="*/ 13 w 101"/>
                  <a:gd name="T73" fmla="*/ 5 h 120"/>
                  <a:gd name="T74" fmla="*/ 33 w 101"/>
                  <a:gd name="T75" fmla="*/ 1 h 120"/>
                  <a:gd name="T76" fmla="*/ 44 w 101"/>
                  <a:gd name="T77" fmla="*/ 0 h 120"/>
                  <a:gd name="T78" fmla="*/ 70 w 101"/>
                  <a:gd name="T79" fmla="*/ 4 h 120"/>
                  <a:gd name="T80" fmla="*/ 75 w 101"/>
                  <a:gd name="T81" fmla="*/ 6 h 120"/>
                  <a:gd name="T82" fmla="*/ 85 w 101"/>
                  <a:gd name="T83" fmla="*/ 12 h 120"/>
                  <a:gd name="T84" fmla="*/ 89 w 101"/>
                  <a:gd name="T85" fmla="*/ 16 h 120"/>
                  <a:gd name="T86" fmla="*/ 95 w 101"/>
                  <a:gd name="T87" fmla="*/ 24 h 120"/>
                  <a:gd name="T88" fmla="*/ 96 w 101"/>
                  <a:gd name="T89" fmla="*/ 34 h 120"/>
                  <a:gd name="T90" fmla="*/ 95 w 101"/>
                  <a:gd name="T91" fmla="*/ 41 h 120"/>
                  <a:gd name="T92" fmla="*/ 92 w 101"/>
                  <a:gd name="T93" fmla="*/ 48 h 120"/>
                  <a:gd name="T94" fmla="*/ 81 w 101"/>
                  <a:gd name="T95" fmla="*/ 58 h 120"/>
                  <a:gd name="T96" fmla="*/ 85 w 101"/>
                  <a:gd name="T97" fmla="*/ 59 h 120"/>
                  <a:gd name="T98" fmla="*/ 93 w 101"/>
                  <a:gd name="T99" fmla="*/ 65 h 120"/>
                  <a:gd name="T100" fmla="*/ 96 w 101"/>
                  <a:gd name="T101" fmla="*/ 68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01" h="120">
                    <a:moveTo>
                      <a:pt x="96" y="68"/>
                    </a:moveTo>
                    <a:lnTo>
                      <a:pt x="96" y="68"/>
                    </a:lnTo>
                    <a:lnTo>
                      <a:pt x="98" y="72"/>
                    </a:lnTo>
                    <a:lnTo>
                      <a:pt x="100" y="76"/>
                    </a:lnTo>
                    <a:lnTo>
                      <a:pt x="101" y="80"/>
                    </a:lnTo>
                    <a:lnTo>
                      <a:pt x="101" y="85"/>
                    </a:lnTo>
                    <a:lnTo>
                      <a:pt x="101" y="85"/>
                    </a:lnTo>
                    <a:lnTo>
                      <a:pt x="101" y="90"/>
                    </a:lnTo>
                    <a:lnTo>
                      <a:pt x="99" y="95"/>
                    </a:lnTo>
                    <a:lnTo>
                      <a:pt x="97" y="99"/>
                    </a:lnTo>
                    <a:lnTo>
                      <a:pt x="94" y="104"/>
                    </a:lnTo>
                    <a:lnTo>
                      <a:pt x="94" y="104"/>
                    </a:lnTo>
                    <a:lnTo>
                      <a:pt x="90" y="108"/>
                    </a:lnTo>
                    <a:lnTo>
                      <a:pt x="85" y="111"/>
                    </a:lnTo>
                    <a:lnTo>
                      <a:pt x="80" y="114"/>
                    </a:lnTo>
                    <a:lnTo>
                      <a:pt x="75" y="116"/>
                    </a:lnTo>
                    <a:lnTo>
                      <a:pt x="75" y="116"/>
                    </a:lnTo>
                    <a:lnTo>
                      <a:pt x="61" y="119"/>
                    </a:lnTo>
                    <a:lnTo>
                      <a:pt x="48" y="120"/>
                    </a:lnTo>
                    <a:lnTo>
                      <a:pt x="48" y="120"/>
                    </a:lnTo>
                    <a:lnTo>
                      <a:pt x="35" y="120"/>
                    </a:lnTo>
                    <a:lnTo>
                      <a:pt x="23" y="118"/>
                    </a:lnTo>
                    <a:lnTo>
                      <a:pt x="23" y="118"/>
                    </a:lnTo>
                    <a:lnTo>
                      <a:pt x="12" y="114"/>
                    </a:lnTo>
                    <a:lnTo>
                      <a:pt x="0" y="109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8" y="89"/>
                    </a:lnTo>
                    <a:lnTo>
                      <a:pt x="26" y="92"/>
                    </a:lnTo>
                    <a:lnTo>
                      <a:pt x="26" y="92"/>
                    </a:lnTo>
                    <a:lnTo>
                      <a:pt x="35" y="93"/>
                    </a:lnTo>
                    <a:lnTo>
                      <a:pt x="44" y="94"/>
                    </a:lnTo>
                    <a:lnTo>
                      <a:pt x="44" y="94"/>
                    </a:lnTo>
                    <a:lnTo>
                      <a:pt x="53" y="93"/>
                    </a:lnTo>
                    <a:lnTo>
                      <a:pt x="62" y="90"/>
                    </a:lnTo>
                    <a:lnTo>
                      <a:pt x="62" y="90"/>
                    </a:lnTo>
                    <a:lnTo>
                      <a:pt x="64" y="89"/>
                    </a:lnTo>
                    <a:lnTo>
                      <a:pt x="67" y="86"/>
                    </a:lnTo>
                    <a:lnTo>
                      <a:pt x="68" y="84"/>
                    </a:lnTo>
                    <a:lnTo>
                      <a:pt x="69" y="80"/>
                    </a:lnTo>
                    <a:lnTo>
                      <a:pt x="69" y="80"/>
                    </a:lnTo>
                    <a:lnTo>
                      <a:pt x="68" y="78"/>
                    </a:lnTo>
                    <a:lnTo>
                      <a:pt x="67" y="76"/>
                    </a:lnTo>
                    <a:lnTo>
                      <a:pt x="66" y="74"/>
                    </a:lnTo>
                    <a:lnTo>
                      <a:pt x="64" y="73"/>
                    </a:lnTo>
                    <a:lnTo>
                      <a:pt x="64" y="73"/>
                    </a:lnTo>
                    <a:lnTo>
                      <a:pt x="59" y="71"/>
                    </a:lnTo>
                    <a:lnTo>
                      <a:pt x="53" y="70"/>
                    </a:lnTo>
                    <a:lnTo>
                      <a:pt x="23" y="70"/>
                    </a:lnTo>
                    <a:lnTo>
                      <a:pt x="23" y="47"/>
                    </a:lnTo>
                    <a:lnTo>
                      <a:pt x="50" y="47"/>
                    </a:lnTo>
                    <a:lnTo>
                      <a:pt x="50" y="47"/>
                    </a:lnTo>
                    <a:lnTo>
                      <a:pt x="55" y="46"/>
                    </a:lnTo>
                    <a:lnTo>
                      <a:pt x="60" y="44"/>
                    </a:lnTo>
                    <a:lnTo>
                      <a:pt x="60" y="44"/>
                    </a:lnTo>
                    <a:lnTo>
                      <a:pt x="63" y="41"/>
                    </a:lnTo>
                    <a:lnTo>
                      <a:pt x="64" y="37"/>
                    </a:lnTo>
                    <a:lnTo>
                      <a:pt x="64" y="37"/>
                    </a:lnTo>
                    <a:lnTo>
                      <a:pt x="63" y="35"/>
                    </a:lnTo>
                    <a:lnTo>
                      <a:pt x="62" y="32"/>
                    </a:lnTo>
                    <a:lnTo>
                      <a:pt x="61" y="30"/>
                    </a:lnTo>
                    <a:lnTo>
                      <a:pt x="58" y="29"/>
                    </a:lnTo>
                    <a:lnTo>
                      <a:pt x="58" y="29"/>
                    </a:lnTo>
                    <a:lnTo>
                      <a:pt x="51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35" y="26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0" y="30"/>
                    </a:lnTo>
                    <a:lnTo>
                      <a:pt x="13" y="34"/>
                    </a:lnTo>
                    <a:lnTo>
                      <a:pt x="3" y="9"/>
                    </a:lnTo>
                    <a:lnTo>
                      <a:pt x="3" y="9"/>
                    </a:lnTo>
                    <a:lnTo>
                      <a:pt x="13" y="5"/>
                    </a:lnTo>
                    <a:lnTo>
                      <a:pt x="23" y="2"/>
                    </a:lnTo>
                    <a:lnTo>
                      <a:pt x="33" y="1"/>
                    </a:lnTo>
                    <a:lnTo>
                      <a:pt x="44" y="0"/>
                    </a:lnTo>
                    <a:lnTo>
                      <a:pt x="44" y="0"/>
                    </a:lnTo>
                    <a:lnTo>
                      <a:pt x="57" y="1"/>
                    </a:lnTo>
                    <a:lnTo>
                      <a:pt x="70" y="4"/>
                    </a:lnTo>
                    <a:lnTo>
                      <a:pt x="70" y="4"/>
                    </a:lnTo>
                    <a:lnTo>
                      <a:pt x="75" y="6"/>
                    </a:lnTo>
                    <a:lnTo>
                      <a:pt x="80" y="9"/>
                    </a:lnTo>
                    <a:lnTo>
                      <a:pt x="85" y="12"/>
                    </a:lnTo>
                    <a:lnTo>
                      <a:pt x="89" y="16"/>
                    </a:lnTo>
                    <a:lnTo>
                      <a:pt x="89" y="16"/>
                    </a:lnTo>
                    <a:lnTo>
                      <a:pt x="92" y="20"/>
                    </a:lnTo>
                    <a:lnTo>
                      <a:pt x="95" y="24"/>
                    </a:lnTo>
                    <a:lnTo>
                      <a:pt x="96" y="29"/>
                    </a:lnTo>
                    <a:lnTo>
                      <a:pt x="96" y="34"/>
                    </a:lnTo>
                    <a:lnTo>
                      <a:pt x="96" y="34"/>
                    </a:lnTo>
                    <a:lnTo>
                      <a:pt x="95" y="41"/>
                    </a:lnTo>
                    <a:lnTo>
                      <a:pt x="92" y="48"/>
                    </a:lnTo>
                    <a:lnTo>
                      <a:pt x="92" y="48"/>
                    </a:lnTo>
                    <a:lnTo>
                      <a:pt x="87" y="53"/>
                    </a:lnTo>
                    <a:lnTo>
                      <a:pt x="81" y="58"/>
                    </a:lnTo>
                    <a:lnTo>
                      <a:pt x="81" y="58"/>
                    </a:lnTo>
                    <a:lnTo>
                      <a:pt x="85" y="59"/>
                    </a:lnTo>
                    <a:lnTo>
                      <a:pt x="89" y="62"/>
                    </a:lnTo>
                    <a:lnTo>
                      <a:pt x="93" y="65"/>
                    </a:lnTo>
                    <a:lnTo>
                      <a:pt x="96" y="68"/>
                    </a:lnTo>
                    <a:lnTo>
                      <a:pt x="96" y="68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13">
                <a:extLst>
                  <a:ext uri="{FF2B5EF4-FFF2-40B4-BE49-F238E27FC236}">
                    <a16:creationId xmlns:a16="http://schemas.microsoft.com/office/drawing/2014/main" id="{44979B06-AD76-4F45-B03B-DB92FA5E618B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1256966" y="1377950"/>
                <a:ext cx="101600" cy="93662"/>
              </a:xfrm>
              <a:custGeom>
                <a:avLst/>
                <a:gdLst>
                  <a:gd name="T0" fmla="*/ 31 w 128"/>
                  <a:gd name="T1" fmla="*/ 112 h 119"/>
                  <a:gd name="T2" fmla="*/ 21 w 128"/>
                  <a:gd name="T3" fmla="*/ 105 h 119"/>
                  <a:gd name="T4" fmla="*/ 7 w 128"/>
                  <a:gd name="T5" fmla="*/ 87 h 119"/>
                  <a:gd name="T6" fmla="*/ 0 w 128"/>
                  <a:gd name="T7" fmla="*/ 65 h 119"/>
                  <a:gd name="T8" fmla="*/ 2 w 128"/>
                  <a:gd name="T9" fmla="*/ 43 h 119"/>
                  <a:gd name="T10" fmla="*/ 7 w 128"/>
                  <a:gd name="T11" fmla="*/ 32 h 119"/>
                  <a:gd name="T12" fmla="*/ 11 w 128"/>
                  <a:gd name="T13" fmla="*/ 24 h 119"/>
                  <a:gd name="T14" fmla="*/ 24 w 128"/>
                  <a:gd name="T15" fmla="*/ 12 h 119"/>
                  <a:gd name="T16" fmla="*/ 31 w 128"/>
                  <a:gd name="T17" fmla="*/ 7 h 119"/>
                  <a:gd name="T18" fmla="*/ 47 w 128"/>
                  <a:gd name="T19" fmla="*/ 2 h 119"/>
                  <a:gd name="T20" fmla="*/ 65 w 128"/>
                  <a:gd name="T21" fmla="*/ 0 h 119"/>
                  <a:gd name="T22" fmla="*/ 81 w 128"/>
                  <a:gd name="T23" fmla="*/ 2 h 119"/>
                  <a:gd name="T24" fmla="*/ 97 w 128"/>
                  <a:gd name="T25" fmla="*/ 7 h 119"/>
                  <a:gd name="T26" fmla="*/ 102 w 128"/>
                  <a:gd name="T27" fmla="*/ 10 h 119"/>
                  <a:gd name="T28" fmla="*/ 115 w 128"/>
                  <a:gd name="T29" fmla="*/ 22 h 119"/>
                  <a:gd name="T30" fmla="*/ 126 w 128"/>
                  <a:gd name="T31" fmla="*/ 42 h 119"/>
                  <a:gd name="T32" fmla="*/ 128 w 128"/>
                  <a:gd name="T33" fmla="*/ 64 h 119"/>
                  <a:gd name="T34" fmla="*/ 124 w 128"/>
                  <a:gd name="T35" fmla="*/ 81 h 119"/>
                  <a:gd name="T36" fmla="*/ 122 w 128"/>
                  <a:gd name="T37" fmla="*/ 86 h 119"/>
                  <a:gd name="T38" fmla="*/ 111 w 128"/>
                  <a:gd name="T39" fmla="*/ 100 h 119"/>
                  <a:gd name="T40" fmla="*/ 97 w 128"/>
                  <a:gd name="T41" fmla="*/ 112 h 119"/>
                  <a:gd name="T42" fmla="*/ 89 w 128"/>
                  <a:gd name="T43" fmla="*/ 115 h 119"/>
                  <a:gd name="T44" fmla="*/ 73 w 128"/>
                  <a:gd name="T45" fmla="*/ 119 h 119"/>
                  <a:gd name="T46" fmla="*/ 56 w 128"/>
                  <a:gd name="T47" fmla="*/ 119 h 119"/>
                  <a:gd name="T48" fmla="*/ 39 w 128"/>
                  <a:gd name="T49" fmla="*/ 115 h 119"/>
                  <a:gd name="T50" fmla="*/ 31 w 128"/>
                  <a:gd name="T51" fmla="*/ 112 h 119"/>
                  <a:gd name="T52" fmla="*/ 80 w 128"/>
                  <a:gd name="T53" fmla="*/ 87 h 119"/>
                  <a:gd name="T54" fmla="*/ 91 w 128"/>
                  <a:gd name="T55" fmla="*/ 76 h 119"/>
                  <a:gd name="T56" fmla="*/ 94 w 128"/>
                  <a:gd name="T57" fmla="*/ 68 h 119"/>
                  <a:gd name="T58" fmla="*/ 94 w 128"/>
                  <a:gd name="T59" fmla="*/ 50 h 119"/>
                  <a:gd name="T60" fmla="*/ 91 w 128"/>
                  <a:gd name="T61" fmla="*/ 42 h 119"/>
                  <a:gd name="T62" fmla="*/ 80 w 128"/>
                  <a:gd name="T63" fmla="*/ 30 h 119"/>
                  <a:gd name="T64" fmla="*/ 73 w 128"/>
                  <a:gd name="T65" fmla="*/ 27 h 119"/>
                  <a:gd name="T66" fmla="*/ 57 w 128"/>
                  <a:gd name="T67" fmla="*/ 27 h 119"/>
                  <a:gd name="T68" fmla="*/ 48 w 128"/>
                  <a:gd name="T69" fmla="*/ 30 h 119"/>
                  <a:gd name="T70" fmla="*/ 37 w 128"/>
                  <a:gd name="T71" fmla="*/ 42 h 119"/>
                  <a:gd name="T72" fmla="*/ 34 w 128"/>
                  <a:gd name="T73" fmla="*/ 50 h 119"/>
                  <a:gd name="T74" fmla="*/ 34 w 128"/>
                  <a:gd name="T75" fmla="*/ 68 h 119"/>
                  <a:gd name="T76" fmla="*/ 37 w 128"/>
                  <a:gd name="T77" fmla="*/ 76 h 119"/>
                  <a:gd name="T78" fmla="*/ 48 w 128"/>
                  <a:gd name="T79" fmla="*/ 87 h 119"/>
                  <a:gd name="T80" fmla="*/ 57 w 128"/>
                  <a:gd name="T81" fmla="*/ 90 h 119"/>
                  <a:gd name="T82" fmla="*/ 73 w 128"/>
                  <a:gd name="T83" fmla="*/ 90 h 119"/>
                  <a:gd name="T84" fmla="*/ 80 w 128"/>
                  <a:gd name="T85" fmla="*/ 87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28" h="119">
                    <a:moveTo>
                      <a:pt x="31" y="112"/>
                    </a:moveTo>
                    <a:lnTo>
                      <a:pt x="31" y="112"/>
                    </a:lnTo>
                    <a:lnTo>
                      <a:pt x="26" y="109"/>
                    </a:lnTo>
                    <a:lnTo>
                      <a:pt x="21" y="105"/>
                    </a:lnTo>
                    <a:lnTo>
                      <a:pt x="13" y="96"/>
                    </a:lnTo>
                    <a:lnTo>
                      <a:pt x="7" y="87"/>
                    </a:lnTo>
                    <a:lnTo>
                      <a:pt x="3" y="76"/>
                    </a:lnTo>
                    <a:lnTo>
                      <a:pt x="0" y="65"/>
                    </a:lnTo>
                    <a:lnTo>
                      <a:pt x="0" y="54"/>
                    </a:lnTo>
                    <a:lnTo>
                      <a:pt x="2" y="43"/>
                    </a:lnTo>
                    <a:lnTo>
                      <a:pt x="4" y="37"/>
                    </a:lnTo>
                    <a:lnTo>
                      <a:pt x="7" y="32"/>
                    </a:lnTo>
                    <a:lnTo>
                      <a:pt x="7" y="32"/>
                    </a:lnTo>
                    <a:lnTo>
                      <a:pt x="11" y="24"/>
                    </a:lnTo>
                    <a:lnTo>
                      <a:pt x="17" y="18"/>
                    </a:lnTo>
                    <a:lnTo>
                      <a:pt x="24" y="12"/>
                    </a:lnTo>
                    <a:lnTo>
                      <a:pt x="31" y="7"/>
                    </a:lnTo>
                    <a:lnTo>
                      <a:pt x="31" y="7"/>
                    </a:lnTo>
                    <a:lnTo>
                      <a:pt x="39" y="4"/>
                    </a:lnTo>
                    <a:lnTo>
                      <a:pt x="47" y="2"/>
                    </a:lnTo>
                    <a:lnTo>
                      <a:pt x="56" y="0"/>
                    </a:lnTo>
                    <a:lnTo>
                      <a:pt x="65" y="0"/>
                    </a:lnTo>
                    <a:lnTo>
                      <a:pt x="73" y="0"/>
                    </a:lnTo>
                    <a:lnTo>
                      <a:pt x="81" y="2"/>
                    </a:lnTo>
                    <a:lnTo>
                      <a:pt x="89" y="4"/>
                    </a:lnTo>
                    <a:lnTo>
                      <a:pt x="97" y="7"/>
                    </a:lnTo>
                    <a:lnTo>
                      <a:pt x="97" y="7"/>
                    </a:lnTo>
                    <a:lnTo>
                      <a:pt x="102" y="10"/>
                    </a:lnTo>
                    <a:lnTo>
                      <a:pt x="107" y="14"/>
                    </a:lnTo>
                    <a:lnTo>
                      <a:pt x="115" y="22"/>
                    </a:lnTo>
                    <a:lnTo>
                      <a:pt x="121" y="31"/>
                    </a:lnTo>
                    <a:lnTo>
                      <a:pt x="126" y="42"/>
                    </a:lnTo>
                    <a:lnTo>
                      <a:pt x="128" y="53"/>
                    </a:lnTo>
                    <a:lnTo>
                      <a:pt x="128" y="64"/>
                    </a:lnTo>
                    <a:lnTo>
                      <a:pt x="126" y="75"/>
                    </a:lnTo>
                    <a:lnTo>
                      <a:pt x="124" y="81"/>
                    </a:lnTo>
                    <a:lnTo>
                      <a:pt x="122" y="86"/>
                    </a:lnTo>
                    <a:lnTo>
                      <a:pt x="122" y="86"/>
                    </a:lnTo>
                    <a:lnTo>
                      <a:pt x="117" y="94"/>
                    </a:lnTo>
                    <a:lnTo>
                      <a:pt x="111" y="100"/>
                    </a:lnTo>
                    <a:lnTo>
                      <a:pt x="105" y="107"/>
                    </a:lnTo>
                    <a:lnTo>
                      <a:pt x="97" y="112"/>
                    </a:lnTo>
                    <a:lnTo>
                      <a:pt x="97" y="112"/>
                    </a:lnTo>
                    <a:lnTo>
                      <a:pt x="89" y="115"/>
                    </a:lnTo>
                    <a:lnTo>
                      <a:pt x="81" y="117"/>
                    </a:lnTo>
                    <a:lnTo>
                      <a:pt x="73" y="119"/>
                    </a:lnTo>
                    <a:lnTo>
                      <a:pt x="65" y="119"/>
                    </a:lnTo>
                    <a:lnTo>
                      <a:pt x="56" y="119"/>
                    </a:lnTo>
                    <a:lnTo>
                      <a:pt x="47" y="117"/>
                    </a:lnTo>
                    <a:lnTo>
                      <a:pt x="39" y="115"/>
                    </a:lnTo>
                    <a:lnTo>
                      <a:pt x="31" y="112"/>
                    </a:lnTo>
                    <a:lnTo>
                      <a:pt x="31" y="112"/>
                    </a:lnTo>
                    <a:close/>
                    <a:moveTo>
                      <a:pt x="80" y="87"/>
                    </a:moveTo>
                    <a:lnTo>
                      <a:pt x="80" y="87"/>
                    </a:lnTo>
                    <a:lnTo>
                      <a:pt x="87" y="82"/>
                    </a:lnTo>
                    <a:lnTo>
                      <a:pt x="91" y="76"/>
                    </a:lnTo>
                    <a:lnTo>
                      <a:pt x="91" y="76"/>
                    </a:lnTo>
                    <a:lnTo>
                      <a:pt x="94" y="68"/>
                    </a:lnTo>
                    <a:lnTo>
                      <a:pt x="96" y="59"/>
                    </a:lnTo>
                    <a:lnTo>
                      <a:pt x="94" y="50"/>
                    </a:lnTo>
                    <a:lnTo>
                      <a:pt x="91" y="42"/>
                    </a:lnTo>
                    <a:lnTo>
                      <a:pt x="91" y="42"/>
                    </a:lnTo>
                    <a:lnTo>
                      <a:pt x="87" y="35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73" y="27"/>
                    </a:lnTo>
                    <a:lnTo>
                      <a:pt x="65" y="26"/>
                    </a:lnTo>
                    <a:lnTo>
                      <a:pt x="57" y="27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2" y="35"/>
                    </a:lnTo>
                    <a:lnTo>
                      <a:pt x="37" y="42"/>
                    </a:lnTo>
                    <a:lnTo>
                      <a:pt x="37" y="42"/>
                    </a:lnTo>
                    <a:lnTo>
                      <a:pt x="34" y="50"/>
                    </a:lnTo>
                    <a:lnTo>
                      <a:pt x="33" y="59"/>
                    </a:lnTo>
                    <a:lnTo>
                      <a:pt x="34" y="68"/>
                    </a:lnTo>
                    <a:lnTo>
                      <a:pt x="37" y="76"/>
                    </a:lnTo>
                    <a:lnTo>
                      <a:pt x="37" y="76"/>
                    </a:lnTo>
                    <a:lnTo>
                      <a:pt x="42" y="82"/>
                    </a:lnTo>
                    <a:lnTo>
                      <a:pt x="48" y="87"/>
                    </a:lnTo>
                    <a:lnTo>
                      <a:pt x="48" y="87"/>
                    </a:lnTo>
                    <a:lnTo>
                      <a:pt x="57" y="90"/>
                    </a:lnTo>
                    <a:lnTo>
                      <a:pt x="65" y="91"/>
                    </a:lnTo>
                    <a:lnTo>
                      <a:pt x="73" y="90"/>
                    </a:lnTo>
                    <a:lnTo>
                      <a:pt x="80" y="87"/>
                    </a:lnTo>
                    <a:lnTo>
                      <a:pt x="80" y="87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14">
                <a:extLst>
                  <a:ext uri="{FF2B5EF4-FFF2-40B4-BE49-F238E27FC236}">
                    <a16:creationId xmlns:a16="http://schemas.microsoft.com/office/drawing/2014/main" id="{61DD43D9-B091-4865-A3B1-C02D31601684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1374441" y="1379538"/>
                <a:ext cx="82550" cy="90487"/>
              </a:xfrm>
              <a:custGeom>
                <a:avLst/>
                <a:gdLst>
                  <a:gd name="T0" fmla="*/ 99 w 104"/>
                  <a:gd name="T1" fmla="*/ 64 h 115"/>
                  <a:gd name="T2" fmla="*/ 103 w 104"/>
                  <a:gd name="T3" fmla="*/ 72 h 115"/>
                  <a:gd name="T4" fmla="*/ 104 w 104"/>
                  <a:gd name="T5" fmla="*/ 81 h 115"/>
                  <a:gd name="T6" fmla="*/ 104 w 104"/>
                  <a:gd name="T7" fmla="*/ 88 h 115"/>
                  <a:gd name="T8" fmla="*/ 98 w 104"/>
                  <a:gd name="T9" fmla="*/ 101 h 115"/>
                  <a:gd name="T10" fmla="*/ 92 w 104"/>
                  <a:gd name="T11" fmla="*/ 106 h 115"/>
                  <a:gd name="T12" fmla="*/ 78 w 104"/>
                  <a:gd name="T13" fmla="*/ 113 h 115"/>
                  <a:gd name="T14" fmla="*/ 59 w 104"/>
                  <a:gd name="T15" fmla="*/ 115 h 115"/>
                  <a:gd name="T16" fmla="*/ 0 w 104"/>
                  <a:gd name="T17" fmla="*/ 0 h 115"/>
                  <a:gd name="T18" fmla="*/ 56 w 104"/>
                  <a:gd name="T19" fmla="*/ 0 h 115"/>
                  <a:gd name="T20" fmla="*/ 72 w 104"/>
                  <a:gd name="T21" fmla="*/ 2 h 115"/>
                  <a:gd name="T22" fmla="*/ 88 w 104"/>
                  <a:gd name="T23" fmla="*/ 8 h 115"/>
                  <a:gd name="T24" fmla="*/ 93 w 104"/>
                  <a:gd name="T25" fmla="*/ 12 h 115"/>
                  <a:gd name="T26" fmla="*/ 99 w 104"/>
                  <a:gd name="T27" fmla="*/ 23 h 115"/>
                  <a:gd name="T28" fmla="*/ 99 w 104"/>
                  <a:gd name="T29" fmla="*/ 30 h 115"/>
                  <a:gd name="T30" fmla="*/ 95 w 104"/>
                  <a:gd name="T31" fmla="*/ 45 h 115"/>
                  <a:gd name="T32" fmla="*/ 90 w 104"/>
                  <a:gd name="T33" fmla="*/ 50 h 115"/>
                  <a:gd name="T34" fmla="*/ 84 w 104"/>
                  <a:gd name="T35" fmla="*/ 54 h 115"/>
                  <a:gd name="T36" fmla="*/ 92 w 104"/>
                  <a:gd name="T37" fmla="*/ 58 h 115"/>
                  <a:gd name="T38" fmla="*/ 99 w 104"/>
                  <a:gd name="T39" fmla="*/ 64 h 115"/>
                  <a:gd name="T40" fmla="*/ 31 w 104"/>
                  <a:gd name="T41" fmla="*/ 46 h 115"/>
                  <a:gd name="T42" fmla="*/ 53 w 104"/>
                  <a:gd name="T43" fmla="*/ 46 h 115"/>
                  <a:gd name="T44" fmla="*/ 63 w 104"/>
                  <a:gd name="T45" fmla="*/ 43 h 115"/>
                  <a:gd name="T46" fmla="*/ 67 w 104"/>
                  <a:gd name="T47" fmla="*/ 34 h 115"/>
                  <a:gd name="T48" fmla="*/ 66 w 104"/>
                  <a:gd name="T49" fmla="*/ 29 h 115"/>
                  <a:gd name="T50" fmla="*/ 59 w 104"/>
                  <a:gd name="T51" fmla="*/ 24 h 115"/>
                  <a:gd name="T52" fmla="*/ 31 w 104"/>
                  <a:gd name="T53" fmla="*/ 23 h 115"/>
                  <a:gd name="T54" fmla="*/ 72 w 104"/>
                  <a:gd name="T55" fmla="*/ 79 h 115"/>
                  <a:gd name="T56" fmla="*/ 71 w 104"/>
                  <a:gd name="T57" fmla="*/ 74 h 115"/>
                  <a:gd name="T58" fmla="*/ 64 w 104"/>
                  <a:gd name="T59" fmla="*/ 68 h 115"/>
                  <a:gd name="T60" fmla="*/ 32 w 104"/>
                  <a:gd name="T61" fmla="*/ 67 h 115"/>
                  <a:gd name="T62" fmla="*/ 58 w 104"/>
                  <a:gd name="T63" fmla="*/ 91 h 115"/>
                  <a:gd name="T64" fmla="*/ 64 w 104"/>
                  <a:gd name="T65" fmla="*/ 90 h 115"/>
                  <a:gd name="T66" fmla="*/ 71 w 104"/>
                  <a:gd name="T67" fmla="*/ 84 h 115"/>
                  <a:gd name="T68" fmla="*/ 72 w 104"/>
                  <a:gd name="T69" fmla="*/ 79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4" h="115">
                    <a:moveTo>
                      <a:pt x="99" y="64"/>
                    </a:moveTo>
                    <a:lnTo>
                      <a:pt x="99" y="64"/>
                    </a:lnTo>
                    <a:lnTo>
                      <a:pt x="101" y="68"/>
                    </a:lnTo>
                    <a:lnTo>
                      <a:pt x="103" y="72"/>
                    </a:lnTo>
                    <a:lnTo>
                      <a:pt x="104" y="77"/>
                    </a:lnTo>
                    <a:lnTo>
                      <a:pt x="104" y="81"/>
                    </a:lnTo>
                    <a:lnTo>
                      <a:pt x="104" y="81"/>
                    </a:lnTo>
                    <a:lnTo>
                      <a:pt x="104" y="88"/>
                    </a:lnTo>
                    <a:lnTo>
                      <a:pt x="101" y="95"/>
                    </a:lnTo>
                    <a:lnTo>
                      <a:pt x="98" y="101"/>
                    </a:lnTo>
                    <a:lnTo>
                      <a:pt x="92" y="106"/>
                    </a:lnTo>
                    <a:lnTo>
                      <a:pt x="92" y="106"/>
                    </a:lnTo>
                    <a:lnTo>
                      <a:pt x="86" y="110"/>
                    </a:lnTo>
                    <a:lnTo>
                      <a:pt x="78" y="113"/>
                    </a:lnTo>
                    <a:lnTo>
                      <a:pt x="69" y="114"/>
                    </a:lnTo>
                    <a:lnTo>
                      <a:pt x="59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4" y="0"/>
                    </a:lnTo>
                    <a:lnTo>
                      <a:pt x="72" y="2"/>
                    </a:lnTo>
                    <a:lnTo>
                      <a:pt x="80" y="4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93" y="12"/>
                    </a:lnTo>
                    <a:lnTo>
                      <a:pt x="96" y="17"/>
                    </a:lnTo>
                    <a:lnTo>
                      <a:pt x="99" y="23"/>
                    </a:lnTo>
                    <a:lnTo>
                      <a:pt x="99" y="30"/>
                    </a:lnTo>
                    <a:lnTo>
                      <a:pt x="99" y="30"/>
                    </a:lnTo>
                    <a:lnTo>
                      <a:pt x="98" y="37"/>
                    </a:lnTo>
                    <a:lnTo>
                      <a:pt x="95" y="45"/>
                    </a:lnTo>
                    <a:lnTo>
                      <a:pt x="95" y="45"/>
                    </a:lnTo>
                    <a:lnTo>
                      <a:pt x="90" y="50"/>
                    </a:lnTo>
                    <a:lnTo>
                      <a:pt x="84" y="54"/>
                    </a:lnTo>
                    <a:lnTo>
                      <a:pt x="84" y="54"/>
                    </a:lnTo>
                    <a:lnTo>
                      <a:pt x="88" y="56"/>
                    </a:lnTo>
                    <a:lnTo>
                      <a:pt x="92" y="58"/>
                    </a:lnTo>
                    <a:lnTo>
                      <a:pt x="96" y="61"/>
                    </a:lnTo>
                    <a:lnTo>
                      <a:pt x="99" y="64"/>
                    </a:lnTo>
                    <a:lnTo>
                      <a:pt x="99" y="64"/>
                    </a:lnTo>
                    <a:close/>
                    <a:moveTo>
                      <a:pt x="31" y="46"/>
                    </a:moveTo>
                    <a:lnTo>
                      <a:pt x="53" y="46"/>
                    </a:lnTo>
                    <a:lnTo>
                      <a:pt x="53" y="46"/>
                    </a:lnTo>
                    <a:lnTo>
                      <a:pt x="59" y="45"/>
                    </a:lnTo>
                    <a:lnTo>
                      <a:pt x="63" y="43"/>
                    </a:lnTo>
                    <a:lnTo>
                      <a:pt x="66" y="39"/>
                    </a:lnTo>
                    <a:lnTo>
                      <a:pt x="67" y="34"/>
                    </a:lnTo>
                    <a:lnTo>
                      <a:pt x="67" y="34"/>
                    </a:lnTo>
                    <a:lnTo>
                      <a:pt x="66" y="29"/>
                    </a:lnTo>
                    <a:lnTo>
                      <a:pt x="63" y="26"/>
                    </a:lnTo>
                    <a:lnTo>
                      <a:pt x="59" y="24"/>
                    </a:lnTo>
                    <a:lnTo>
                      <a:pt x="53" y="23"/>
                    </a:lnTo>
                    <a:lnTo>
                      <a:pt x="31" y="23"/>
                    </a:lnTo>
                    <a:lnTo>
                      <a:pt x="31" y="46"/>
                    </a:lnTo>
                    <a:close/>
                    <a:moveTo>
                      <a:pt x="72" y="79"/>
                    </a:moveTo>
                    <a:lnTo>
                      <a:pt x="72" y="79"/>
                    </a:lnTo>
                    <a:lnTo>
                      <a:pt x="71" y="74"/>
                    </a:lnTo>
                    <a:lnTo>
                      <a:pt x="68" y="70"/>
                    </a:lnTo>
                    <a:lnTo>
                      <a:pt x="64" y="68"/>
                    </a:lnTo>
                    <a:lnTo>
                      <a:pt x="58" y="67"/>
                    </a:lnTo>
                    <a:lnTo>
                      <a:pt x="32" y="67"/>
                    </a:lnTo>
                    <a:lnTo>
                      <a:pt x="32" y="91"/>
                    </a:lnTo>
                    <a:lnTo>
                      <a:pt x="58" y="91"/>
                    </a:lnTo>
                    <a:lnTo>
                      <a:pt x="58" y="91"/>
                    </a:lnTo>
                    <a:lnTo>
                      <a:pt x="64" y="90"/>
                    </a:lnTo>
                    <a:lnTo>
                      <a:pt x="68" y="88"/>
                    </a:lnTo>
                    <a:lnTo>
                      <a:pt x="71" y="84"/>
                    </a:lnTo>
                    <a:lnTo>
                      <a:pt x="72" y="79"/>
                    </a:lnTo>
                    <a:lnTo>
                      <a:pt x="72" y="79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15">
                <a:extLst>
                  <a:ext uri="{FF2B5EF4-FFF2-40B4-BE49-F238E27FC236}">
                    <a16:creationId xmlns:a16="http://schemas.microsoft.com/office/drawing/2014/main" id="{F23E2CAC-2514-4755-84CC-771ED444D244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1474454" y="1379538"/>
                <a:ext cx="115888" cy="90487"/>
              </a:xfrm>
              <a:custGeom>
                <a:avLst/>
                <a:gdLst>
                  <a:gd name="T0" fmla="*/ 91 w 147"/>
                  <a:gd name="T1" fmla="*/ 46 h 115"/>
                  <a:gd name="T2" fmla="*/ 91 w 147"/>
                  <a:gd name="T3" fmla="*/ 46 h 115"/>
                  <a:gd name="T4" fmla="*/ 97 w 147"/>
                  <a:gd name="T5" fmla="*/ 51 h 115"/>
                  <a:gd name="T6" fmla="*/ 100 w 147"/>
                  <a:gd name="T7" fmla="*/ 58 h 115"/>
                  <a:gd name="T8" fmla="*/ 103 w 147"/>
                  <a:gd name="T9" fmla="*/ 66 h 115"/>
                  <a:gd name="T10" fmla="*/ 103 w 147"/>
                  <a:gd name="T11" fmla="*/ 73 h 115"/>
                  <a:gd name="T12" fmla="*/ 103 w 147"/>
                  <a:gd name="T13" fmla="*/ 73 h 115"/>
                  <a:gd name="T14" fmla="*/ 102 w 147"/>
                  <a:gd name="T15" fmla="*/ 82 h 115"/>
                  <a:gd name="T16" fmla="*/ 100 w 147"/>
                  <a:gd name="T17" fmla="*/ 90 h 115"/>
                  <a:gd name="T18" fmla="*/ 96 w 147"/>
                  <a:gd name="T19" fmla="*/ 97 h 115"/>
                  <a:gd name="T20" fmla="*/ 90 w 147"/>
                  <a:gd name="T21" fmla="*/ 104 h 115"/>
                  <a:gd name="T22" fmla="*/ 90 w 147"/>
                  <a:gd name="T23" fmla="*/ 104 h 115"/>
                  <a:gd name="T24" fmla="*/ 82 w 147"/>
                  <a:gd name="T25" fmla="*/ 109 h 115"/>
                  <a:gd name="T26" fmla="*/ 73 w 147"/>
                  <a:gd name="T27" fmla="*/ 113 h 115"/>
                  <a:gd name="T28" fmla="*/ 64 w 147"/>
                  <a:gd name="T29" fmla="*/ 115 h 115"/>
                  <a:gd name="T30" fmla="*/ 55 w 147"/>
                  <a:gd name="T31" fmla="*/ 115 h 115"/>
                  <a:gd name="T32" fmla="*/ 0 w 147"/>
                  <a:gd name="T33" fmla="*/ 115 h 115"/>
                  <a:gd name="T34" fmla="*/ 0 w 147"/>
                  <a:gd name="T35" fmla="*/ 0 h 115"/>
                  <a:gd name="T36" fmla="*/ 32 w 147"/>
                  <a:gd name="T37" fmla="*/ 0 h 115"/>
                  <a:gd name="T38" fmla="*/ 32 w 147"/>
                  <a:gd name="T39" fmla="*/ 36 h 115"/>
                  <a:gd name="T40" fmla="*/ 59 w 147"/>
                  <a:gd name="T41" fmla="*/ 36 h 115"/>
                  <a:gd name="T42" fmla="*/ 59 w 147"/>
                  <a:gd name="T43" fmla="*/ 36 h 115"/>
                  <a:gd name="T44" fmla="*/ 68 w 147"/>
                  <a:gd name="T45" fmla="*/ 37 h 115"/>
                  <a:gd name="T46" fmla="*/ 76 w 147"/>
                  <a:gd name="T47" fmla="*/ 38 h 115"/>
                  <a:gd name="T48" fmla="*/ 84 w 147"/>
                  <a:gd name="T49" fmla="*/ 41 h 115"/>
                  <a:gd name="T50" fmla="*/ 91 w 147"/>
                  <a:gd name="T51" fmla="*/ 46 h 115"/>
                  <a:gd name="T52" fmla="*/ 91 w 147"/>
                  <a:gd name="T53" fmla="*/ 46 h 115"/>
                  <a:gd name="T54" fmla="*/ 66 w 147"/>
                  <a:gd name="T55" fmla="*/ 86 h 115"/>
                  <a:gd name="T56" fmla="*/ 66 w 147"/>
                  <a:gd name="T57" fmla="*/ 86 h 115"/>
                  <a:gd name="T58" fmla="*/ 68 w 147"/>
                  <a:gd name="T59" fmla="*/ 84 h 115"/>
                  <a:gd name="T60" fmla="*/ 69 w 147"/>
                  <a:gd name="T61" fmla="*/ 81 h 115"/>
                  <a:gd name="T62" fmla="*/ 70 w 147"/>
                  <a:gd name="T63" fmla="*/ 77 h 115"/>
                  <a:gd name="T64" fmla="*/ 71 w 147"/>
                  <a:gd name="T65" fmla="*/ 74 h 115"/>
                  <a:gd name="T66" fmla="*/ 71 w 147"/>
                  <a:gd name="T67" fmla="*/ 74 h 115"/>
                  <a:gd name="T68" fmla="*/ 70 w 147"/>
                  <a:gd name="T69" fmla="*/ 71 h 115"/>
                  <a:gd name="T70" fmla="*/ 70 w 147"/>
                  <a:gd name="T71" fmla="*/ 68 h 115"/>
                  <a:gd name="T72" fmla="*/ 68 w 147"/>
                  <a:gd name="T73" fmla="*/ 65 h 115"/>
                  <a:gd name="T74" fmla="*/ 66 w 147"/>
                  <a:gd name="T75" fmla="*/ 63 h 115"/>
                  <a:gd name="T76" fmla="*/ 64 w 147"/>
                  <a:gd name="T77" fmla="*/ 61 h 115"/>
                  <a:gd name="T78" fmla="*/ 61 w 147"/>
                  <a:gd name="T79" fmla="*/ 60 h 115"/>
                  <a:gd name="T80" fmla="*/ 53 w 147"/>
                  <a:gd name="T81" fmla="*/ 59 h 115"/>
                  <a:gd name="T82" fmla="*/ 32 w 147"/>
                  <a:gd name="T83" fmla="*/ 59 h 115"/>
                  <a:gd name="T84" fmla="*/ 32 w 147"/>
                  <a:gd name="T85" fmla="*/ 91 h 115"/>
                  <a:gd name="T86" fmla="*/ 53 w 147"/>
                  <a:gd name="T87" fmla="*/ 91 h 115"/>
                  <a:gd name="T88" fmla="*/ 53 w 147"/>
                  <a:gd name="T89" fmla="*/ 91 h 115"/>
                  <a:gd name="T90" fmla="*/ 56 w 147"/>
                  <a:gd name="T91" fmla="*/ 91 h 115"/>
                  <a:gd name="T92" fmla="*/ 60 w 147"/>
                  <a:gd name="T93" fmla="*/ 90 h 115"/>
                  <a:gd name="T94" fmla="*/ 63 w 147"/>
                  <a:gd name="T95" fmla="*/ 88 h 115"/>
                  <a:gd name="T96" fmla="*/ 66 w 147"/>
                  <a:gd name="T97" fmla="*/ 86 h 115"/>
                  <a:gd name="T98" fmla="*/ 66 w 147"/>
                  <a:gd name="T99" fmla="*/ 86 h 115"/>
                  <a:gd name="T100" fmla="*/ 115 w 147"/>
                  <a:gd name="T101" fmla="*/ 0 h 115"/>
                  <a:gd name="T102" fmla="*/ 147 w 147"/>
                  <a:gd name="T103" fmla="*/ 0 h 115"/>
                  <a:gd name="T104" fmla="*/ 147 w 147"/>
                  <a:gd name="T105" fmla="*/ 115 h 115"/>
                  <a:gd name="T106" fmla="*/ 115 w 147"/>
                  <a:gd name="T107" fmla="*/ 115 h 115"/>
                  <a:gd name="T108" fmla="*/ 115 w 147"/>
                  <a:gd name="T109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47" h="115">
                    <a:moveTo>
                      <a:pt x="91" y="46"/>
                    </a:moveTo>
                    <a:lnTo>
                      <a:pt x="91" y="46"/>
                    </a:lnTo>
                    <a:lnTo>
                      <a:pt x="97" y="51"/>
                    </a:lnTo>
                    <a:lnTo>
                      <a:pt x="100" y="58"/>
                    </a:lnTo>
                    <a:lnTo>
                      <a:pt x="103" y="66"/>
                    </a:lnTo>
                    <a:lnTo>
                      <a:pt x="103" y="73"/>
                    </a:lnTo>
                    <a:lnTo>
                      <a:pt x="103" y="73"/>
                    </a:lnTo>
                    <a:lnTo>
                      <a:pt x="102" y="82"/>
                    </a:lnTo>
                    <a:lnTo>
                      <a:pt x="100" y="90"/>
                    </a:lnTo>
                    <a:lnTo>
                      <a:pt x="96" y="97"/>
                    </a:lnTo>
                    <a:lnTo>
                      <a:pt x="90" y="104"/>
                    </a:lnTo>
                    <a:lnTo>
                      <a:pt x="90" y="104"/>
                    </a:lnTo>
                    <a:lnTo>
                      <a:pt x="82" y="109"/>
                    </a:lnTo>
                    <a:lnTo>
                      <a:pt x="73" y="113"/>
                    </a:lnTo>
                    <a:lnTo>
                      <a:pt x="64" y="115"/>
                    </a:lnTo>
                    <a:lnTo>
                      <a:pt x="55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2" y="0"/>
                    </a:lnTo>
                    <a:lnTo>
                      <a:pt x="32" y="36"/>
                    </a:lnTo>
                    <a:lnTo>
                      <a:pt x="59" y="36"/>
                    </a:lnTo>
                    <a:lnTo>
                      <a:pt x="59" y="36"/>
                    </a:lnTo>
                    <a:lnTo>
                      <a:pt x="68" y="37"/>
                    </a:lnTo>
                    <a:lnTo>
                      <a:pt x="76" y="38"/>
                    </a:lnTo>
                    <a:lnTo>
                      <a:pt x="84" y="41"/>
                    </a:lnTo>
                    <a:lnTo>
                      <a:pt x="91" y="46"/>
                    </a:lnTo>
                    <a:lnTo>
                      <a:pt x="91" y="46"/>
                    </a:lnTo>
                    <a:close/>
                    <a:moveTo>
                      <a:pt x="66" y="86"/>
                    </a:moveTo>
                    <a:lnTo>
                      <a:pt x="66" y="86"/>
                    </a:lnTo>
                    <a:lnTo>
                      <a:pt x="68" y="84"/>
                    </a:lnTo>
                    <a:lnTo>
                      <a:pt x="69" y="81"/>
                    </a:lnTo>
                    <a:lnTo>
                      <a:pt x="70" y="77"/>
                    </a:lnTo>
                    <a:lnTo>
                      <a:pt x="71" y="74"/>
                    </a:lnTo>
                    <a:lnTo>
                      <a:pt x="71" y="74"/>
                    </a:lnTo>
                    <a:lnTo>
                      <a:pt x="70" y="71"/>
                    </a:lnTo>
                    <a:lnTo>
                      <a:pt x="70" y="68"/>
                    </a:lnTo>
                    <a:lnTo>
                      <a:pt x="68" y="65"/>
                    </a:lnTo>
                    <a:lnTo>
                      <a:pt x="66" y="63"/>
                    </a:lnTo>
                    <a:lnTo>
                      <a:pt x="64" y="61"/>
                    </a:lnTo>
                    <a:lnTo>
                      <a:pt x="61" y="60"/>
                    </a:lnTo>
                    <a:lnTo>
                      <a:pt x="53" y="59"/>
                    </a:lnTo>
                    <a:lnTo>
                      <a:pt x="32" y="59"/>
                    </a:lnTo>
                    <a:lnTo>
                      <a:pt x="32" y="91"/>
                    </a:lnTo>
                    <a:lnTo>
                      <a:pt x="53" y="91"/>
                    </a:lnTo>
                    <a:lnTo>
                      <a:pt x="53" y="91"/>
                    </a:lnTo>
                    <a:lnTo>
                      <a:pt x="56" y="91"/>
                    </a:lnTo>
                    <a:lnTo>
                      <a:pt x="60" y="90"/>
                    </a:lnTo>
                    <a:lnTo>
                      <a:pt x="63" y="88"/>
                    </a:lnTo>
                    <a:lnTo>
                      <a:pt x="66" y="86"/>
                    </a:lnTo>
                    <a:lnTo>
                      <a:pt x="66" y="86"/>
                    </a:lnTo>
                    <a:close/>
                    <a:moveTo>
                      <a:pt x="115" y="0"/>
                    </a:moveTo>
                    <a:lnTo>
                      <a:pt x="147" y="0"/>
                    </a:lnTo>
                    <a:lnTo>
                      <a:pt x="147" y="115"/>
                    </a:lnTo>
                    <a:lnTo>
                      <a:pt x="115" y="115"/>
                    </a:lnTo>
                    <a:lnTo>
                      <a:pt x="115" y="0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16">
                <a:extLst>
                  <a:ext uri="{FF2B5EF4-FFF2-40B4-BE49-F238E27FC236}">
                    <a16:creationId xmlns:a16="http://schemas.microsoft.com/office/drawing/2014/main" id="{518885E1-3EF1-41CD-8713-73284C2335B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344154" y="1535113"/>
                <a:ext cx="85725" cy="90487"/>
              </a:xfrm>
              <a:custGeom>
                <a:avLst/>
                <a:gdLst>
                  <a:gd name="T0" fmla="*/ 109 w 109"/>
                  <a:gd name="T1" fmla="*/ 0 h 115"/>
                  <a:gd name="T2" fmla="*/ 109 w 109"/>
                  <a:gd name="T3" fmla="*/ 115 h 115"/>
                  <a:gd name="T4" fmla="*/ 77 w 109"/>
                  <a:gd name="T5" fmla="*/ 115 h 115"/>
                  <a:gd name="T6" fmla="*/ 77 w 109"/>
                  <a:gd name="T7" fmla="*/ 71 h 115"/>
                  <a:gd name="T8" fmla="*/ 32 w 109"/>
                  <a:gd name="T9" fmla="*/ 71 h 115"/>
                  <a:gd name="T10" fmla="*/ 32 w 109"/>
                  <a:gd name="T11" fmla="*/ 115 h 115"/>
                  <a:gd name="T12" fmla="*/ 0 w 109"/>
                  <a:gd name="T13" fmla="*/ 115 h 115"/>
                  <a:gd name="T14" fmla="*/ 0 w 109"/>
                  <a:gd name="T15" fmla="*/ 0 h 115"/>
                  <a:gd name="T16" fmla="*/ 32 w 109"/>
                  <a:gd name="T17" fmla="*/ 0 h 115"/>
                  <a:gd name="T18" fmla="*/ 32 w 109"/>
                  <a:gd name="T19" fmla="*/ 43 h 115"/>
                  <a:gd name="T20" fmla="*/ 77 w 109"/>
                  <a:gd name="T21" fmla="*/ 43 h 115"/>
                  <a:gd name="T22" fmla="*/ 77 w 109"/>
                  <a:gd name="T23" fmla="*/ 0 h 115"/>
                  <a:gd name="T24" fmla="*/ 109 w 109"/>
                  <a:gd name="T25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9" h="115">
                    <a:moveTo>
                      <a:pt x="109" y="0"/>
                    </a:moveTo>
                    <a:lnTo>
                      <a:pt x="109" y="115"/>
                    </a:lnTo>
                    <a:lnTo>
                      <a:pt x="77" y="115"/>
                    </a:lnTo>
                    <a:lnTo>
                      <a:pt x="77" y="71"/>
                    </a:lnTo>
                    <a:lnTo>
                      <a:pt x="32" y="71"/>
                    </a:lnTo>
                    <a:lnTo>
                      <a:pt x="3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2" y="0"/>
                    </a:lnTo>
                    <a:lnTo>
                      <a:pt x="32" y="43"/>
                    </a:lnTo>
                    <a:lnTo>
                      <a:pt x="77" y="43"/>
                    </a:lnTo>
                    <a:lnTo>
                      <a:pt x="77" y="0"/>
                    </a:lnTo>
                    <a:lnTo>
                      <a:pt x="109" y="0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17">
                <a:extLst>
                  <a:ext uri="{FF2B5EF4-FFF2-40B4-BE49-F238E27FC236}">
                    <a16:creationId xmlns:a16="http://schemas.microsoft.com/office/drawing/2014/main" id="{EEF10153-CB6B-4C4C-8BDD-A89F52942B4C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447341" y="1533525"/>
                <a:ext cx="101600" cy="95250"/>
              </a:xfrm>
              <a:custGeom>
                <a:avLst/>
                <a:gdLst>
                  <a:gd name="T0" fmla="*/ 31 w 128"/>
                  <a:gd name="T1" fmla="*/ 112 h 120"/>
                  <a:gd name="T2" fmla="*/ 21 w 128"/>
                  <a:gd name="T3" fmla="*/ 105 h 120"/>
                  <a:gd name="T4" fmla="*/ 6 w 128"/>
                  <a:gd name="T5" fmla="*/ 88 h 120"/>
                  <a:gd name="T6" fmla="*/ 0 w 128"/>
                  <a:gd name="T7" fmla="*/ 67 h 120"/>
                  <a:gd name="T8" fmla="*/ 2 w 128"/>
                  <a:gd name="T9" fmla="*/ 43 h 120"/>
                  <a:gd name="T10" fmla="*/ 6 w 128"/>
                  <a:gd name="T11" fmla="*/ 32 h 120"/>
                  <a:gd name="T12" fmla="*/ 11 w 128"/>
                  <a:gd name="T13" fmla="*/ 25 h 120"/>
                  <a:gd name="T14" fmla="*/ 23 w 128"/>
                  <a:gd name="T15" fmla="*/ 12 h 120"/>
                  <a:gd name="T16" fmla="*/ 31 w 128"/>
                  <a:gd name="T17" fmla="*/ 8 h 120"/>
                  <a:gd name="T18" fmla="*/ 46 w 128"/>
                  <a:gd name="T19" fmla="*/ 2 h 120"/>
                  <a:gd name="T20" fmla="*/ 64 w 128"/>
                  <a:gd name="T21" fmla="*/ 0 h 120"/>
                  <a:gd name="T22" fmla="*/ 81 w 128"/>
                  <a:gd name="T23" fmla="*/ 2 h 120"/>
                  <a:gd name="T24" fmla="*/ 97 w 128"/>
                  <a:gd name="T25" fmla="*/ 8 h 120"/>
                  <a:gd name="T26" fmla="*/ 102 w 128"/>
                  <a:gd name="T27" fmla="*/ 11 h 120"/>
                  <a:gd name="T28" fmla="*/ 115 w 128"/>
                  <a:gd name="T29" fmla="*/ 22 h 120"/>
                  <a:gd name="T30" fmla="*/ 125 w 128"/>
                  <a:gd name="T31" fmla="*/ 42 h 120"/>
                  <a:gd name="T32" fmla="*/ 128 w 128"/>
                  <a:gd name="T33" fmla="*/ 65 h 120"/>
                  <a:gd name="T34" fmla="*/ 124 w 128"/>
                  <a:gd name="T35" fmla="*/ 82 h 120"/>
                  <a:gd name="T36" fmla="*/ 121 w 128"/>
                  <a:gd name="T37" fmla="*/ 87 h 120"/>
                  <a:gd name="T38" fmla="*/ 111 w 128"/>
                  <a:gd name="T39" fmla="*/ 101 h 120"/>
                  <a:gd name="T40" fmla="*/ 97 w 128"/>
                  <a:gd name="T41" fmla="*/ 112 h 120"/>
                  <a:gd name="T42" fmla="*/ 89 w 128"/>
                  <a:gd name="T43" fmla="*/ 115 h 120"/>
                  <a:gd name="T44" fmla="*/ 72 w 128"/>
                  <a:gd name="T45" fmla="*/ 119 h 120"/>
                  <a:gd name="T46" fmla="*/ 55 w 128"/>
                  <a:gd name="T47" fmla="*/ 119 h 120"/>
                  <a:gd name="T48" fmla="*/ 38 w 128"/>
                  <a:gd name="T49" fmla="*/ 115 h 120"/>
                  <a:gd name="T50" fmla="*/ 31 w 128"/>
                  <a:gd name="T51" fmla="*/ 112 h 120"/>
                  <a:gd name="T52" fmla="*/ 80 w 128"/>
                  <a:gd name="T53" fmla="*/ 89 h 120"/>
                  <a:gd name="T54" fmla="*/ 91 w 128"/>
                  <a:gd name="T55" fmla="*/ 77 h 120"/>
                  <a:gd name="T56" fmla="*/ 94 w 128"/>
                  <a:gd name="T57" fmla="*/ 69 h 120"/>
                  <a:gd name="T58" fmla="*/ 94 w 128"/>
                  <a:gd name="T59" fmla="*/ 52 h 120"/>
                  <a:gd name="T60" fmla="*/ 91 w 128"/>
                  <a:gd name="T61" fmla="*/ 42 h 120"/>
                  <a:gd name="T62" fmla="*/ 80 w 128"/>
                  <a:gd name="T63" fmla="*/ 31 h 120"/>
                  <a:gd name="T64" fmla="*/ 72 w 128"/>
                  <a:gd name="T65" fmla="*/ 28 h 120"/>
                  <a:gd name="T66" fmla="*/ 55 w 128"/>
                  <a:gd name="T67" fmla="*/ 28 h 120"/>
                  <a:gd name="T68" fmla="*/ 47 w 128"/>
                  <a:gd name="T69" fmla="*/ 31 h 120"/>
                  <a:gd name="T70" fmla="*/ 36 w 128"/>
                  <a:gd name="T71" fmla="*/ 42 h 120"/>
                  <a:gd name="T72" fmla="*/ 33 w 128"/>
                  <a:gd name="T73" fmla="*/ 52 h 120"/>
                  <a:gd name="T74" fmla="*/ 33 w 128"/>
                  <a:gd name="T75" fmla="*/ 69 h 120"/>
                  <a:gd name="T76" fmla="*/ 36 w 128"/>
                  <a:gd name="T77" fmla="*/ 77 h 120"/>
                  <a:gd name="T78" fmla="*/ 47 w 128"/>
                  <a:gd name="T79" fmla="*/ 89 h 120"/>
                  <a:gd name="T80" fmla="*/ 55 w 128"/>
                  <a:gd name="T81" fmla="*/ 92 h 120"/>
                  <a:gd name="T82" fmla="*/ 72 w 128"/>
                  <a:gd name="T83" fmla="*/ 92 h 120"/>
                  <a:gd name="T84" fmla="*/ 80 w 128"/>
                  <a:gd name="T85" fmla="*/ 89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28" h="120">
                    <a:moveTo>
                      <a:pt x="31" y="112"/>
                    </a:moveTo>
                    <a:lnTo>
                      <a:pt x="31" y="112"/>
                    </a:lnTo>
                    <a:lnTo>
                      <a:pt x="25" y="109"/>
                    </a:lnTo>
                    <a:lnTo>
                      <a:pt x="21" y="105"/>
                    </a:lnTo>
                    <a:lnTo>
                      <a:pt x="13" y="97"/>
                    </a:lnTo>
                    <a:lnTo>
                      <a:pt x="6" y="88"/>
                    </a:lnTo>
                    <a:lnTo>
                      <a:pt x="2" y="78"/>
                    </a:lnTo>
                    <a:lnTo>
                      <a:pt x="0" y="67"/>
                    </a:lnTo>
                    <a:lnTo>
                      <a:pt x="0" y="55"/>
                    </a:lnTo>
                    <a:lnTo>
                      <a:pt x="2" y="43"/>
                    </a:lnTo>
                    <a:lnTo>
                      <a:pt x="4" y="38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11" y="25"/>
                    </a:lnTo>
                    <a:lnTo>
                      <a:pt x="16" y="18"/>
                    </a:lnTo>
                    <a:lnTo>
                      <a:pt x="23" y="12"/>
                    </a:lnTo>
                    <a:lnTo>
                      <a:pt x="31" y="8"/>
                    </a:lnTo>
                    <a:lnTo>
                      <a:pt x="31" y="8"/>
                    </a:lnTo>
                    <a:lnTo>
                      <a:pt x="38" y="4"/>
                    </a:lnTo>
                    <a:lnTo>
                      <a:pt x="46" y="2"/>
                    </a:lnTo>
                    <a:lnTo>
                      <a:pt x="55" y="0"/>
                    </a:lnTo>
                    <a:lnTo>
                      <a:pt x="64" y="0"/>
                    </a:lnTo>
                    <a:lnTo>
                      <a:pt x="72" y="0"/>
                    </a:lnTo>
                    <a:lnTo>
                      <a:pt x="81" y="2"/>
                    </a:lnTo>
                    <a:lnTo>
                      <a:pt x="89" y="4"/>
                    </a:lnTo>
                    <a:lnTo>
                      <a:pt x="97" y="8"/>
                    </a:lnTo>
                    <a:lnTo>
                      <a:pt x="97" y="8"/>
                    </a:lnTo>
                    <a:lnTo>
                      <a:pt x="102" y="11"/>
                    </a:lnTo>
                    <a:lnTo>
                      <a:pt x="106" y="14"/>
                    </a:lnTo>
                    <a:lnTo>
                      <a:pt x="115" y="22"/>
                    </a:lnTo>
                    <a:lnTo>
                      <a:pt x="121" y="32"/>
                    </a:lnTo>
                    <a:lnTo>
                      <a:pt x="125" y="42"/>
                    </a:lnTo>
                    <a:lnTo>
                      <a:pt x="127" y="54"/>
                    </a:lnTo>
                    <a:lnTo>
                      <a:pt x="128" y="65"/>
                    </a:lnTo>
                    <a:lnTo>
                      <a:pt x="126" y="76"/>
                    </a:lnTo>
                    <a:lnTo>
                      <a:pt x="124" y="82"/>
                    </a:lnTo>
                    <a:lnTo>
                      <a:pt x="121" y="87"/>
                    </a:lnTo>
                    <a:lnTo>
                      <a:pt x="121" y="87"/>
                    </a:lnTo>
                    <a:lnTo>
                      <a:pt x="116" y="95"/>
                    </a:lnTo>
                    <a:lnTo>
                      <a:pt x="111" y="101"/>
                    </a:lnTo>
                    <a:lnTo>
                      <a:pt x="104" y="107"/>
                    </a:lnTo>
                    <a:lnTo>
                      <a:pt x="97" y="112"/>
                    </a:lnTo>
                    <a:lnTo>
                      <a:pt x="97" y="112"/>
                    </a:lnTo>
                    <a:lnTo>
                      <a:pt x="89" y="115"/>
                    </a:lnTo>
                    <a:lnTo>
                      <a:pt x="81" y="118"/>
                    </a:lnTo>
                    <a:lnTo>
                      <a:pt x="72" y="119"/>
                    </a:lnTo>
                    <a:lnTo>
                      <a:pt x="64" y="120"/>
                    </a:lnTo>
                    <a:lnTo>
                      <a:pt x="55" y="119"/>
                    </a:lnTo>
                    <a:lnTo>
                      <a:pt x="46" y="118"/>
                    </a:lnTo>
                    <a:lnTo>
                      <a:pt x="38" y="115"/>
                    </a:lnTo>
                    <a:lnTo>
                      <a:pt x="31" y="112"/>
                    </a:lnTo>
                    <a:lnTo>
                      <a:pt x="31" y="112"/>
                    </a:lnTo>
                    <a:close/>
                    <a:moveTo>
                      <a:pt x="80" y="89"/>
                    </a:moveTo>
                    <a:lnTo>
                      <a:pt x="80" y="89"/>
                    </a:lnTo>
                    <a:lnTo>
                      <a:pt x="86" y="84"/>
                    </a:lnTo>
                    <a:lnTo>
                      <a:pt x="91" y="77"/>
                    </a:lnTo>
                    <a:lnTo>
                      <a:pt x="91" y="77"/>
                    </a:lnTo>
                    <a:lnTo>
                      <a:pt x="94" y="69"/>
                    </a:lnTo>
                    <a:lnTo>
                      <a:pt x="95" y="60"/>
                    </a:lnTo>
                    <a:lnTo>
                      <a:pt x="94" y="52"/>
                    </a:lnTo>
                    <a:lnTo>
                      <a:pt x="91" y="42"/>
                    </a:lnTo>
                    <a:lnTo>
                      <a:pt x="91" y="42"/>
                    </a:lnTo>
                    <a:lnTo>
                      <a:pt x="86" y="36"/>
                    </a:lnTo>
                    <a:lnTo>
                      <a:pt x="80" y="31"/>
                    </a:lnTo>
                    <a:lnTo>
                      <a:pt x="80" y="31"/>
                    </a:lnTo>
                    <a:lnTo>
                      <a:pt x="72" y="28"/>
                    </a:lnTo>
                    <a:lnTo>
                      <a:pt x="64" y="27"/>
                    </a:lnTo>
                    <a:lnTo>
                      <a:pt x="55" y="28"/>
                    </a:lnTo>
                    <a:lnTo>
                      <a:pt x="47" y="31"/>
                    </a:lnTo>
                    <a:lnTo>
                      <a:pt x="47" y="31"/>
                    </a:lnTo>
                    <a:lnTo>
                      <a:pt x="41" y="36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3" y="52"/>
                    </a:lnTo>
                    <a:lnTo>
                      <a:pt x="32" y="60"/>
                    </a:lnTo>
                    <a:lnTo>
                      <a:pt x="33" y="69"/>
                    </a:lnTo>
                    <a:lnTo>
                      <a:pt x="36" y="77"/>
                    </a:lnTo>
                    <a:lnTo>
                      <a:pt x="36" y="77"/>
                    </a:lnTo>
                    <a:lnTo>
                      <a:pt x="41" y="84"/>
                    </a:lnTo>
                    <a:lnTo>
                      <a:pt x="47" y="89"/>
                    </a:lnTo>
                    <a:lnTo>
                      <a:pt x="47" y="89"/>
                    </a:lnTo>
                    <a:lnTo>
                      <a:pt x="55" y="92"/>
                    </a:lnTo>
                    <a:lnTo>
                      <a:pt x="64" y="93"/>
                    </a:lnTo>
                    <a:lnTo>
                      <a:pt x="72" y="92"/>
                    </a:lnTo>
                    <a:lnTo>
                      <a:pt x="80" y="89"/>
                    </a:lnTo>
                    <a:lnTo>
                      <a:pt x="80" y="89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18">
                <a:extLst>
                  <a:ext uri="{FF2B5EF4-FFF2-40B4-BE49-F238E27FC236}">
                    <a16:creationId xmlns:a16="http://schemas.microsoft.com/office/drawing/2014/main" id="{999A8000-DB79-461D-9CF2-C3831A0B1408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564816" y="1535113"/>
                <a:ext cx="84138" cy="90487"/>
              </a:xfrm>
              <a:custGeom>
                <a:avLst/>
                <a:gdLst>
                  <a:gd name="T0" fmla="*/ 99 w 105"/>
                  <a:gd name="T1" fmla="*/ 66 h 115"/>
                  <a:gd name="T2" fmla="*/ 103 w 105"/>
                  <a:gd name="T3" fmla="*/ 74 h 115"/>
                  <a:gd name="T4" fmla="*/ 105 w 105"/>
                  <a:gd name="T5" fmla="*/ 83 h 115"/>
                  <a:gd name="T6" fmla="*/ 104 w 105"/>
                  <a:gd name="T7" fmla="*/ 90 h 115"/>
                  <a:gd name="T8" fmla="*/ 98 w 105"/>
                  <a:gd name="T9" fmla="*/ 102 h 115"/>
                  <a:gd name="T10" fmla="*/ 93 w 105"/>
                  <a:gd name="T11" fmla="*/ 107 h 115"/>
                  <a:gd name="T12" fmla="*/ 77 w 105"/>
                  <a:gd name="T13" fmla="*/ 114 h 115"/>
                  <a:gd name="T14" fmla="*/ 59 w 105"/>
                  <a:gd name="T15" fmla="*/ 115 h 115"/>
                  <a:gd name="T16" fmla="*/ 0 w 105"/>
                  <a:gd name="T17" fmla="*/ 0 h 115"/>
                  <a:gd name="T18" fmla="*/ 56 w 105"/>
                  <a:gd name="T19" fmla="*/ 0 h 115"/>
                  <a:gd name="T20" fmla="*/ 73 w 105"/>
                  <a:gd name="T21" fmla="*/ 2 h 115"/>
                  <a:gd name="T22" fmla="*/ 88 w 105"/>
                  <a:gd name="T23" fmla="*/ 8 h 115"/>
                  <a:gd name="T24" fmla="*/ 93 w 105"/>
                  <a:gd name="T25" fmla="*/ 12 h 115"/>
                  <a:gd name="T26" fmla="*/ 99 w 105"/>
                  <a:gd name="T27" fmla="*/ 24 h 115"/>
                  <a:gd name="T28" fmla="*/ 99 w 105"/>
                  <a:gd name="T29" fmla="*/ 30 h 115"/>
                  <a:gd name="T30" fmla="*/ 95 w 105"/>
                  <a:gd name="T31" fmla="*/ 45 h 115"/>
                  <a:gd name="T32" fmla="*/ 90 w 105"/>
                  <a:gd name="T33" fmla="*/ 52 h 115"/>
                  <a:gd name="T34" fmla="*/ 84 w 105"/>
                  <a:gd name="T35" fmla="*/ 56 h 115"/>
                  <a:gd name="T36" fmla="*/ 92 w 105"/>
                  <a:gd name="T37" fmla="*/ 60 h 115"/>
                  <a:gd name="T38" fmla="*/ 99 w 105"/>
                  <a:gd name="T39" fmla="*/ 66 h 115"/>
                  <a:gd name="T40" fmla="*/ 32 w 105"/>
                  <a:gd name="T41" fmla="*/ 46 h 115"/>
                  <a:gd name="T42" fmla="*/ 53 w 105"/>
                  <a:gd name="T43" fmla="*/ 46 h 115"/>
                  <a:gd name="T44" fmla="*/ 63 w 105"/>
                  <a:gd name="T45" fmla="*/ 43 h 115"/>
                  <a:gd name="T46" fmla="*/ 67 w 105"/>
                  <a:gd name="T47" fmla="*/ 35 h 115"/>
                  <a:gd name="T48" fmla="*/ 66 w 105"/>
                  <a:gd name="T49" fmla="*/ 30 h 115"/>
                  <a:gd name="T50" fmla="*/ 59 w 105"/>
                  <a:gd name="T51" fmla="*/ 24 h 115"/>
                  <a:gd name="T52" fmla="*/ 32 w 105"/>
                  <a:gd name="T53" fmla="*/ 23 h 115"/>
                  <a:gd name="T54" fmla="*/ 72 w 105"/>
                  <a:gd name="T55" fmla="*/ 80 h 115"/>
                  <a:gd name="T56" fmla="*/ 71 w 105"/>
                  <a:gd name="T57" fmla="*/ 75 h 115"/>
                  <a:gd name="T58" fmla="*/ 64 w 105"/>
                  <a:gd name="T59" fmla="*/ 69 h 115"/>
                  <a:gd name="T60" fmla="*/ 32 w 105"/>
                  <a:gd name="T61" fmla="*/ 69 h 115"/>
                  <a:gd name="T62" fmla="*/ 58 w 105"/>
                  <a:gd name="T63" fmla="*/ 92 h 115"/>
                  <a:gd name="T64" fmla="*/ 64 w 105"/>
                  <a:gd name="T65" fmla="*/ 91 h 115"/>
                  <a:gd name="T66" fmla="*/ 71 w 105"/>
                  <a:gd name="T67" fmla="*/ 85 h 115"/>
                  <a:gd name="T68" fmla="*/ 72 w 105"/>
                  <a:gd name="T69" fmla="*/ 8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5" h="115">
                    <a:moveTo>
                      <a:pt x="99" y="66"/>
                    </a:moveTo>
                    <a:lnTo>
                      <a:pt x="99" y="66"/>
                    </a:lnTo>
                    <a:lnTo>
                      <a:pt x="102" y="70"/>
                    </a:lnTo>
                    <a:lnTo>
                      <a:pt x="103" y="74"/>
                    </a:lnTo>
                    <a:lnTo>
                      <a:pt x="104" y="78"/>
                    </a:lnTo>
                    <a:lnTo>
                      <a:pt x="105" y="83"/>
                    </a:lnTo>
                    <a:lnTo>
                      <a:pt x="105" y="83"/>
                    </a:lnTo>
                    <a:lnTo>
                      <a:pt x="104" y="90"/>
                    </a:lnTo>
                    <a:lnTo>
                      <a:pt x="102" y="96"/>
                    </a:lnTo>
                    <a:lnTo>
                      <a:pt x="98" y="102"/>
                    </a:lnTo>
                    <a:lnTo>
                      <a:pt x="93" y="107"/>
                    </a:lnTo>
                    <a:lnTo>
                      <a:pt x="93" y="107"/>
                    </a:lnTo>
                    <a:lnTo>
                      <a:pt x="85" y="111"/>
                    </a:lnTo>
                    <a:lnTo>
                      <a:pt x="77" y="114"/>
                    </a:lnTo>
                    <a:lnTo>
                      <a:pt x="68" y="115"/>
                    </a:lnTo>
                    <a:lnTo>
                      <a:pt x="59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5" y="1"/>
                    </a:lnTo>
                    <a:lnTo>
                      <a:pt x="73" y="2"/>
                    </a:lnTo>
                    <a:lnTo>
                      <a:pt x="81" y="4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93" y="12"/>
                    </a:lnTo>
                    <a:lnTo>
                      <a:pt x="97" y="18"/>
                    </a:lnTo>
                    <a:lnTo>
                      <a:pt x="99" y="24"/>
                    </a:lnTo>
                    <a:lnTo>
                      <a:pt x="99" y="30"/>
                    </a:lnTo>
                    <a:lnTo>
                      <a:pt x="99" y="30"/>
                    </a:lnTo>
                    <a:lnTo>
                      <a:pt x="98" y="38"/>
                    </a:lnTo>
                    <a:lnTo>
                      <a:pt x="95" y="45"/>
                    </a:lnTo>
                    <a:lnTo>
                      <a:pt x="95" y="45"/>
                    </a:lnTo>
                    <a:lnTo>
                      <a:pt x="90" y="52"/>
                    </a:lnTo>
                    <a:lnTo>
                      <a:pt x="84" y="56"/>
                    </a:lnTo>
                    <a:lnTo>
                      <a:pt x="84" y="56"/>
                    </a:lnTo>
                    <a:lnTo>
                      <a:pt x="88" y="57"/>
                    </a:lnTo>
                    <a:lnTo>
                      <a:pt x="92" y="60"/>
                    </a:lnTo>
                    <a:lnTo>
                      <a:pt x="96" y="62"/>
                    </a:lnTo>
                    <a:lnTo>
                      <a:pt x="99" y="66"/>
                    </a:lnTo>
                    <a:lnTo>
                      <a:pt x="99" y="66"/>
                    </a:lnTo>
                    <a:close/>
                    <a:moveTo>
                      <a:pt x="32" y="46"/>
                    </a:moveTo>
                    <a:lnTo>
                      <a:pt x="53" y="46"/>
                    </a:lnTo>
                    <a:lnTo>
                      <a:pt x="53" y="46"/>
                    </a:lnTo>
                    <a:lnTo>
                      <a:pt x="59" y="45"/>
                    </a:lnTo>
                    <a:lnTo>
                      <a:pt x="63" y="43"/>
                    </a:lnTo>
                    <a:lnTo>
                      <a:pt x="66" y="40"/>
                    </a:lnTo>
                    <a:lnTo>
                      <a:pt x="67" y="35"/>
                    </a:lnTo>
                    <a:lnTo>
                      <a:pt x="67" y="35"/>
                    </a:lnTo>
                    <a:lnTo>
                      <a:pt x="66" y="30"/>
                    </a:lnTo>
                    <a:lnTo>
                      <a:pt x="63" y="26"/>
                    </a:lnTo>
                    <a:lnTo>
                      <a:pt x="59" y="24"/>
                    </a:lnTo>
                    <a:lnTo>
                      <a:pt x="53" y="23"/>
                    </a:lnTo>
                    <a:lnTo>
                      <a:pt x="32" y="23"/>
                    </a:lnTo>
                    <a:lnTo>
                      <a:pt x="32" y="46"/>
                    </a:lnTo>
                    <a:close/>
                    <a:moveTo>
                      <a:pt x="72" y="80"/>
                    </a:moveTo>
                    <a:lnTo>
                      <a:pt x="72" y="80"/>
                    </a:lnTo>
                    <a:lnTo>
                      <a:pt x="71" y="75"/>
                    </a:lnTo>
                    <a:lnTo>
                      <a:pt x="69" y="72"/>
                    </a:lnTo>
                    <a:lnTo>
                      <a:pt x="64" y="69"/>
                    </a:lnTo>
                    <a:lnTo>
                      <a:pt x="58" y="69"/>
                    </a:lnTo>
                    <a:lnTo>
                      <a:pt x="32" y="69"/>
                    </a:lnTo>
                    <a:lnTo>
                      <a:pt x="32" y="92"/>
                    </a:lnTo>
                    <a:lnTo>
                      <a:pt x="58" y="92"/>
                    </a:lnTo>
                    <a:lnTo>
                      <a:pt x="58" y="92"/>
                    </a:lnTo>
                    <a:lnTo>
                      <a:pt x="64" y="91"/>
                    </a:lnTo>
                    <a:lnTo>
                      <a:pt x="69" y="89"/>
                    </a:lnTo>
                    <a:lnTo>
                      <a:pt x="71" y="85"/>
                    </a:lnTo>
                    <a:lnTo>
                      <a:pt x="72" y="80"/>
                    </a:lnTo>
                    <a:lnTo>
                      <a:pt x="72" y="80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19">
                <a:extLst>
                  <a:ext uri="{FF2B5EF4-FFF2-40B4-BE49-F238E27FC236}">
                    <a16:creationId xmlns:a16="http://schemas.microsoft.com/office/drawing/2014/main" id="{87C83FA6-9039-4229-BB0D-6CDB85764A4C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664829" y="1535113"/>
                <a:ext cx="115888" cy="90487"/>
              </a:xfrm>
              <a:custGeom>
                <a:avLst/>
                <a:gdLst>
                  <a:gd name="T0" fmla="*/ 92 w 147"/>
                  <a:gd name="T1" fmla="*/ 46 h 115"/>
                  <a:gd name="T2" fmla="*/ 92 w 147"/>
                  <a:gd name="T3" fmla="*/ 46 h 115"/>
                  <a:gd name="T4" fmla="*/ 97 w 147"/>
                  <a:gd name="T5" fmla="*/ 53 h 115"/>
                  <a:gd name="T6" fmla="*/ 101 w 147"/>
                  <a:gd name="T7" fmla="*/ 60 h 115"/>
                  <a:gd name="T8" fmla="*/ 103 w 147"/>
                  <a:gd name="T9" fmla="*/ 67 h 115"/>
                  <a:gd name="T10" fmla="*/ 103 w 147"/>
                  <a:gd name="T11" fmla="*/ 75 h 115"/>
                  <a:gd name="T12" fmla="*/ 103 w 147"/>
                  <a:gd name="T13" fmla="*/ 75 h 115"/>
                  <a:gd name="T14" fmla="*/ 103 w 147"/>
                  <a:gd name="T15" fmla="*/ 83 h 115"/>
                  <a:gd name="T16" fmla="*/ 100 w 147"/>
                  <a:gd name="T17" fmla="*/ 91 h 115"/>
                  <a:gd name="T18" fmla="*/ 96 w 147"/>
                  <a:gd name="T19" fmla="*/ 99 h 115"/>
                  <a:gd name="T20" fmla="*/ 90 w 147"/>
                  <a:gd name="T21" fmla="*/ 105 h 115"/>
                  <a:gd name="T22" fmla="*/ 90 w 147"/>
                  <a:gd name="T23" fmla="*/ 105 h 115"/>
                  <a:gd name="T24" fmla="*/ 82 w 147"/>
                  <a:gd name="T25" fmla="*/ 110 h 115"/>
                  <a:gd name="T26" fmla="*/ 74 w 147"/>
                  <a:gd name="T27" fmla="*/ 113 h 115"/>
                  <a:gd name="T28" fmla="*/ 65 w 147"/>
                  <a:gd name="T29" fmla="*/ 115 h 115"/>
                  <a:gd name="T30" fmla="*/ 55 w 147"/>
                  <a:gd name="T31" fmla="*/ 115 h 115"/>
                  <a:gd name="T32" fmla="*/ 0 w 147"/>
                  <a:gd name="T33" fmla="*/ 115 h 115"/>
                  <a:gd name="T34" fmla="*/ 0 w 147"/>
                  <a:gd name="T35" fmla="*/ 1 h 115"/>
                  <a:gd name="T36" fmla="*/ 32 w 147"/>
                  <a:gd name="T37" fmla="*/ 1 h 115"/>
                  <a:gd name="T38" fmla="*/ 32 w 147"/>
                  <a:gd name="T39" fmla="*/ 37 h 115"/>
                  <a:gd name="T40" fmla="*/ 59 w 147"/>
                  <a:gd name="T41" fmla="*/ 37 h 115"/>
                  <a:gd name="T42" fmla="*/ 59 w 147"/>
                  <a:gd name="T43" fmla="*/ 37 h 115"/>
                  <a:gd name="T44" fmla="*/ 68 w 147"/>
                  <a:gd name="T45" fmla="*/ 37 h 115"/>
                  <a:gd name="T46" fmla="*/ 76 w 147"/>
                  <a:gd name="T47" fmla="*/ 39 h 115"/>
                  <a:gd name="T48" fmla="*/ 84 w 147"/>
                  <a:gd name="T49" fmla="*/ 42 h 115"/>
                  <a:gd name="T50" fmla="*/ 92 w 147"/>
                  <a:gd name="T51" fmla="*/ 46 h 115"/>
                  <a:gd name="T52" fmla="*/ 92 w 147"/>
                  <a:gd name="T53" fmla="*/ 46 h 115"/>
                  <a:gd name="T54" fmla="*/ 66 w 147"/>
                  <a:gd name="T55" fmla="*/ 88 h 115"/>
                  <a:gd name="T56" fmla="*/ 66 w 147"/>
                  <a:gd name="T57" fmla="*/ 88 h 115"/>
                  <a:gd name="T58" fmla="*/ 68 w 147"/>
                  <a:gd name="T59" fmla="*/ 85 h 115"/>
                  <a:gd name="T60" fmla="*/ 70 w 147"/>
                  <a:gd name="T61" fmla="*/ 82 h 115"/>
                  <a:gd name="T62" fmla="*/ 71 w 147"/>
                  <a:gd name="T63" fmla="*/ 79 h 115"/>
                  <a:gd name="T64" fmla="*/ 71 w 147"/>
                  <a:gd name="T65" fmla="*/ 76 h 115"/>
                  <a:gd name="T66" fmla="*/ 71 w 147"/>
                  <a:gd name="T67" fmla="*/ 76 h 115"/>
                  <a:gd name="T68" fmla="*/ 71 w 147"/>
                  <a:gd name="T69" fmla="*/ 72 h 115"/>
                  <a:gd name="T70" fmla="*/ 70 w 147"/>
                  <a:gd name="T71" fmla="*/ 69 h 115"/>
                  <a:gd name="T72" fmla="*/ 68 w 147"/>
                  <a:gd name="T73" fmla="*/ 67 h 115"/>
                  <a:gd name="T74" fmla="*/ 66 w 147"/>
                  <a:gd name="T75" fmla="*/ 64 h 115"/>
                  <a:gd name="T76" fmla="*/ 64 w 147"/>
                  <a:gd name="T77" fmla="*/ 63 h 115"/>
                  <a:gd name="T78" fmla="*/ 61 w 147"/>
                  <a:gd name="T79" fmla="*/ 62 h 115"/>
                  <a:gd name="T80" fmla="*/ 53 w 147"/>
                  <a:gd name="T81" fmla="*/ 61 h 115"/>
                  <a:gd name="T82" fmla="*/ 32 w 147"/>
                  <a:gd name="T83" fmla="*/ 61 h 115"/>
                  <a:gd name="T84" fmla="*/ 32 w 147"/>
                  <a:gd name="T85" fmla="*/ 92 h 115"/>
                  <a:gd name="T86" fmla="*/ 53 w 147"/>
                  <a:gd name="T87" fmla="*/ 92 h 115"/>
                  <a:gd name="T88" fmla="*/ 53 w 147"/>
                  <a:gd name="T89" fmla="*/ 92 h 115"/>
                  <a:gd name="T90" fmla="*/ 57 w 147"/>
                  <a:gd name="T91" fmla="*/ 92 h 115"/>
                  <a:gd name="T92" fmla="*/ 60 w 147"/>
                  <a:gd name="T93" fmla="*/ 91 h 115"/>
                  <a:gd name="T94" fmla="*/ 63 w 147"/>
                  <a:gd name="T95" fmla="*/ 90 h 115"/>
                  <a:gd name="T96" fmla="*/ 66 w 147"/>
                  <a:gd name="T97" fmla="*/ 88 h 115"/>
                  <a:gd name="T98" fmla="*/ 66 w 147"/>
                  <a:gd name="T99" fmla="*/ 88 h 115"/>
                  <a:gd name="T100" fmla="*/ 116 w 147"/>
                  <a:gd name="T101" fmla="*/ 0 h 115"/>
                  <a:gd name="T102" fmla="*/ 147 w 147"/>
                  <a:gd name="T103" fmla="*/ 0 h 115"/>
                  <a:gd name="T104" fmla="*/ 147 w 147"/>
                  <a:gd name="T105" fmla="*/ 115 h 115"/>
                  <a:gd name="T106" fmla="*/ 116 w 147"/>
                  <a:gd name="T107" fmla="*/ 115 h 115"/>
                  <a:gd name="T108" fmla="*/ 116 w 147"/>
                  <a:gd name="T109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47" h="115">
                    <a:moveTo>
                      <a:pt x="92" y="46"/>
                    </a:moveTo>
                    <a:lnTo>
                      <a:pt x="92" y="46"/>
                    </a:lnTo>
                    <a:lnTo>
                      <a:pt x="97" y="53"/>
                    </a:lnTo>
                    <a:lnTo>
                      <a:pt x="101" y="60"/>
                    </a:lnTo>
                    <a:lnTo>
                      <a:pt x="103" y="67"/>
                    </a:lnTo>
                    <a:lnTo>
                      <a:pt x="103" y="75"/>
                    </a:lnTo>
                    <a:lnTo>
                      <a:pt x="103" y="75"/>
                    </a:lnTo>
                    <a:lnTo>
                      <a:pt x="103" y="83"/>
                    </a:lnTo>
                    <a:lnTo>
                      <a:pt x="100" y="91"/>
                    </a:lnTo>
                    <a:lnTo>
                      <a:pt x="96" y="99"/>
                    </a:lnTo>
                    <a:lnTo>
                      <a:pt x="90" y="105"/>
                    </a:lnTo>
                    <a:lnTo>
                      <a:pt x="90" y="105"/>
                    </a:lnTo>
                    <a:lnTo>
                      <a:pt x="82" y="110"/>
                    </a:lnTo>
                    <a:lnTo>
                      <a:pt x="74" y="113"/>
                    </a:lnTo>
                    <a:lnTo>
                      <a:pt x="65" y="115"/>
                    </a:lnTo>
                    <a:lnTo>
                      <a:pt x="55" y="115"/>
                    </a:lnTo>
                    <a:lnTo>
                      <a:pt x="0" y="115"/>
                    </a:lnTo>
                    <a:lnTo>
                      <a:pt x="0" y="1"/>
                    </a:lnTo>
                    <a:lnTo>
                      <a:pt x="32" y="1"/>
                    </a:lnTo>
                    <a:lnTo>
                      <a:pt x="32" y="37"/>
                    </a:lnTo>
                    <a:lnTo>
                      <a:pt x="59" y="37"/>
                    </a:lnTo>
                    <a:lnTo>
                      <a:pt x="59" y="37"/>
                    </a:lnTo>
                    <a:lnTo>
                      <a:pt x="68" y="37"/>
                    </a:lnTo>
                    <a:lnTo>
                      <a:pt x="76" y="39"/>
                    </a:lnTo>
                    <a:lnTo>
                      <a:pt x="84" y="42"/>
                    </a:lnTo>
                    <a:lnTo>
                      <a:pt x="92" y="46"/>
                    </a:lnTo>
                    <a:lnTo>
                      <a:pt x="92" y="46"/>
                    </a:lnTo>
                    <a:close/>
                    <a:moveTo>
                      <a:pt x="66" y="88"/>
                    </a:moveTo>
                    <a:lnTo>
                      <a:pt x="66" y="88"/>
                    </a:lnTo>
                    <a:lnTo>
                      <a:pt x="68" y="85"/>
                    </a:lnTo>
                    <a:lnTo>
                      <a:pt x="70" y="82"/>
                    </a:lnTo>
                    <a:lnTo>
                      <a:pt x="71" y="79"/>
                    </a:lnTo>
                    <a:lnTo>
                      <a:pt x="71" y="76"/>
                    </a:lnTo>
                    <a:lnTo>
                      <a:pt x="71" y="76"/>
                    </a:lnTo>
                    <a:lnTo>
                      <a:pt x="71" y="72"/>
                    </a:lnTo>
                    <a:lnTo>
                      <a:pt x="70" y="69"/>
                    </a:lnTo>
                    <a:lnTo>
                      <a:pt x="68" y="67"/>
                    </a:lnTo>
                    <a:lnTo>
                      <a:pt x="66" y="64"/>
                    </a:lnTo>
                    <a:lnTo>
                      <a:pt x="64" y="63"/>
                    </a:lnTo>
                    <a:lnTo>
                      <a:pt x="61" y="62"/>
                    </a:lnTo>
                    <a:lnTo>
                      <a:pt x="53" y="61"/>
                    </a:lnTo>
                    <a:lnTo>
                      <a:pt x="32" y="61"/>
                    </a:lnTo>
                    <a:lnTo>
                      <a:pt x="32" y="92"/>
                    </a:lnTo>
                    <a:lnTo>
                      <a:pt x="53" y="92"/>
                    </a:lnTo>
                    <a:lnTo>
                      <a:pt x="53" y="92"/>
                    </a:lnTo>
                    <a:lnTo>
                      <a:pt x="57" y="92"/>
                    </a:lnTo>
                    <a:lnTo>
                      <a:pt x="60" y="91"/>
                    </a:lnTo>
                    <a:lnTo>
                      <a:pt x="63" y="90"/>
                    </a:lnTo>
                    <a:lnTo>
                      <a:pt x="66" y="88"/>
                    </a:lnTo>
                    <a:lnTo>
                      <a:pt x="66" y="88"/>
                    </a:lnTo>
                    <a:close/>
                    <a:moveTo>
                      <a:pt x="116" y="0"/>
                    </a:moveTo>
                    <a:lnTo>
                      <a:pt x="147" y="0"/>
                    </a:lnTo>
                    <a:lnTo>
                      <a:pt x="147" y="115"/>
                    </a:lnTo>
                    <a:lnTo>
                      <a:pt x="116" y="115"/>
                    </a:lnTo>
                    <a:lnTo>
                      <a:pt x="116" y="0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20">
                <a:extLst>
                  <a:ext uri="{FF2B5EF4-FFF2-40B4-BE49-F238E27FC236}">
                    <a16:creationId xmlns:a16="http://schemas.microsoft.com/office/drawing/2014/main" id="{26E1E813-93FB-4DEB-85D6-8314DFC7AB2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802941" y="1535113"/>
                <a:ext cx="74613" cy="90487"/>
              </a:xfrm>
              <a:custGeom>
                <a:avLst/>
                <a:gdLst>
                  <a:gd name="T0" fmla="*/ 92 w 92"/>
                  <a:gd name="T1" fmla="*/ 90 h 115"/>
                  <a:gd name="T2" fmla="*/ 92 w 92"/>
                  <a:gd name="T3" fmla="*/ 115 h 115"/>
                  <a:gd name="T4" fmla="*/ 0 w 92"/>
                  <a:gd name="T5" fmla="*/ 115 h 115"/>
                  <a:gd name="T6" fmla="*/ 0 w 92"/>
                  <a:gd name="T7" fmla="*/ 0 h 115"/>
                  <a:gd name="T8" fmla="*/ 90 w 92"/>
                  <a:gd name="T9" fmla="*/ 0 h 115"/>
                  <a:gd name="T10" fmla="*/ 90 w 92"/>
                  <a:gd name="T11" fmla="*/ 25 h 115"/>
                  <a:gd name="T12" fmla="*/ 32 w 92"/>
                  <a:gd name="T13" fmla="*/ 25 h 115"/>
                  <a:gd name="T14" fmla="*/ 32 w 92"/>
                  <a:gd name="T15" fmla="*/ 44 h 115"/>
                  <a:gd name="T16" fmla="*/ 83 w 92"/>
                  <a:gd name="T17" fmla="*/ 44 h 115"/>
                  <a:gd name="T18" fmla="*/ 83 w 92"/>
                  <a:gd name="T19" fmla="*/ 69 h 115"/>
                  <a:gd name="T20" fmla="*/ 32 w 92"/>
                  <a:gd name="T21" fmla="*/ 69 h 115"/>
                  <a:gd name="T22" fmla="*/ 32 w 92"/>
                  <a:gd name="T23" fmla="*/ 90 h 115"/>
                  <a:gd name="T24" fmla="*/ 92 w 92"/>
                  <a:gd name="T25" fmla="*/ 9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2" h="115">
                    <a:moveTo>
                      <a:pt x="92" y="90"/>
                    </a:moveTo>
                    <a:lnTo>
                      <a:pt x="9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25"/>
                    </a:lnTo>
                    <a:lnTo>
                      <a:pt x="32" y="25"/>
                    </a:lnTo>
                    <a:lnTo>
                      <a:pt x="32" y="44"/>
                    </a:lnTo>
                    <a:lnTo>
                      <a:pt x="83" y="44"/>
                    </a:lnTo>
                    <a:lnTo>
                      <a:pt x="83" y="69"/>
                    </a:lnTo>
                    <a:lnTo>
                      <a:pt x="32" y="69"/>
                    </a:lnTo>
                    <a:lnTo>
                      <a:pt x="32" y="90"/>
                    </a:lnTo>
                    <a:lnTo>
                      <a:pt x="92" y="90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21">
                <a:extLst>
                  <a:ext uri="{FF2B5EF4-FFF2-40B4-BE49-F238E27FC236}">
                    <a16:creationId xmlns:a16="http://schemas.microsoft.com/office/drawing/2014/main" id="{F381200C-4E0E-4605-822B-C826E4974271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934704" y="1535113"/>
                <a:ext cx="82550" cy="90487"/>
              </a:xfrm>
              <a:custGeom>
                <a:avLst/>
                <a:gdLst>
                  <a:gd name="T0" fmla="*/ 79 w 104"/>
                  <a:gd name="T1" fmla="*/ 5 h 115"/>
                  <a:gd name="T2" fmla="*/ 79 w 104"/>
                  <a:gd name="T3" fmla="*/ 5 h 115"/>
                  <a:gd name="T4" fmla="*/ 85 w 104"/>
                  <a:gd name="T5" fmla="*/ 8 h 115"/>
                  <a:gd name="T6" fmla="*/ 90 w 104"/>
                  <a:gd name="T7" fmla="*/ 12 h 115"/>
                  <a:gd name="T8" fmla="*/ 94 w 104"/>
                  <a:gd name="T9" fmla="*/ 16 h 115"/>
                  <a:gd name="T10" fmla="*/ 98 w 104"/>
                  <a:gd name="T11" fmla="*/ 20 h 115"/>
                  <a:gd name="T12" fmla="*/ 98 w 104"/>
                  <a:gd name="T13" fmla="*/ 20 h 115"/>
                  <a:gd name="T14" fmla="*/ 101 w 104"/>
                  <a:gd name="T15" fmla="*/ 27 h 115"/>
                  <a:gd name="T16" fmla="*/ 104 w 104"/>
                  <a:gd name="T17" fmla="*/ 35 h 115"/>
                  <a:gd name="T18" fmla="*/ 104 w 104"/>
                  <a:gd name="T19" fmla="*/ 43 h 115"/>
                  <a:gd name="T20" fmla="*/ 104 w 104"/>
                  <a:gd name="T21" fmla="*/ 51 h 115"/>
                  <a:gd name="T22" fmla="*/ 102 w 104"/>
                  <a:gd name="T23" fmla="*/ 59 h 115"/>
                  <a:gd name="T24" fmla="*/ 98 w 104"/>
                  <a:gd name="T25" fmla="*/ 66 h 115"/>
                  <a:gd name="T26" fmla="*/ 93 w 104"/>
                  <a:gd name="T27" fmla="*/ 72 h 115"/>
                  <a:gd name="T28" fmla="*/ 87 w 104"/>
                  <a:gd name="T29" fmla="*/ 77 h 115"/>
                  <a:gd name="T30" fmla="*/ 87 w 104"/>
                  <a:gd name="T31" fmla="*/ 77 h 115"/>
                  <a:gd name="T32" fmla="*/ 79 w 104"/>
                  <a:gd name="T33" fmla="*/ 81 h 115"/>
                  <a:gd name="T34" fmla="*/ 79 w 104"/>
                  <a:gd name="T35" fmla="*/ 81 h 115"/>
                  <a:gd name="T36" fmla="*/ 72 w 104"/>
                  <a:gd name="T37" fmla="*/ 83 h 115"/>
                  <a:gd name="T38" fmla="*/ 66 w 104"/>
                  <a:gd name="T39" fmla="*/ 85 h 115"/>
                  <a:gd name="T40" fmla="*/ 59 w 104"/>
                  <a:gd name="T41" fmla="*/ 85 h 115"/>
                  <a:gd name="T42" fmla="*/ 52 w 104"/>
                  <a:gd name="T43" fmla="*/ 86 h 115"/>
                  <a:gd name="T44" fmla="*/ 32 w 104"/>
                  <a:gd name="T45" fmla="*/ 86 h 115"/>
                  <a:gd name="T46" fmla="*/ 32 w 104"/>
                  <a:gd name="T47" fmla="*/ 115 h 115"/>
                  <a:gd name="T48" fmla="*/ 0 w 104"/>
                  <a:gd name="T49" fmla="*/ 115 h 115"/>
                  <a:gd name="T50" fmla="*/ 0 w 104"/>
                  <a:gd name="T51" fmla="*/ 0 h 115"/>
                  <a:gd name="T52" fmla="*/ 52 w 104"/>
                  <a:gd name="T53" fmla="*/ 0 h 115"/>
                  <a:gd name="T54" fmla="*/ 52 w 104"/>
                  <a:gd name="T55" fmla="*/ 0 h 115"/>
                  <a:gd name="T56" fmla="*/ 59 w 104"/>
                  <a:gd name="T57" fmla="*/ 1 h 115"/>
                  <a:gd name="T58" fmla="*/ 66 w 104"/>
                  <a:gd name="T59" fmla="*/ 2 h 115"/>
                  <a:gd name="T60" fmla="*/ 73 w 104"/>
                  <a:gd name="T61" fmla="*/ 3 h 115"/>
                  <a:gd name="T62" fmla="*/ 79 w 104"/>
                  <a:gd name="T63" fmla="*/ 5 h 115"/>
                  <a:gd name="T64" fmla="*/ 79 w 104"/>
                  <a:gd name="T65" fmla="*/ 5 h 115"/>
                  <a:gd name="T66" fmla="*/ 65 w 104"/>
                  <a:gd name="T67" fmla="*/ 56 h 115"/>
                  <a:gd name="T68" fmla="*/ 65 w 104"/>
                  <a:gd name="T69" fmla="*/ 56 h 115"/>
                  <a:gd name="T70" fmla="*/ 67 w 104"/>
                  <a:gd name="T71" fmla="*/ 53 h 115"/>
                  <a:gd name="T72" fmla="*/ 69 w 104"/>
                  <a:gd name="T73" fmla="*/ 50 h 115"/>
                  <a:gd name="T74" fmla="*/ 70 w 104"/>
                  <a:gd name="T75" fmla="*/ 46 h 115"/>
                  <a:gd name="T76" fmla="*/ 70 w 104"/>
                  <a:gd name="T77" fmla="*/ 43 h 115"/>
                  <a:gd name="T78" fmla="*/ 70 w 104"/>
                  <a:gd name="T79" fmla="*/ 43 h 115"/>
                  <a:gd name="T80" fmla="*/ 70 w 104"/>
                  <a:gd name="T81" fmla="*/ 39 h 115"/>
                  <a:gd name="T82" fmla="*/ 69 w 104"/>
                  <a:gd name="T83" fmla="*/ 36 h 115"/>
                  <a:gd name="T84" fmla="*/ 67 w 104"/>
                  <a:gd name="T85" fmla="*/ 33 h 115"/>
                  <a:gd name="T86" fmla="*/ 65 w 104"/>
                  <a:gd name="T87" fmla="*/ 30 h 115"/>
                  <a:gd name="T88" fmla="*/ 65 w 104"/>
                  <a:gd name="T89" fmla="*/ 30 h 115"/>
                  <a:gd name="T90" fmla="*/ 62 w 104"/>
                  <a:gd name="T91" fmla="*/ 28 h 115"/>
                  <a:gd name="T92" fmla="*/ 58 w 104"/>
                  <a:gd name="T93" fmla="*/ 27 h 115"/>
                  <a:gd name="T94" fmla="*/ 54 w 104"/>
                  <a:gd name="T95" fmla="*/ 26 h 115"/>
                  <a:gd name="T96" fmla="*/ 50 w 104"/>
                  <a:gd name="T97" fmla="*/ 26 h 115"/>
                  <a:gd name="T98" fmla="*/ 32 w 104"/>
                  <a:gd name="T99" fmla="*/ 26 h 115"/>
                  <a:gd name="T100" fmla="*/ 32 w 104"/>
                  <a:gd name="T101" fmla="*/ 60 h 115"/>
                  <a:gd name="T102" fmla="*/ 50 w 104"/>
                  <a:gd name="T103" fmla="*/ 60 h 115"/>
                  <a:gd name="T104" fmla="*/ 50 w 104"/>
                  <a:gd name="T105" fmla="*/ 60 h 115"/>
                  <a:gd name="T106" fmla="*/ 54 w 104"/>
                  <a:gd name="T107" fmla="*/ 60 h 115"/>
                  <a:gd name="T108" fmla="*/ 58 w 104"/>
                  <a:gd name="T109" fmla="*/ 59 h 115"/>
                  <a:gd name="T110" fmla="*/ 62 w 104"/>
                  <a:gd name="T111" fmla="*/ 58 h 115"/>
                  <a:gd name="T112" fmla="*/ 65 w 104"/>
                  <a:gd name="T113" fmla="*/ 56 h 115"/>
                  <a:gd name="T114" fmla="*/ 65 w 104"/>
                  <a:gd name="T115" fmla="*/ 56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04" h="115">
                    <a:moveTo>
                      <a:pt x="79" y="5"/>
                    </a:moveTo>
                    <a:lnTo>
                      <a:pt x="79" y="5"/>
                    </a:lnTo>
                    <a:lnTo>
                      <a:pt x="85" y="8"/>
                    </a:lnTo>
                    <a:lnTo>
                      <a:pt x="90" y="12"/>
                    </a:lnTo>
                    <a:lnTo>
                      <a:pt x="94" y="16"/>
                    </a:lnTo>
                    <a:lnTo>
                      <a:pt x="98" y="20"/>
                    </a:lnTo>
                    <a:lnTo>
                      <a:pt x="98" y="20"/>
                    </a:lnTo>
                    <a:lnTo>
                      <a:pt x="101" y="27"/>
                    </a:lnTo>
                    <a:lnTo>
                      <a:pt x="104" y="35"/>
                    </a:lnTo>
                    <a:lnTo>
                      <a:pt x="104" y="43"/>
                    </a:lnTo>
                    <a:lnTo>
                      <a:pt x="104" y="51"/>
                    </a:lnTo>
                    <a:lnTo>
                      <a:pt x="102" y="59"/>
                    </a:lnTo>
                    <a:lnTo>
                      <a:pt x="98" y="66"/>
                    </a:lnTo>
                    <a:lnTo>
                      <a:pt x="93" y="72"/>
                    </a:lnTo>
                    <a:lnTo>
                      <a:pt x="87" y="77"/>
                    </a:lnTo>
                    <a:lnTo>
                      <a:pt x="87" y="77"/>
                    </a:lnTo>
                    <a:lnTo>
                      <a:pt x="79" y="81"/>
                    </a:lnTo>
                    <a:lnTo>
                      <a:pt x="79" y="81"/>
                    </a:lnTo>
                    <a:lnTo>
                      <a:pt x="72" y="83"/>
                    </a:lnTo>
                    <a:lnTo>
                      <a:pt x="66" y="85"/>
                    </a:lnTo>
                    <a:lnTo>
                      <a:pt x="59" y="85"/>
                    </a:lnTo>
                    <a:lnTo>
                      <a:pt x="52" y="86"/>
                    </a:lnTo>
                    <a:lnTo>
                      <a:pt x="32" y="86"/>
                    </a:lnTo>
                    <a:lnTo>
                      <a:pt x="3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52" y="0"/>
                    </a:lnTo>
                    <a:lnTo>
                      <a:pt x="52" y="0"/>
                    </a:lnTo>
                    <a:lnTo>
                      <a:pt x="59" y="1"/>
                    </a:lnTo>
                    <a:lnTo>
                      <a:pt x="66" y="2"/>
                    </a:lnTo>
                    <a:lnTo>
                      <a:pt x="73" y="3"/>
                    </a:lnTo>
                    <a:lnTo>
                      <a:pt x="79" y="5"/>
                    </a:lnTo>
                    <a:lnTo>
                      <a:pt x="79" y="5"/>
                    </a:lnTo>
                    <a:close/>
                    <a:moveTo>
                      <a:pt x="65" y="56"/>
                    </a:moveTo>
                    <a:lnTo>
                      <a:pt x="65" y="56"/>
                    </a:lnTo>
                    <a:lnTo>
                      <a:pt x="67" y="53"/>
                    </a:lnTo>
                    <a:lnTo>
                      <a:pt x="69" y="50"/>
                    </a:lnTo>
                    <a:lnTo>
                      <a:pt x="70" y="46"/>
                    </a:lnTo>
                    <a:lnTo>
                      <a:pt x="70" y="43"/>
                    </a:lnTo>
                    <a:lnTo>
                      <a:pt x="70" y="43"/>
                    </a:lnTo>
                    <a:lnTo>
                      <a:pt x="70" y="39"/>
                    </a:lnTo>
                    <a:lnTo>
                      <a:pt x="69" y="36"/>
                    </a:lnTo>
                    <a:lnTo>
                      <a:pt x="67" y="33"/>
                    </a:lnTo>
                    <a:lnTo>
                      <a:pt x="65" y="30"/>
                    </a:lnTo>
                    <a:lnTo>
                      <a:pt x="65" y="30"/>
                    </a:lnTo>
                    <a:lnTo>
                      <a:pt x="62" y="28"/>
                    </a:lnTo>
                    <a:lnTo>
                      <a:pt x="58" y="27"/>
                    </a:lnTo>
                    <a:lnTo>
                      <a:pt x="54" y="26"/>
                    </a:lnTo>
                    <a:lnTo>
                      <a:pt x="50" y="26"/>
                    </a:lnTo>
                    <a:lnTo>
                      <a:pt x="32" y="26"/>
                    </a:lnTo>
                    <a:lnTo>
                      <a:pt x="32" y="60"/>
                    </a:lnTo>
                    <a:lnTo>
                      <a:pt x="50" y="60"/>
                    </a:lnTo>
                    <a:lnTo>
                      <a:pt x="50" y="60"/>
                    </a:lnTo>
                    <a:lnTo>
                      <a:pt x="54" y="60"/>
                    </a:lnTo>
                    <a:lnTo>
                      <a:pt x="58" y="59"/>
                    </a:lnTo>
                    <a:lnTo>
                      <a:pt x="62" y="58"/>
                    </a:lnTo>
                    <a:lnTo>
                      <a:pt x="65" y="56"/>
                    </a:lnTo>
                    <a:lnTo>
                      <a:pt x="65" y="56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22">
                <a:extLst>
                  <a:ext uri="{FF2B5EF4-FFF2-40B4-BE49-F238E27FC236}">
                    <a16:creationId xmlns:a16="http://schemas.microsoft.com/office/drawing/2014/main" id="{ADE4B0CF-4161-4213-A99B-BC7D1FCD661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029954" y="1535113"/>
                <a:ext cx="74613" cy="90487"/>
              </a:xfrm>
              <a:custGeom>
                <a:avLst/>
                <a:gdLst>
                  <a:gd name="T0" fmla="*/ 93 w 93"/>
                  <a:gd name="T1" fmla="*/ 90 h 115"/>
                  <a:gd name="T2" fmla="*/ 93 w 93"/>
                  <a:gd name="T3" fmla="*/ 115 h 115"/>
                  <a:gd name="T4" fmla="*/ 0 w 93"/>
                  <a:gd name="T5" fmla="*/ 115 h 115"/>
                  <a:gd name="T6" fmla="*/ 0 w 93"/>
                  <a:gd name="T7" fmla="*/ 0 h 115"/>
                  <a:gd name="T8" fmla="*/ 91 w 93"/>
                  <a:gd name="T9" fmla="*/ 0 h 115"/>
                  <a:gd name="T10" fmla="*/ 91 w 93"/>
                  <a:gd name="T11" fmla="*/ 25 h 115"/>
                  <a:gd name="T12" fmla="*/ 32 w 93"/>
                  <a:gd name="T13" fmla="*/ 25 h 115"/>
                  <a:gd name="T14" fmla="*/ 32 w 93"/>
                  <a:gd name="T15" fmla="*/ 44 h 115"/>
                  <a:gd name="T16" fmla="*/ 83 w 93"/>
                  <a:gd name="T17" fmla="*/ 44 h 115"/>
                  <a:gd name="T18" fmla="*/ 83 w 93"/>
                  <a:gd name="T19" fmla="*/ 69 h 115"/>
                  <a:gd name="T20" fmla="*/ 32 w 93"/>
                  <a:gd name="T21" fmla="*/ 69 h 115"/>
                  <a:gd name="T22" fmla="*/ 32 w 93"/>
                  <a:gd name="T23" fmla="*/ 90 h 115"/>
                  <a:gd name="T24" fmla="*/ 93 w 93"/>
                  <a:gd name="T25" fmla="*/ 9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3" h="115">
                    <a:moveTo>
                      <a:pt x="93" y="90"/>
                    </a:moveTo>
                    <a:lnTo>
                      <a:pt x="93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91" y="0"/>
                    </a:lnTo>
                    <a:lnTo>
                      <a:pt x="91" y="25"/>
                    </a:lnTo>
                    <a:lnTo>
                      <a:pt x="32" y="25"/>
                    </a:lnTo>
                    <a:lnTo>
                      <a:pt x="32" y="44"/>
                    </a:lnTo>
                    <a:lnTo>
                      <a:pt x="83" y="44"/>
                    </a:lnTo>
                    <a:lnTo>
                      <a:pt x="83" y="69"/>
                    </a:lnTo>
                    <a:lnTo>
                      <a:pt x="32" y="69"/>
                    </a:lnTo>
                    <a:lnTo>
                      <a:pt x="32" y="90"/>
                    </a:lnTo>
                    <a:lnTo>
                      <a:pt x="93" y="90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23">
                <a:extLst>
                  <a:ext uri="{FF2B5EF4-FFF2-40B4-BE49-F238E27FC236}">
                    <a16:creationId xmlns:a16="http://schemas.microsoft.com/office/drawing/2014/main" id="{A1194536-0A11-440F-9E70-6D17EE02DE8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122029" y="1535113"/>
                <a:ext cx="122238" cy="90487"/>
              </a:xfrm>
              <a:custGeom>
                <a:avLst/>
                <a:gdLst>
                  <a:gd name="T0" fmla="*/ 155 w 155"/>
                  <a:gd name="T1" fmla="*/ 0 h 115"/>
                  <a:gd name="T2" fmla="*/ 155 w 155"/>
                  <a:gd name="T3" fmla="*/ 115 h 115"/>
                  <a:gd name="T4" fmla="*/ 0 w 155"/>
                  <a:gd name="T5" fmla="*/ 115 h 115"/>
                  <a:gd name="T6" fmla="*/ 0 w 155"/>
                  <a:gd name="T7" fmla="*/ 0 h 115"/>
                  <a:gd name="T8" fmla="*/ 31 w 155"/>
                  <a:gd name="T9" fmla="*/ 0 h 115"/>
                  <a:gd name="T10" fmla="*/ 31 w 155"/>
                  <a:gd name="T11" fmla="*/ 90 h 115"/>
                  <a:gd name="T12" fmla="*/ 61 w 155"/>
                  <a:gd name="T13" fmla="*/ 90 h 115"/>
                  <a:gd name="T14" fmla="*/ 61 w 155"/>
                  <a:gd name="T15" fmla="*/ 0 h 115"/>
                  <a:gd name="T16" fmla="*/ 93 w 155"/>
                  <a:gd name="T17" fmla="*/ 0 h 115"/>
                  <a:gd name="T18" fmla="*/ 93 w 155"/>
                  <a:gd name="T19" fmla="*/ 90 h 115"/>
                  <a:gd name="T20" fmla="*/ 123 w 155"/>
                  <a:gd name="T21" fmla="*/ 90 h 115"/>
                  <a:gd name="T22" fmla="*/ 123 w 155"/>
                  <a:gd name="T23" fmla="*/ 0 h 115"/>
                  <a:gd name="T24" fmla="*/ 155 w 155"/>
                  <a:gd name="T25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5" h="115">
                    <a:moveTo>
                      <a:pt x="155" y="0"/>
                    </a:moveTo>
                    <a:lnTo>
                      <a:pt x="155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1" y="0"/>
                    </a:lnTo>
                    <a:lnTo>
                      <a:pt x="31" y="90"/>
                    </a:lnTo>
                    <a:lnTo>
                      <a:pt x="61" y="90"/>
                    </a:lnTo>
                    <a:lnTo>
                      <a:pt x="61" y="0"/>
                    </a:lnTo>
                    <a:lnTo>
                      <a:pt x="93" y="0"/>
                    </a:lnTo>
                    <a:lnTo>
                      <a:pt x="93" y="90"/>
                    </a:lnTo>
                    <a:lnTo>
                      <a:pt x="123" y="90"/>
                    </a:lnTo>
                    <a:lnTo>
                      <a:pt x="123" y="0"/>
                    </a:lnTo>
                    <a:lnTo>
                      <a:pt x="155" y="0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24">
                <a:extLst>
                  <a:ext uri="{FF2B5EF4-FFF2-40B4-BE49-F238E27FC236}">
                    <a16:creationId xmlns:a16="http://schemas.microsoft.com/office/drawing/2014/main" id="{3D75F519-0AFD-4A2F-AF88-56450B4CC07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268079" y="1535113"/>
                <a:ext cx="71438" cy="90487"/>
              </a:xfrm>
              <a:custGeom>
                <a:avLst/>
                <a:gdLst>
                  <a:gd name="T0" fmla="*/ 92 w 92"/>
                  <a:gd name="T1" fmla="*/ 90 h 115"/>
                  <a:gd name="T2" fmla="*/ 92 w 92"/>
                  <a:gd name="T3" fmla="*/ 115 h 115"/>
                  <a:gd name="T4" fmla="*/ 0 w 92"/>
                  <a:gd name="T5" fmla="*/ 115 h 115"/>
                  <a:gd name="T6" fmla="*/ 0 w 92"/>
                  <a:gd name="T7" fmla="*/ 0 h 115"/>
                  <a:gd name="T8" fmla="*/ 90 w 92"/>
                  <a:gd name="T9" fmla="*/ 0 h 115"/>
                  <a:gd name="T10" fmla="*/ 90 w 92"/>
                  <a:gd name="T11" fmla="*/ 25 h 115"/>
                  <a:gd name="T12" fmla="*/ 32 w 92"/>
                  <a:gd name="T13" fmla="*/ 25 h 115"/>
                  <a:gd name="T14" fmla="*/ 32 w 92"/>
                  <a:gd name="T15" fmla="*/ 44 h 115"/>
                  <a:gd name="T16" fmla="*/ 83 w 92"/>
                  <a:gd name="T17" fmla="*/ 44 h 115"/>
                  <a:gd name="T18" fmla="*/ 83 w 92"/>
                  <a:gd name="T19" fmla="*/ 69 h 115"/>
                  <a:gd name="T20" fmla="*/ 32 w 92"/>
                  <a:gd name="T21" fmla="*/ 69 h 115"/>
                  <a:gd name="T22" fmla="*/ 32 w 92"/>
                  <a:gd name="T23" fmla="*/ 90 h 115"/>
                  <a:gd name="T24" fmla="*/ 92 w 92"/>
                  <a:gd name="T25" fmla="*/ 9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2" h="115">
                    <a:moveTo>
                      <a:pt x="92" y="90"/>
                    </a:moveTo>
                    <a:lnTo>
                      <a:pt x="9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25"/>
                    </a:lnTo>
                    <a:lnTo>
                      <a:pt x="32" y="25"/>
                    </a:lnTo>
                    <a:lnTo>
                      <a:pt x="32" y="44"/>
                    </a:lnTo>
                    <a:lnTo>
                      <a:pt x="83" y="44"/>
                    </a:lnTo>
                    <a:lnTo>
                      <a:pt x="83" y="69"/>
                    </a:lnTo>
                    <a:lnTo>
                      <a:pt x="32" y="69"/>
                    </a:lnTo>
                    <a:lnTo>
                      <a:pt x="32" y="90"/>
                    </a:lnTo>
                    <a:lnTo>
                      <a:pt x="92" y="90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25">
                <a:extLst>
                  <a:ext uri="{FF2B5EF4-FFF2-40B4-BE49-F238E27FC236}">
                    <a16:creationId xmlns:a16="http://schemas.microsoft.com/office/drawing/2014/main" id="{9D4D273A-80C7-4AC5-B80B-0F26BC476B4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358566" y="1535113"/>
                <a:ext cx="85725" cy="90487"/>
              </a:xfrm>
              <a:custGeom>
                <a:avLst/>
                <a:gdLst>
                  <a:gd name="T0" fmla="*/ 109 w 109"/>
                  <a:gd name="T1" fmla="*/ 0 h 115"/>
                  <a:gd name="T2" fmla="*/ 109 w 109"/>
                  <a:gd name="T3" fmla="*/ 115 h 115"/>
                  <a:gd name="T4" fmla="*/ 77 w 109"/>
                  <a:gd name="T5" fmla="*/ 115 h 115"/>
                  <a:gd name="T6" fmla="*/ 77 w 109"/>
                  <a:gd name="T7" fmla="*/ 71 h 115"/>
                  <a:gd name="T8" fmla="*/ 32 w 109"/>
                  <a:gd name="T9" fmla="*/ 71 h 115"/>
                  <a:gd name="T10" fmla="*/ 32 w 109"/>
                  <a:gd name="T11" fmla="*/ 115 h 115"/>
                  <a:gd name="T12" fmla="*/ 0 w 109"/>
                  <a:gd name="T13" fmla="*/ 115 h 115"/>
                  <a:gd name="T14" fmla="*/ 0 w 109"/>
                  <a:gd name="T15" fmla="*/ 0 h 115"/>
                  <a:gd name="T16" fmla="*/ 32 w 109"/>
                  <a:gd name="T17" fmla="*/ 0 h 115"/>
                  <a:gd name="T18" fmla="*/ 32 w 109"/>
                  <a:gd name="T19" fmla="*/ 43 h 115"/>
                  <a:gd name="T20" fmla="*/ 77 w 109"/>
                  <a:gd name="T21" fmla="*/ 43 h 115"/>
                  <a:gd name="T22" fmla="*/ 77 w 109"/>
                  <a:gd name="T23" fmla="*/ 0 h 115"/>
                  <a:gd name="T24" fmla="*/ 109 w 109"/>
                  <a:gd name="T25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9" h="115">
                    <a:moveTo>
                      <a:pt x="109" y="0"/>
                    </a:moveTo>
                    <a:lnTo>
                      <a:pt x="109" y="115"/>
                    </a:lnTo>
                    <a:lnTo>
                      <a:pt x="77" y="115"/>
                    </a:lnTo>
                    <a:lnTo>
                      <a:pt x="77" y="71"/>
                    </a:lnTo>
                    <a:lnTo>
                      <a:pt x="32" y="71"/>
                    </a:lnTo>
                    <a:lnTo>
                      <a:pt x="3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2" y="0"/>
                    </a:lnTo>
                    <a:lnTo>
                      <a:pt x="32" y="43"/>
                    </a:lnTo>
                    <a:lnTo>
                      <a:pt x="77" y="43"/>
                    </a:lnTo>
                    <a:lnTo>
                      <a:pt x="77" y="0"/>
                    </a:lnTo>
                    <a:lnTo>
                      <a:pt x="109" y="0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26">
                <a:extLst>
                  <a:ext uri="{FF2B5EF4-FFF2-40B4-BE49-F238E27FC236}">
                    <a16:creationId xmlns:a16="http://schemas.microsoft.com/office/drawing/2014/main" id="{7400B0AB-33C5-4F74-8CEE-5D170CCB207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466516" y="1535113"/>
                <a:ext cx="87313" cy="90487"/>
              </a:xfrm>
              <a:custGeom>
                <a:avLst/>
                <a:gdLst>
                  <a:gd name="T0" fmla="*/ 0 w 110"/>
                  <a:gd name="T1" fmla="*/ 0 h 115"/>
                  <a:gd name="T2" fmla="*/ 32 w 110"/>
                  <a:gd name="T3" fmla="*/ 0 h 115"/>
                  <a:gd name="T4" fmla="*/ 32 w 110"/>
                  <a:gd name="T5" fmla="*/ 68 h 115"/>
                  <a:gd name="T6" fmla="*/ 80 w 110"/>
                  <a:gd name="T7" fmla="*/ 0 h 115"/>
                  <a:gd name="T8" fmla="*/ 110 w 110"/>
                  <a:gd name="T9" fmla="*/ 0 h 115"/>
                  <a:gd name="T10" fmla="*/ 110 w 110"/>
                  <a:gd name="T11" fmla="*/ 115 h 115"/>
                  <a:gd name="T12" fmla="*/ 78 w 110"/>
                  <a:gd name="T13" fmla="*/ 115 h 115"/>
                  <a:gd name="T14" fmla="*/ 78 w 110"/>
                  <a:gd name="T15" fmla="*/ 48 h 115"/>
                  <a:gd name="T16" fmla="*/ 30 w 110"/>
                  <a:gd name="T17" fmla="*/ 115 h 115"/>
                  <a:gd name="T18" fmla="*/ 0 w 110"/>
                  <a:gd name="T19" fmla="*/ 115 h 115"/>
                  <a:gd name="T20" fmla="*/ 0 w 110"/>
                  <a:gd name="T21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0" h="115">
                    <a:moveTo>
                      <a:pt x="0" y="0"/>
                    </a:moveTo>
                    <a:lnTo>
                      <a:pt x="32" y="0"/>
                    </a:lnTo>
                    <a:lnTo>
                      <a:pt x="32" y="68"/>
                    </a:lnTo>
                    <a:lnTo>
                      <a:pt x="80" y="0"/>
                    </a:lnTo>
                    <a:lnTo>
                      <a:pt x="110" y="0"/>
                    </a:lnTo>
                    <a:lnTo>
                      <a:pt x="110" y="115"/>
                    </a:lnTo>
                    <a:lnTo>
                      <a:pt x="78" y="115"/>
                    </a:lnTo>
                    <a:lnTo>
                      <a:pt x="78" y="48"/>
                    </a:lnTo>
                    <a:lnTo>
                      <a:pt x="30" y="115"/>
                    </a:lnTo>
                    <a:lnTo>
                      <a:pt x="0" y="11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27">
                <a:extLst>
                  <a:ext uri="{FF2B5EF4-FFF2-40B4-BE49-F238E27FC236}">
                    <a16:creationId xmlns:a16="http://schemas.microsoft.com/office/drawing/2014/main" id="{2CDDFA0F-6738-4265-9142-EFBE0F5B026F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1571291" y="1535113"/>
                <a:ext cx="80963" cy="90487"/>
              </a:xfrm>
              <a:custGeom>
                <a:avLst/>
                <a:gdLst>
                  <a:gd name="T0" fmla="*/ 103 w 103"/>
                  <a:gd name="T1" fmla="*/ 0 h 115"/>
                  <a:gd name="T2" fmla="*/ 103 w 103"/>
                  <a:gd name="T3" fmla="*/ 115 h 115"/>
                  <a:gd name="T4" fmla="*/ 71 w 103"/>
                  <a:gd name="T5" fmla="*/ 115 h 115"/>
                  <a:gd name="T6" fmla="*/ 71 w 103"/>
                  <a:gd name="T7" fmla="*/ 87 h 115"/>
                  <a:gd name="T8" fmla="*/ 54 w 103"/>
                  <a:gd name="T9" fmla="*/ 87 h 115"/>
                  <a:gd name="T10" fmla="*/ 34 w 103"/>
                  <a:gd name="T11" fmla="*/ 115 h 115"/>
                  <a:gd name="T12" fmla="*/ 0 w 103"/>
                  <a:gd name="T13" fmla="*/ 115 h 115"/>
                  <a:gd name="T14" fmla="*/ 23 w 103"/>
                  <a:gd name="T15" fmla="*/ 82 h 115"/>
                  <a:gd name="T16" fmla="*/ 23 w 103"/>
                  <a:gd name="T17" fmla="*/ 82 h 115"/>
                  <a:gd name="T18" fmla="*/ 18 w 103"/>
                  <a:gd name="T19" fmla="*/ 79 h 115"/>
                  <a:gd name="T20" fmla="*/ 13 w 103"/>
                  <a:gd name="T21" fmla="*/ 76 h 115"/>
                  <a:gd name="T22" fmla="*/ 9 w 103"/>
                  <a:gd name="T23" fmla="*/ 72 h 115"/>
                  <a:gd name="T24" fmla="*/ 6 w 103"/>
                  <a:gd name="T25" fmla="*/ 67 h 115"/>
                  <a:gd name="T26" fmla="*/ 6 w 103"/>
                  <a:gd name="T27" fmla="*/ 67 h 115"/>
                  <a:gd name="T28" fmla="*/ 3 w 103"/>
                  <a:gd name="T29" fmla="*/ 62 h 115"/>
                  <a:gd name="T30" fmla="*/ 1 w 103"/>
                  <a:gd name="T31" fmla="*/ 57 h 115"/>
                  <a:gd name="T32" fmla="*/ 0 w 103"/>
                  <a:gd name="T33" fmla="*/ 51 h 115"/>
                  <a:gd name="T34" fmla="*/ 0 w 103"/>
                  <a:gd name="T35" fmla="*/ 44 h 115"/>
                  <a:gd name="T36" fmla="*/ 0 w 103"/>
                  <a:gd name="T37" fmla="*/ 44 h 115"/>
                  <a:gd name="T38" fmla="*/ 0 w 103"/>
                  <a:gd name="T39" fmla="*/ 38 h 115"/>
                  <a:gd name="T40" fmla="*/ 1 w 103"/>
                  <a:gd name="T41" fmla="*/ 32 h 115"/>
                  <a:gd name="T42" fmla="*/ 3 w 103"/>
                  <a:gd name="T43" fmla="*/ 26 h 115"/>
                  <a:gd name="T44" fmla="*/ 6 w 103"/>
                  <a:gd name="T45" fmla="*/ 21 h 115"/>
                  <a:gd name="T46" fmla="*/ 6 w 103"/>
                  <a:gd name="T47" fmla="*/ 21 h 115"/>
                  <a:gd name="T48" fmla="*/ 10 w 103"/>
                  <a:gd name="T49" fmla="*/ 16 h 115"/>
                  <a:gd name="T50" fmla="*/ 14 w 103"/>
                  <a:gd name="T51" fmla="*/ 12 h 115"/>
                  <a:gd name="T52" fmla="*/ 19 w 103"/>
                  <a:gd name="T53" fmla="*/ 8 h 115"/>
                  <a:gd name="T54" fmla="*/ 24 w 103"/>
                  <a:gd name="T55" fmla="*/ 6 h 115"/>
                  <a:gd name="T56" fmla="*/ 24 w 103"/>
                  <a:gd name="T57" fmla="*/ 6 h 115"/>
                  <a:gd name="T58" fmla="*/ 30 w 103"/>
                  <a:gd name="T59" fmla="*/ 3 h 115"/>
                  <a:gd name="T60" fmla="*/ 37 w 103"/>
                  <a:gd name="T61" fmla="*/ 2 h 115"/>
                  <a:gd name="T62" fmla="*/ 45 w 103"/>
                  <a:gd name="T63" fmla="*/ 1 h 115"/>
                  <a:gd name="T64" fmla="*/ 52 w 103"/>
                  <a:gd name="T65" fmla="*/ 1 h 115"/>
                  <a:gd name="T66" fmla="*/ 103 w 103"/>
                  <a:gd name="T67" fmla="*/ 0 h 115"/>
                  <a:gd name="T68" fmla="*/ 32 w 103"/>
                  <a:gd name="T69" fmla="*/ 43 h 115"/>
                  <a:gd name="T70" fmla="*/ 32 w 103"/>
                  <a:gd name="T71" fmla="*/ 43 h 115"/>
                  <a:gd name="T72" fmla="*/ 33 w 103"/>
                  <a:gd name="T73" fmla="*/ 48 h 115"/>
                  <a:gd name="T74" fmla="*/ 34 w 103"/>
                  <a:gd name="T75" fmla="*/ 51 h 115"/>
                  <a:gd name="T76" fmla="*/ 35 w 103"/>
                  <a:gd name="T77" fmla="*/ 54 h 115"/>
                  <a:gd name="T78" fmla="*/ 37 w 103"/>
                  <a:gd name="T79" fmla="*/ 57 h 115"/>
                  <a:gd name="T80" fmla="*/ 37 w 103"/>
                  <a:gd name="T81" fmla="*/ 57 h 115"/>
                  <a:gd name="T82" fmla="*/ 42 w 103"/>
                  <a:gd name="T83" fmla="*/ 59 h 115"/>
                  <a:gd name="T84" fmla="*/ 45 w 103"/>
                  <a:gd name="T85" fmla="*/ 61 h 115"/>
                  <a:gd name="T86" fmla="*/ 49 w 103"/>
                  <a:gd name="T87" fmla="*/ 62 h 115"/>
                  <a:gd name="T88" fmla="*/ 52 w 103"/>
                  <a:gd name="T89" fmla="*/ 62 h 115"/>
                  <a:gd name="T90" fmla="*/ 72 w 103"/>
                  <a:gd name="T91" fmla="*/ 62 h 115"/>
                  <a:gd name="T92" fmla="*/ 72 w 103"/>
                  <a:gd name="T93" fmla="*/ 26 h 115"/>
                  <a:gd name="T94" fmla="*/ 53 w 103"/>
                  <a:gd name="T95" fmla="*/ 26 h 115"/>
                  <a:gd name="T96" fmla="*/ 53 w 103"/>
                  <a:gd name="T97" fmla="*/ 26 h 115"/>
                  <a:gd name="T98" fmla="*/ 48 w 103"/>
                  <a:gd name="T99" fmla="*/ 26 h 115"/>
                  <a:gd name="T100" fmla="*/ 44 w 103"/>
                  <a:gd name="T101" fmla="*/ 27 h 115"/>
                  <a:gd name="T102" fmla="*/ 41 w 103"/>
                  <a:gd name="T103" fmla="*/ 28 h 115"/>
                  <a:gd name="T104" fmla="*/ 37 w 103"/>
                  <a:gd name="T105" fmla="*/ 30 h 115"/>
                  <a:gd name="T106" fmla="*/ 35 w 103"/>
                  <a:gd name="T107" fmla="*/ 32 h 115"/>
                  <a:gd name="T108" fmla="*/ 34 w 103"/>
                  <a:gd name="T109" fmla="*/ 35 h 115"/>
                  <a:gd name="T110" fmla="*/ 33 w 103"/>
                  <a:gd name="T111" fmla="*/ 39 h 115"/>
                  <a:gd name="T112" fmla="*/ 32 w 103"/>
                  <a:gd name="T113" fmla="*/ 43 h 115"/>
                  <a:gd name="T114" fmla="*/ 32 w 103"/>
                  <a:gd name="T115" fmla="*/ 43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03" h="115">
                    <a:moveTo>
                      <a:pt x="103" y="0"/>
                    </a:moveTo>
                    <a:lnTo>
                      <a:pt x="103" y="115"/>
                    </a:lnTo>
                    <a:lnTo>
                      <a:pt x="71" y="115"/>
                    </a:lnTo>
                    <a:lnTo>
                      <a:pt x="71" y="87"/>
                    </a:lnTo>
                    <a:lnTo>
                      <a:pt x="54" y="87"/>
                    </a:lnTo>
                    <a:lnTo>
                      <a:pt x="34" y="115"/>
                    </a:lnTo>
                    <a:lnTo>
                      <a:pt x="0" y="115"/>
                    </a:lnTo>
                    <a:lnTo>
                      <a:pt x="23" y="82"/>
                    </a:lnTo>
                    <a:lnTo>
                      <a:pt x="23" y="82"/>
                    </a:lnTo>
                    <a:lnTo>
                      <a:pt x="18" y="79"/>
                    </a:lnTo>
                    <a:lnTo>
                      <a:pt x="13" y="76"/>
                    </a:lnTo>
                    <a:lnTo>
                      <a:pt x="9" y="72"/>
                    </a:lnTo>
                    <a:lnTo>
                      <a:pt x="6" y="67"/>
                    </a:lnTo>
                    <a:lnTo>
                      <a:pt x="6" y="67"/>
                    </a:lnTo>
                    <a:lnTo>
                      <a:pt x="3" y="62"/>
                    </a:lnTo>
                    <a:lnTo>
                      <a:pt x="1" y="57"/>
                    </a:lnTo>
                    <a:lnTo>
                      <a:pt x="0" y="51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38"/>
                    </a:lnTo>
                    <a:lnTo>
                      <a:pt x="1" y="32"/>
                    </a:lnTo>
                    <a:lnTo>
                      <a:pt x="3" y="26"/>
                    </a:lnTo>
                    <a:lnTo>
                      <a:pt x="6" y="21"/>
                    </a:lnTo>
                    <a:lnTo>
                      <a:pt x="6" y="21"/>
                    </a:lnTo>
                    <a:lnTo>
                      <a:pt x="10" y="16"/>
                    </a:lnTo>
                    <a:lnTo>
                      <a:pt x="14" y="12"/>
                    </a:lnTo>
                    <a:lnTo>
                      <a:pt x="19" y="8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30" y="3"/>
                    </a:lnTo>
                    <a:lnTo>
                      <a:pt x="37" y="2"/>
                    </a:lnTo>
                    <a:lnTo>
                      <a:pt x="45" y="1"/>
                    </a:lnTo>
                    <a:lnTo>
                      <a:pt x="52" y="1"/>
                    </a:lnTo>
                    <a:lnTo>
                      <a:pt x="103" y="0"/>
                    </a:lnTo>
                    <a:close/>
                    <a:moveTo>
                      <a:pt x="32" y="43"/>
                    </a:moveTo>
                    <a:lnTo>
                      <a:pt x="32" y="43"/>
                    </a:lnTo>
                    <a:lnTo>
                      <a:pt x="33" y="48"/>
                    </a:lnTo>
                    <a:lnTo>
                      <a:pt x="34" y="51"/>
                    </a:lnTo>
                    <a:lnTo>
                      <a:pt x="35" y="54"/>
                    </a:lnTo>
                    <a:lnTo>
                      <a:pt x="37" y="57"/>
                    </a:lnTo>
                    <a:lnTo>
                      <a:pt x="37" y="57"/>
                    </a:lnTo>
                    <a:lnTo>
                      <a:pt x="42" y="59"/>
                    </a:lnTo>
                    <a:lnTo>
                      <a:pt x="45" y="61"/>
                    </a:lnTo>
                    <a:lnTo>
                      <a:pt x="49" y="62"/>
                    </a:lnTo>
                    <a:lnTo>
                      <a:pt x="52" y="62"/>
                    </a:lnTo>
                    <a:lnTo>
                      <a:pt x="72" y="62"/>
                    </a:lnTo>
                    <a:lnTo>
                      <a:pt x="72" y="26"/>
                    </a:lnTo>
                    <a:lnTo>
                      <a:pt x="53" y="26"/>
                    </a:lnTo>
                    <a:lnTo>
                      <a:pt x="53" y="26"/>
                    </a:lnTo>
                    <a:lnTo>
                      <a:pt x="48" y="26"/>
                    </a:lnTo>
                    <a:lnTo>
                      <a:pt x="44" y="27"/>
                    </a:lnTo>
                    <a:lnTo>
                      <a:pt x="41" y="28"/>
                    </a:lnTo>
                    <a:lnTo>
                      <a:pt x="37" y="30"/>
                    </a:lnTo>
                    <a:lnTo>
                      <a:pt x="35" y="32"/>
                    </a:lnTo>
                    <a:lnTo>
                      <a:pt x="34" y="35"/>
                    </a:lnTo>
                    <a:lnTo>
                      <a:pt x="33" y="39"/>
                    </a:lnTo>
                    <a:lnTo>
                      <a:pt x="32" y="43"/>
                    </a:lnTo>
                    <a:lnTo>
                      <a:pt x="32" y="43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27F60429-D8E6-46C8-A866-5264CB7DA6D2}"/>
                </a:ext>
              </a:extLst>
            </p:cNvPr>
            <p:cNvGrpSpPr/>
            <p:nvPr userDrawn="1"/>
          </p:nvGrpSpPr>
          <p:grpSpPr>
            <a:xfrm>
              <a:off x="10332720" y="658368"/>
              <a:ext cx="670092" cy="617763"/>
              <a:chOff x="10301291" y="611188"/>
              <a:chExt cx="731838" cy="674687"/>
            </a:xfrm>
          </p:grpSpPr>
          <p:sp>
            <p:nvSpPr>
              <p:cNvPr id="46" name="Freeform 28">
                <a:extLst>
                  <a:ext uri="{FF2B5EF4-FFF2-40B4-BE49-F238E27FC236}">
                    <a16:creationId xmlns:a16="http://schemas.microsoft.com/office/drawing/2014/main" id="{28A95870-73ED-4C5B-A998-069C2CD3175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301291" y="611188"/>
                <a:ext cx="731838" cy="674687"/>
              </a:xfrm>
              <a:custGeom>
                <a:avLst/>
                <a:gdLst>
                  <a:gd name="T0" fmla="*/ 922 w 922"/>
                  <a:gd name="T1" fmla="*/ 0 h 850"/>
                  <a:gd name="T2" fmla="*/ 922 w 922"/>
                  <a:gd name="T3" fmla="*/ 850 h 850"/>
                  <a:gd name="T4" fmla="*/ 0 w 922"/>
                  <a:gd name="T5" fmla="*/ 850 h 850"/>
                  <a:gd name="T6" fmla="*/ 922 w 922"/>
                  <a:gd name="T7" fmla="*/ 0 h 8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22" h="850">
                    <a:moveTo>
                      <a:pt x="922" y="0"/>
                    </a:moveTo>
                    <a:lnTo>
                      <a:pt x="922" y="850"/>
                    </a:lnTo>
                    <a:lnTo>
                      <a:pt x="0" y="850"/>
                    </a:lnTo>
                    <a:lnTo>
                      <a:pt x="922" y="0"/>
                    </a:lnTo>
                    <a:close/>
                  </a:path>
                </a:pathLst>
              </a:custGeom>
              <a:solidFill>
                <a:srgbClr val="46AC4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9">
                <a:extLst>
                  <a:ext uri="{FF2B5EF4-FFF2-40B4-BE49-F238E27FC236}">
                    <a16:creationId xmlns:a16="http://schemas.microsoft.com/office/drawing/2014/main" id="{077A28EB-7A52-43A5-AEAB-5D1CD777409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877554" y="611188"/>
                <a:ext cx="155575" cy="674687"/>
              </a:xfrm>
              <a:custGeom>
                <a:avLst/>
                <a:gdLst>
                  <a:gd name="T0" fmla="*/ 196 w 196"/>
                  <a:gd name="T1" fmla="*/ 0 h 850"/>
                  <a:gd name="T2" fmla="*/ 196 w 196"/>
                  <a:gd name="T3" fmla="*/ 850 h 850"/>
                  <a:gd name="T4" fmla="*/ 0 w 196"/>
                  <a:gd name="T5" fmla="*/ 850 h 850"/>
                  <a:gd name="T6" fmla="*/ 0 w 196"/>
                  <a:gd name="T7" fmla="*/ 181 h 850"/>
                  <a:gd name="T8" fmla="*/ 196 w 196"/>
                  <a:gd name="T9" fmla="*/ 0 h 8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6" h="850">
                    <a:moveTo>
                      <a:pt x="196" y="0"/>
                    </a:moveTo>
                    <a:lnTo>
                      <a:pt x="196" y="850"/>
                    </a:lnTo>
                    <a:lnTo>
                      <a:pt x="0" y="850"/>
                    </a:lnTo>
                    <a:lnTo>
                      <a:pt x="0" y="181"/>
                    </a:lnTo>
                    <a:lnTo>
                      <a:pt x="196" y="0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30">
                <a:extLst>
                  <a:ext uri="{FF2B5EF4-FFF2-40B4-BE49-F238E27FC236}">
                    <a16:creationId xmlns:a16="http://schemas.microsoft.com/office/drawing/2014/main" id="{A66B1B05-708F-478A-AA1C-103AD1DAEDE9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301291" y="625475"/>
                <a:ext cx="493713" cy="660400"/>
              </a:xfrm>
              <a:custGeom>
                <a:avLst/>
                <a:gdLst>
                  <a:gd name="T0" fmla="*/ 339 w 622"/>
                  <a:gd name="T1" fmla="*/ 302 h 833"/>
                  <a:gd name="T2" fmla="*/ 366 w 622"/>
                  <a:gd name="T3" fmla="*/ 303 h 833"/>
                  <a:gd name="T4" fmla="*/ 419 w 622"/>
                  <a:gd name="T5" fmla="*/ 309 h 833"/>
                  <a:gd name="T6" fmla="*/ 447 w 622"/>
                  <a:gd name="T7" fmla="*/ 315 h 833"/>
                  <a:gd name="T8" fmla="*/ 493 w 622"/>
                  <a:gd name="T9" fmla="*/ 332 h 833"/>
                  <a:gd name="T10" fmla="*/ 536 w 622"/>
                  <a:gd name="T11" fmla="*/ 358 h 833"/>
                  <a:gd name="T12" fmla="*/ 546 w 622"/>
                  <a:gd name="T13" fmla="*/ 366 h 833"/>
                  <a:gd name="T14" fmla="*/ 564 w 622"/>
                  <a:gd name="T15" fmla="*/ 383 h 833"/>
                  <a:gd name="T16" fmla="*/ 580 w 622"/>
                  <a:gd name="T17" fmla="*/ 404 h 833"/>
                  <a:gd name="T18" fmla="*/ 594 w 622"/>
                  <a:gd name="T19" fmla="*/ 428 h 833"/>
                  <a:gd name="T20" fmla="*/ 600 w 622"/>
                  <a:gd name="T21" fmla="*/ 440 h 833"/>
                  <a:gd name="T22" fmla="*/ 609 w 622"/>
                  <a:gd name="T23" fmla="*/ 468 h 833"/>
                  <a:gd name="T24" fmla="*/ 616 w 622"/>
                  <a:gd name="T25" fmla="*/ 500 h 833"/>
                  <a:gd name="T26" fmla="*/ 620 w 622"/>
                  <a:gd name="T27" fmla="*/ 532 h 833"/>
                  <a:gd name="T28" fmla="*/ 622 w 622"/>
                  <a:gd name="T29" fmla="*/ 568 h 833"/>
                  <a:gd name="T30" fmla="*/ 621 w 622"/>
                  <a:gd name="T31" fmla="*/ 586 h 833"/>
                  <a:gd name="T32" fmla="*/ 619 w 622"/>
                  <a:gd name="T33" fmla="*/ 620 h 833"/>
                  <a:gd name="T34" fmla="*/ 613 w 622"/>
                  <a:gd name="T35" fmla="*/ 653 h 833"/>
                  <a:gd name="T36" fmla="*/ 605 w 622"/>
                  <a:gd name="T37" fmla="*/ 682 h 833"/>
                  <a:gd name="T38" fmla="*/ 600 w 622"/>
                  <a:gd name="T39" fmla="*/ 695 h 833"/>
                  <a:gd name="T40" fmla="*/ 587 w 622"/>
                  <a:gd name="T41" fmla="*/ 720 h 833"/>
                  <a:gd name="T42" fmla="*/ 573 w 622"/>
                  <a:gd name="T43" fmla="*/ 742 h 833"/>
                  <a:gd name="T44" fmla="*/ 555 w 622"/>
                  <a:gd name="T45" fmla="*/ 761 h 833"/>
                  <a:gd name="T46" fmla="*/ 536 w 622"/>
                  <a:gd name="T47" fmla="*/ 779 h 833"/>
                  <a:gd name="T48" fmla="*/ 515 w 622"/>
                  <a:gd name="T49" fmla="*/ 792 h 833"/>
                  <a:gd name="T50" fmla="*/ 470 w 622"/>
                  <a:gd name="T51" fmla="*/ 813 h 833"/>
                  <a:gd name="T52" fmla="*/ 447 w 622"/>
                  <a:gd name="T53" fmla="*/ 820 h 833"/>
                  <a:gd name="T54" fmla="*/ 392 w 622"/>
                  <a:gd name="T55" fmla="*/ 830 h 833"/>
                  <a:gd name="T56" fmla="*/ 338 w 622"/>
                  <a:gd name="T57" fmla="*/ 833 h 833"/>
                  <a:gd name="T58" fmla="*/ 0 w 622"/>
                  <a:gd name="T59" fmla="*/ 0 h 833"/>
                  <a:gd name="T60" fmla="*/ 558 w 622"/>
                  <a:gd name="T61" fmla="*/ 187 h 833"/>
                  <a:gd name="T62" fmla="*/ 187 w 622"/>
                  <a:gd name="T63" fmla="*/ 302 h 833"/>
                  <a:gd name="T64" fmla="*/ 338 w 622"/>
                  <a:gd name="T65" fmla="*/ 661 h 833"/>
                  <a:gd name="T66" fmla="*/ 349 w 622"/>
                  <a:gd name="T67" fmla="*/ 660 h 833"/>
                  <a:gd name="T68" fmla="*/ 368 w 622"/>
                  <a:gd name="T69" fmla="*/ 658 h 833"/>
                  <a:gd name="T70" fmla="*/ 384 w 622"/>
                  <a:gd name="T71" fmla="*/ 652 h 833"/>
                  <a:gd name="T72" fmla="*/ 397 w 622"/>
                  <a:gd name="T73" fmla="*/ 644 h 833"/>
                  <a:gd name="T74" fmla="*/ 408 w 622"/>
                  <a:gd name="T75" fmla="*/ 634 h 833"/>
                  <a:gd name="T76" fmla="*/ 416 w 622"/>
                  <a:gd name="T77" fmla="*/ 620 h 833"/>
                  <a:gd name="T78" fmla="*/ 422 w 622"/>
                  <a:gd name="T79" fmla="*/ 604 h 833"/>
                  <a:gd name="T80" fmla="*/ 424 w 622"/>
                  <a:gd name="T81" fmla="*/ 586 h 833"/>
                  <a:gd name="T82" fmla="*/ 425 w 622"/>
                  <a:gd name="T83" fmla="*/ 575 h 833"/>
                  <a:gd name="T84" fmla="*/ 423 w 622"/>
                  <a:gd name="T85" fmla="*/ 556 h 833"/>
                  <a:gd name="T86" fmla="*/ 419 w 622"/>
                  <a:gd name="T87" fmla="*/ 539 h 833"/>
                  <a:gd name="T88" fmla="*/ 413 w 622"/>
                  <a:gd name="T89" fmla="*/ 524 h 833"/>
                  <a:gd name="T90" fmla="*/ 403 w 622"/>
                  <a:gd name="T91" fmla="*/ 512 h 833"/>
                  <a:gd name="T92" fmla="*/ 391 w 622"/>
                  <a:gd name="T93" fmla="*/ 503 h 833"/>
                  <a:gd name="T94" fmla="*/ 376 w 622"/>
                  <a:gd name="T95" fmla="*/ 497 h 833"/>
                  <a:gd name="T96" fmla="*/ 358 w 622"/>
                  <a:gd name="T97" fmla="*/ 493 h 833"/>
                  <a:gd name="T98" fmla="*/ 338 w 622"/>
                  <a:gd name="T99" fmla="*/ 491 h 833"/>
                  <a:gd name="T100" fmla="*/ 187 w 622"/>
                  <a:gd name="T101" fmla="*/ 661 h 8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622" h="833">
                    <a:moveTo>
                      <a:pt x="187" y="302"/>
                    </a:moveTo>
                    <a:lnTo>
                      <a:pt x="339" y="302"/>
                    </a:lnTo>
                    <a:lnTo>
                      <a:pt x="339" y="302"/>
                    </a:lnTo>
                    <a:lnTo>
                      <a:pt x="366" y="303"/>
                    </a:lnTo>
                    <a:lnTo>
                      <a:pt x="393" y="305"/>
                    </a:lnTo>
                    <a:lnTo>
                      <a:pt x="419" y="309"/>
                    </a:lnTo>
                    <a:lnTo>
                      <a:pt x="447" y="315"/>
                    </a:lnTo>
                    <a:lnTo>
                      <a:pt x="447" y="315"/>
                    </a:lnTo>
                    <a:lnTo>
                      <a:pt x="471" y="323"/>
                    </a:lnTo>
                    <a:lnTo>
                      <a:pt x="493" y="332"/>
                    </a:lnTo>
                    <a:lnTo>
                      <a:pt x="515" y="345"/>
                    </a:lnTo>
                    <a:lnTo>
                      <a:pt x="536" y="358"/>
                    </a:lnTo>
                    <a:lnTo>
                      <a:pt x="536" y="358"/>
                    </a:lnTo>
                    <a:lnTo>
                      <a:pt x="546" y="366"/>
                    </a:lnTo>
                    <a:lnTo>
                      <a:pt x="555" y="374"/>
                    </a:lnTo>
                    <a:lnTo>
                      <a:pt x="564" y="383"/>
                    </a:lnTo>
                    <a:lnTo>
                      <a:pt x="573" y="393"/>
                    </a:lnTo>
                    <a:lnTo>
                      <a:pt x="580" y="404"/>
                    </a:lnTo>
                    <a:lnTo>
                      <a:pt x="587" y="415"/>
                    </a:lnTo>
                    <a:lnTo>
                      <a:pt x="594" y="428"/>
                    </a:lnTo>
                    <a:lnTo>
                      <a:pt x="600" y="440"/>
                    </a:lnTo>
                    <a:lnTo>
                      <a:pt x="600" y="440"/>
                    </a:lnTo>
                    <a:lnTo>
                      <a:pt x="605" y="454"/>
                    </a:lnTo>
                    <a:lnTo>
                      <a:pt x="609" y="468"/>
                    </a:lnTo>
                    <a:lnTo>
                      <a:pt x="613" y="484"/>
                    </a:lnTo>
                    <a:lnTo>
                      <a:pt x="616" y="500"/>
                    </a:lnTo>
                    <a:lnTo>
                      <a:pt x="619" y="516"/>
                    </a:lnTo>
                    <a:lnTo>
                      <a:pt x="620" y="532"/>
                    </a:lnTo>
                    <a:lnTo>
                      <a:pt x="621" y="550"/>
                    </a:lnTo>
                    <a:lnTo>
                      <a:pt x="622" y="568"/>
                    </a:lnTo>
                    <a:lnTo>
                      <a:pt x="622" y="568"/>
                    </a:lnTo>
                    <a:lnTo>
                      <a:pt x="621" y="586"/>
                    </a:lnTo>
                    <a:lnTo>
                      <a:pt x="620" y="603"/>
                    </a:lnTo>
                    <a:lnTo>
                      <a:pt x="619" y="620"/>
                    </a:lnTo>
                    <a:lnTo>
                      <a:pt x="616" y="637"/>
                    </a:lnTo>
                    <a:lnTo>
                      <a:pt x="613" y="653"/>
                    </a:lnTo>
                    <a:lnTo>
                      <a:pt x="609" y="668"/>
                    </a:lnTo>
                    <a:lnTo>
                      <a:pt x="605" y="682"/>
                    </a:lnTo>
                    <a:lnTo>
                      <a:pt x="600" y="695"/>
                    </a:lnTo>
                    <a:lnTo>
                      <a:pt x="600" y="695"/>
                    </a:lnTo>
                    <a:lnTo>
                      <a:pt x="594" y="708"/>
                    </a:lnTo>
                    <a:lnTo>
                      <a:pt x="587" y="720"/>
                    </a:lnTo>
                    <a:lnTo>
                      <a:pt x="580" y="732"/>
                    </a:lnTo>
                    <a:lnTo>
                      <a:pt x="573" y="742"/>
                    </a:lnTo>
                    <a:lnTo>
                      <a:pt x="564" y="752"/>
                    </a:lnTo>
                    <a:lnTo>
                      <a:pt x="555" y="761"/>
                    </a:lnTo>
                    <a:lnTo>
                      <a:pt x="546" y="771"/>
                    </a:lnTo>
                    <a:lnTo>
                      <a:pt x="536" y="779"/>
                    </a:lnTo>
                    <a:lnTo>
                      <a:pt x="536" y="779"/>
                    </a:lnTo>
                    <a:lnTo>
                      <a:pt x="515" y="792"/>
                    </a:lnTo>
                    <a:lnTo>
                      <a:pt x="493" y="804"/>
                    </a:lnTo>
                    <a:lnTo>
                      <a:pt x="470" y="813"/>
                    </a:lnTo>
                    <a:lnTo>
                      <a:pt x="447" y="820"/>
                    </a:lnTo>
                    <a:lnTo>
                      <a:pt x="447" y="820"/>
                    </a:lnTo>
                    <a:lnTo>
                      <a:pt x="419" y="826"/>
                    </a:lnTo>
                    <a:lnTo>
                      <a:pt x="392" y="830"/>
                    </a:lnTo>
                    <a:lnTo>
                      <a:pt x="365" y="833"/>
                    </a:lnTo>
                    <a:lnTo>
                      <a:pt x="338" y="833"/>
                    </a:lnTo>
                    <a:lnTo>
                      <a:pt x="0" y="833"/>
                    </a:lnTo>
                    <a:lnTo>
                      <a:pt x="0" y="0"/>
                    </a:lnTo>
                    <a:lnTo>
                      <a:pt x="558" y="0"/>
                    </a:lnTo>
                    <a:lnTo>
                      <a:pt x="558" y="187"/>
                    </a:lnTo>
                    <a:lnTo>
                      <a:pt x="187" y="187"/>
                    </a:lnTo>
                    <a:lnTo>
                      <a:pt x="187" y="302"/>
                    </a:lnTo>
                    <a:close/>
                    <a:moveTo>
                      <a:pt x="187" y="661"/>
                    </a:moveTo>
                    <a:lnTo>
                      <a:pt x="338" y="661"/>
                    </a:lnTo>
                    <a:lnTo>
                      <a:pt x="338" y="661"/>
                    </a:lnTo>
                    <a:lnTo>
                      <a:pt x="349" y="660"/>
                    </a:lnTo>
                    <a:lnTo>
                      <a:pt x="358" y="659"/>
                    </a:lnTo>
                    <a:lnTo>
                      <a:pt x="368" y="658"/>
                    </a:lnTo>
                    <a:lnTo>
                      <a:pt x="376" y="655"/>
                    </a:lnTo>
                    <a:lnTo>
                      <a:pt x="384" y="652"/>
                    </a:lnTo>
                    <a:lnTo>
                      <a:pt x="391" y="649"/>
                    </a:lnTo>
                    <a:lnTo>
                      <a:pt x="397" y="644"/>
                    </a:lnTo>
                    <a:lnTo>
                      <a:pt x="403" y="640"/>
                    </a:lnTo>
                    <a:lnTo>
                      <a:pt x="408" y="634"/>
                    </a:lnTo>
                    <a:lnTo>
                      <a:pt x="413" y="628"/>
                    </a:lnTo>
                    <a:lnTo>
                      <a:pt x="416" y="620"/>
                    </a:lnTo>
                    <a:lnTo>
                      <a:pt x="419" y="612"/>
                    </a:lnTo>
                    <a:lnTo>
                      <a:pt x="422" y="604"/>
                    </a:lnTo>
                    <a:lnTo>
                      <a:pt x="423" y="595"/>
                    </a:lnTo>
                    <a:lnTo>
                      <a:pt x="424" y="586"/>
                    </a:lnTo>
                    <a:lnTo>
                      <a:pt x="425" y="575"/>
                    </a:lnTo>
                    <a:lnTo>
                      <a:pt x="425" y="575"/>
                    </a:lnTo>
                    <a:lnTo>
                      <a:pt x="424" y="565"/>
                    </a:lnTo>
                    <a:lnTo>
                      <a:pt x="423" y="556"/>
                    </a:lnTo>
                    <a:lnTo>
                      <a:pt x="422" y="547"/>
                    </a:lnTo>
                    <a:lnTo>
                      <a:pt x="419" y="539"/>
                    </a:lnTo>
                    <a:lnTo>
                      <a:pt x="416" y="531"/>
                    </a:lnTo>
                    <a:lnTo>
                      <a:pt x="413" y="524"/>
                    </a:lnTo>
                    <a:lnTo>
                      <a:pt x="408" y="518"/>
                    </a:lnTo>
                    <a:lnTo>
                      <a:pt x="403" y="512"/>
                    </a:lnTo>
                    <a:lnTo>
                      <a:pt x="397" y="507"/>
                    </a:lnTo>
                    <a:lnTo>
                      <a:pt x="391" y="503"/>
                    </a:lnTo>
                    <a:lnTo>
                      <a:pt x="384" y="500"/>
                    </a:lnTo>
                    <a:lnTo>
                      <a:pt x="376" y="497"/>
                    </a:lnTo>
                    <a:lnTo>
                      <a:pt x="368" y="494"/>
                    </a:lnTo>
                    <a:lnTo>
                      <a:pt x="358" y="493"/>
                    </a:lnTo>
                    <a:lnTo>
                      <a:pt x="349" y="492"/>
                    </a:lnTo>
                    <a:lnTo>
                      <a:pt x="338" y="491"/>
                    </a:lnTo>
                    <a:lnTo>
                      <a:pt x="187" y="491"/>
                    </a:lnTo>
                    <a:lnTo>
                      <a:pt x="187" y="661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71593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976" userDrawn="1">
          <p15:clr>
            <a:srgbClr val="FBAE40"/>
          </p15:clr>
        </p15:guide>
        <p15:guide id="2" pos="60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Picture 29" descr="A close up of some leaves&#10;&#10;Description automatically generated with low confidence">
            <a:extLst>
              <a:ext uri="{FF2B5EF4-FFF2-40B4-BE49-F238E27FC236}">
                <a16:creationId xmlns:a16="http://schemas.microsoft.com/office/drawing/2014/main" id="{B8DD8A6E-13DE-C31D-2EBC-3149A171BB7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9340" y="2778187"/>
            <a:ext cx="4442659" cy="4079812"/>
          </a:xfrm>
          <a:prstGeom prst="rect">
            <a:avLst/>
          </a:prstGeom>
        </p:spPr>
      </p:pic>
      <p:pic>
        <p:nvPicPr>
          <p:cNvPr id="14" name="Рисунок 9">
            <a:extLst>
              <a:ext uri="{FF2B5EF4-FFF2-40B4-BE49-F238E27FC236}">
                <a16:creationId xmlns:a16="http://schemas.microsoft.com/office/drawing/2014/main" id="{3CE24C86-7C90-8A26-635B-B61DDA17659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 rot="5400000" flipH="1">
            <a:off x="-2576074" y="2576071"/>
            <a:ext cx="6867440" cy="1715294"/>
          </a:xfrm>
          <a:prstGeom prst="rect">
            <a:avLst/>
          </a:prstGeom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5C4DFC75-C17F-CD13-F479-7C838776F0D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667743" y="2155923"/>
            <a:ext cx="7448353" cy="1273077"/>
          </a:xfrm>
        </p:spPr>
        <p:txBody>
          <a:bodyPr/>
          <a:lstStyle>
            <a:lvl1pPr>
              <a:lnSpc>
                <a:spcPts val="4000"/>
              </a:lnSpc>
              <a:defRPr sz="3200" b="1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GB" dirty="0"/>
              <a:t>TITLE CAPS</a:t>
            </a:r>
            <a:br>
              <a:rPr lang="en-GB" dirty="0"/>
            </a:br>
            <a:r>
              <a:rPr lang="en-GB" dirty="0"/>
              <a:t>(MONTSERRAT 32 POINT)</a:t>
            </a:r>
          </a:p>
        </p:txBody>
      </p:sp>
      <p:sp>
        <p:nvSpPr>
          <p:cNvPr id="43" name="Text Placeholder 73">
            <a:extLst>
              <a:ext uri="{FF2B5EF4-FFF2-40B4-BE49-F238E27FC236}">
                <a16:creationId xmlns:a16="http://schemas.microsoft.com/office/drawing/2014/main" id="{1BEA9781-00DF-42A5-BC80-50105C4711C8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67743" y="3383279"/>
            <a:ext cx="5210175" cy="35964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Subtitle (Montserrat 20 point)</a:t>
            </a:r>
          </a:p>
        </p:txBody>
      </p:sp>
      <p:sp>
        <p:nvSpPr>
          <p:cNvPr id="44" name="Text Placeholder 77">
            <a:extLst>
              <a:ext uri="{FF2B5EF4-FFF2-40B4-BE49-F238E27FC236}">
                <a16:creationId xmlns:a16="http://schemas.microsoft.com/office/drawing/2014/main" id="{A2F5B341-D01E-4475-BFC9-AC0F30E3B572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67743" y="3822733"/>
            <a:ext cx="5210175" cy="326348"/>
          </a:xfrm>
        </p:spPr>
        <p:txBody>
          <a:bodyPr/>
          <a:lstStyle>
            <a:lvl1pPr marL="0" indent="0">
              <a:buNone/>
              <a:defRPr sz="1600" b="0" i="0" u="none">
                <a:latin typeface="Montserrat Alternates SemiBold" panose="00000700000000000000" pitchFamily="50" charset="-52"/>
              </a:defRPr>
            </a:lvl1pPr>
          </a:lstStyle>
          <a:p>
            <a:pPr>
              <a:lnSpc>
                <a:spcPts val="2400"/>
              </a:lnSpc>
              <a:spcBef>
                <a:spcPts val="0"/>
              </a:spcBef>
              <a:spcAft>
                <a:spcPts val="600"/>
              </a:spcAft>
            </a:pPr>
            <a:r>
              <a:rPr lang="en-IN" b="1">
                <a:solidFill>
                  <a:schemeClr val="bg1"/>
                </a:solidFill>
                <a:latin typeface="Montserrat" pitchFamily="2" charset="77"/>
              </a:rPr>
              <a:t>XX Month 200X (Montserrat bold 16 point)</a:t>
            </a:r>
            <a:endParaRPr lang="en-IN" b="1" dirty="0">
              <a:solidFill>
                <a:schemeClr val="bg1"/>
              </a:solidFill>
              <a:latin typeface="Montserrat" pitchFamily="2" charset="77"/>
            </a:endParaRP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FBAF1EB9-33B2-4643-AF35-ED505729232A}"/>
              </a:ext>
            </a:extLst>
          </p:cNvPr>
          <p:cNvGrpSpPr/>
          <p:nvPr userDrawn="1"/>
        </p:nvGrpSpPr>
        <p:grpSpPr>
          <a:xfrm>
            <a:off x="10346853" y="658368"/>
            <a:ext cx="1319534" cy="970407"/>
            <a:chOff x="10332720" y="658368"/>
            <a:chExt cx="1319534" cy="970407"/>
          </a:xfrm>
        </p:grpSpPr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0E92A80A-4AE7-4F90-97B8-063A891CF21A}"/>
                </a:ext>
              </a:extLst>
            </p:cNvPr>
            <p:cNvGrpSpPr/>
            <p:nvPr userDrawn="1"/>
          </p:nvGrpSpPr>
          <p:grpSpPr>
            <a:xfrm>
              <a:off x="10344154" y="1376363"/>
              <a:ext cx="1308100" cy="252412"/>
              <a:chOff x="10344154" y="1376363"/>
              <a:chExt cx="1308100" cy="252412"/>
            </a:xfrm>
          </p:grpSpPr>
          <p:sp>
            <p:nvSpPr>
              <p:cNvPr id="77" name="Freeform 5">
                <a:extLst>
                  <a:ext uri="{FF2B5EF4-FFF2-40B4-BE49-F238E27FC236}">
                    <a16:creationId xmlns:a16="http://schemas.microsoft.com/office/drawing/2014/main" id="{BA298011-F277-4AFC-953C-DC397C590ED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344154" y="1379538"/>
                <a:ext cx="85725" cy="90487"/>
              </a:xfrm>
              <a:custGeom>
                <a:avLst/>
                <a:gdLst>
                  <a:gd name="T0" fmla="*/ 109 w 109"/>
                  <a:gd name="T1" fmla="*/ 0 h 115"/>
                  <a:gd name="T2" fmla="*/ 109 w 109"/>
                  <a:gd name="T3" fmla="*/ 115 h 115"/>
                  <a:gd name="T4" fmla="*/ 77 w 109"/>
                  <a:gd name="T5" fmla="*/ 115 h 115"/>
                  <a:gd name="T6" fmla="*/ 77 w 109"/>
                  <a:gd name="T7" fmla="*/ 69 h 115"/>
                  <a:gd name="T8" fmla="*/ 32 w 109"/>
                  <a:gd name="T9" fmla="*/ 69 h 115"/>
                  <a:gd name="T10" fmla="*/ 32 w 109"/>
                  <a:gd name="T11" fmla="*/ 115 h 115"/>
                  <a:gd name="T12" fmla="*/ 0 w 109"/>
                  <a:gd name="T13" fmla="*/ 115 h 115"/>
                  <a:gd name="T14" fmla="*/ 0 w 109"/>
                  <a:gd name="T15" fmla="*/ 0 h 115"/>
                  <a:gd name="T16" fmla="*/ 32 w 109"/>
                  <a:gd name="T17" fmla="*/ 0 h 115"/>
                  <a:gd name="T18" fmla="*/ 32 w 109"/>
                  <a:gd name="T19" fmla="*/ 43 h 115"/>
                  <a:gd name="T20" fmla="*/ 77 w 109"/>
                  <a:gd name="T21" fmla="*/ 43 h 115"/>
                  <a:gd name="T22" fmla="*/ 77 w 109"/>
                  <a:gd name="T23" fmla="*/ 0 h 115"/>
                  <a:gd name="T24" fmla="*/ 109 w 109"/>
                  <a:gd name="T25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9" h="115">
                    <a:moveTo>
                      <a:pt x="109" y="0"/>
                    </a:moveTo>
                    <a:lnTo>
                      <a:pt x="109" y="115"/>
                    </a:lnTo>
                    <a:lnTo>
                      <a:pt x="77" y="115"/>
                    </a:lnTo>
                    <a:lnTo>
                      <a:pt x="77" y="69"/>
                    </a:lnTo>
                    <a:lnTo>
                      <a:pt x="32" y="69"/>
                    </a:lnTo>
                    <a:lnTo>
                      <a:pt x="3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2" y="0"/>
                    </a:lnTo>
                    <a:lnTo>
                      <a:pt x="32" y="43"/>
                    </a:lnTo>
                    <a:lnTo>
                      <a:pt x="77" y="43"/>
                    </a:lnTo>
                    <a:lnTo>
                      <a:pt x="77" y="0"/>
                    </a:lnTo>
                    <a:lnTo>
                      <a:pt x="109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6">
                <a:extLst>
                  <a:ext uri="{FF2B5EF4-FFF2-40B4-BE49-F238E27FC236}">
                    <a16:creationId xmlns:a16="http://schemas.microsoft.com/office/drawing/2014/main" id="{6C35011A-8072-42EB-861C-CBCBEBCA00F3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447341" y="1377950"/>
                <a:ext cx="101600" cy="93662"/>
              </a:xfrm>
              <a:custGeom>
                <a:avLst/>
                <a:gdLst>
                  <a:gd name="T0" fmla="*/ 31 w 128"/>
                  <a:gd name="T1" fmla="*/ 112 h 119"/>
                  <a:gd name="T2" fmla="*/ 21 w 128"/>
                  <a:gd name="T3" fmla="*/ 105 h 119"/>
                  <a:gd name="T4" fmla="*/ 6 w 128"/>
                  <a:gd name="T5" fmla="*/ 87 h 119"/>
                  <a:gd name="T6" fmla="*/ 0 w 128"/>
                  <a:gd name="T7" fmla="*/ 65 h 119"/>
                  <a:gd name="T8" fmla="*/ 2 w 128"/>
                  <a:gd name="T9" fmla="*/ 43 h 119"/>
                  <a:gd name="T10" fmla="*/ 6 w 128"/>
                  <a:gd name="T11" fmla="*/ 32 h 119"/>
                  <a:gd name="T12" fmla="*/ 11 w 128"/>
                  <a:gd name="T13" fmla="*/ 24 h 119"/>
                  <a:gd name="T14" fmla="*/ 23 w 128"/>
                  <a:gd name="T15" fmla="*/ 12 h 119"/>
                  <a:gd name="T16" fmla="*/ 31 w 128"/>
                  <a:gd name="T17" fmla="*/ 7 h 119"/>
                  <a:gd name="T18" fmla="*/ 46 w 128"/>
                  <a:gd name="T19" fmla="*/ 2 h 119"/>
                  <a:gd name="T20" fmla="*/ 64 w 128"/>
                  <a:gd name="T21" fmla="*/ 0 h 119"/>
                  <a:gd name="T22" fmla="*/ 81 w 128"/>
                  <a:gd name="T23" fmla="*/ 2 h 119"/>
                  <a:gd name="T24" fmla="*/ 97 w 128"/>
                  <a:gd name="T25" fmla="*/ 7 h 119"/>
                  <a:gd name="T26" fmla="*/ 102 w 128"/>
                  <a:gd name="T27" fmla="*/ 10 h 119"/>
                  <a:gd name="T28" fmla="*/ 115 w 128"/>
                  <a:gd name="T29" fmla="*/ 22 h 119"/>
                  <a:gd name="T30" fmla="*/ 125 w 128"/>
                  <a:gd name="T31" fmla="*/ 42 h 119"/>
                  <a:gd name="T32" fmla="*/ 128 w 128"/>
                  <a:gd name="T33" fmla="*/ 64 h 119"/>
                  <a:gd name="T34" fmla="*/ 124 w 128"/>
                  <a:gd name="T35" fmla="*/ 81 h 119"/>
                  <a:gd name="T36" fmla="*/ 121 w 128"/>
                  <a:gd name="T37" fmla="*/ 86 h 119"/>
                  <a:gd name="T38" fmla="*/ 111 w 128"/>
                  <a:gd name="T39" fmla="*/ 100 h 119"/>
                  <a:gd name="T40" fmla="*/ 97 w 128"/>
                  <a:gd name="T41" fmla="*/ 112 h 119"/>
                  <a:gd name="T42" fmla="*/ 89 w 128"/>
                  <a:gd name="T43" fmla="*/ 115 h 119"/>
                  <a:gd name="T44" fmla="*/ 72 w 128"/>
                  <a:gd name="T45" fmla="*/ 119 h 119"/>
                  <a:gd name="T46" fmla="*/ 55 w 128"/>
                  <a:gd name="T47" fmla="*/ 119 h 119"/>
                  <a:gd name="T48" fmla="*/ 38 w 128"/>
                  <a:gd name="T49" fmla="*/ 115 h 119"/>
                  <a:gd name="T50" fmla="*/ 31 w 128"/>
                  <a:gd name="T51" fmla="*/ 112 h 119"/>
                  <a:gd name="T52" fmla="*/ 80 w 128"/>
                  <a:gd name="T53" fmla="*/ 87 h 119"/>
                  <a:gd name="T54" fmla="*/ 91 w 128"/>
                  <a:gd name="T55" fmla="*/ 76 h 119"/>
                  <a:gd name="T56" fmla="*/ 94 w 128"/>
                  <a:gd name="T57" fmla="*/ 68 h 119"/>
                  <a:gd name="T58" fmla="*/ 94 w 128"/>
                  <a:gd name="T59" fmla="*/ 50 h 119"/>
                  <a:gd name="T60" fmla="*/ 91 w 128"/>
                  <a:gd name="T61" fmla="*/ 42 h 119"/>
                  <a:gd name="T62" fmla="*/ 80 w 128"/>
                  <a:gd name="T63" fmla="*/ 30 h 119"/>
                  <a:gd name="T64" fmla="*/ 72 w 128"/>
                  <a:gd name="T65" fmla="*/ 27 h 119"/>
                  <a:gd name="T66" fmla="*/ 55 w 128"/>
                  <a:gd name="T67" fmla="*/ 27 h 119"/>
                  <a:gd name="T68" fmla="*/ 47 w 128"/>
                  <a:gd name="T69" fmla="*/ 30 h 119"/>
                  <a:gd name="T70" fmla="*/ 36 w 128"/>
                  <a:gd name="T71" fmla="*/ 42 h 119"/>
                  <a:gd name="T72" fmla="*/ 33 w 128"/>
                  <a:gd name="T73" fmla="*/ 50 h 119"/>
                  <a:gd name="T74" fmla="*/ 33 w 128"/>
                  <a:gd name="T75" fmla="*/ 68 h 119"/>
                  <a:gd name="T76" fmla="*/ 36 w 128"/>
                  <a:gd name="T77" fmla="*/ 76 h 119"/>
                  <a:gd name="T78" fmla="*/ 47 w 128"/>
                  <a:gd name="T79" fmla="*/ 87 h 119"/>
                  <a:gd name="T80" fmla="*/ 55 w 128"/>
                  <a:gd name="T81" fmla="*/ 90 h 119"/>
                  <a:gd name="T82" fmla="*/ 72 w 128"/>
                  <a:gd name="T83" fmla="*/ 90 h 119"/>
                  <a:gd name="T84" fmla="*/ 80 w 128"/>
                  <a:gd name="T85" fmla="*/ 87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28" h="119">
                    <a:moveTo>
                      <a:pt x="31" y="112"/>
                    </a:moveTo>
                    <a:lnTo>
                      <a:pt x="31" y="112"/>
                    </a:lnTo>
                    <a:lnTo>
                      <a:pt x="25" y="109"/>
                    </a:lnTo>
                    <a:lnTo>
                      <a:pt x="21" y="105"/>
                    </a:lnTo>
                    <a:lnTo>
                      <a:pt x="13" y="96"/>
                    </a:lnTo>
                    <a:lnTo>
                      <a:pt x="6" y="87"/>
                    </a:lnTo>
                    <a:lnTo>
                      <a:pt x="2" y="76"/>
                    </a:lnTo>
                    <a:lnTo>
                      <a:pt x="0" y="65"/>
                    </a:lnTo>
                    <a:lnTo>
                      <a:pt x="0" y="54"/>
                    </a:lnTo>
                    <a:lnTo>
                      <a:pt x="2" y="43"/>
                    </a:lnTo>
                    <a:lnTo>
                      <a:pt x="4" y="37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11" y="24"/>
                    </a:lnTo>
                    <a:lnTo>
                      <a:pt x="16" y="18"/>
                    </a:lnTo>
                    <a:lnTo>
                      <a:pt x="23" y="12"/>
                    </a:lnTo>
                    <a:lnTo>
                      <a:pt x="31" y="7"/>
                    </a:lnTo>
                    <a:lnTo>
                      <a:pt x="31" y="7"/>
                    </a:lnTo>
                    <a:lnTo>
                      <a:pt x="38" y="4"/>
                    </a:lnTo>
                    <a:lnTo>
                      <a:pt x="46" y="2"/>
                    </a:lnTo>
                    <a:lnTo>
                      <a:pt x="55" y="0"/>
                    </a:lnTo>
                    <a:lnTo>
                      <a:pt x="64" y="0"/>
                    </a:lnTo>
                    <a:lnTo>
                      <a:pt x="72" y="0"/>
                    </a:lnTo>
                    <a:lnTo>
                      <a:pt x="81" y="2"/>
                    </a:lnTo>
                    <a:lnTo>
                      <a:pt x="89" y="4"/>
                    </a:lnTo>
                    <a:lnTo>
                      <a:pt x="97" y="7"/>
                    </a:lnTo>
                    <a:lnTo>
                      <a:pt x="97" y="7"/>
                    </a:lnTo>
                    <a:lnTo>
                      <a:pt x="102" y="10"/>
                    </a:lnTo>
                    <a:lnTo>
                      <a:pt x="106" y="14"/>
                    </a:lnTo>
                    <a:lnTo>
                      <a:pt x="115" y="22"/>
                    </a:lnTo>
                    <a:lnTo>
                      <a:pt x="121" y="31"/>
                    </a:lnTo>
                    <a:lnTo>
                      <a:pt x="125" y="42"/>
                    </a:lnTo>
                    <a:lnTo>
                      <a:pt x="127" y="53"/>
                    </a:lnTo>
                    <a:lnTo>
                      <a:pt x="128" y="64"/>
                    </a:lnTo>
                    <a:lnTo>
                      <a:pt x="125" y="75"/>
                    </a:lnTo>
                    <a:lnTo>
                      <a:pt x="124" y="81"/>
                    </a:lnTo>
                    <a:lnTo>
                      <a:pt x="121" y="86"/>
                    </a:lnTo>
                    <a:lnTo>
                      <a:pt x="121" y="86"/>
                    </a:lnTo>
                    <a:lnTo>
                      <a:pt x="116" y="94"/>
                    </a:lnTo>
                    <a:lnTo>
                      <a:pt x="111" y="100"/>
                    </a:lnTo>
                    <a:lnTo>
                      <a:pt x="104" y="107"/>
                    </a:lnTo>
                    <a:lnTo>
                      <a:pt x="97" y="112"/>
                    </a:lnTo>
                    <a:lnTo>
                      <a:pt x="97" y="112"/>
                    </a:lnTo>
                    <a:lnTo>
                      <a:pt x="89" y="115"/>
                    </a:lnTo>
                    <a:lnTo>
                      <a:pt x="81" y="117"/>
                    </a:lnTo>
                    <a:lnTo>
                      <a:pt x="72" y="119"/>
                    </a:lnTo>
                    <a:lnTo>
                      <a:pt x="64" y="119"/>
                    </a:lnTo>
                    <a:lnTo>
                      <a:pt x="55" y="119"/>
                    </a:lnTo>
                    <a:lnTo>
                      <a:pt x="46" y="117"/>
                    </a:lnTo>
                    <a:lnTo>
                      <a:pt x="38" y="115"/>
                    </a:lnTo>
                    <a:lnTo>
                      <a:pt x="31" y="112"/>
                    </a:lnTo>
                    <a:lnTo>
                      <a:pt x="31" y="112"/>
                    </a:lnTo>
                    <a:close/>
                    <a:moveTo>
                      <a:pt x="80" y="87"/>
                    </a:moveTo>
                    <a:lnTo>
                      <a:pt x="80" y="87"/>
                    </a:lnTo>
                    <a:lnTo>
                      <a:pt x="86" y="82"/>
                    </a:lnTo>
                    <a:lnTo>
                      <a:pt x="91" y="76"/>
                    </a:lnTo>
                    <a:lnTo>
                      <a:pt x="91" y="76"/>
                    </a:lnTo>
                    <a:lnTo>
                      <a:pt x="94" y="68"/>
                    </a:lnTo>
                    <a:lnTo>
                      <a:pt x="95" y="59"/>
                    </a:lnTo>
                    <a:lnTo>
                      <a:pt x="94" y="50"/>
                    </a:lnTo>
                    <a:lnTo>
                      <a:pt x="91" y="42"/>
                    </a:lnTo>
                    <a:lnTo>
                      <a:pt x="91" y="42"/>
                    </a:lnTo>
                    <a:lnTo>
                      <a:pt x="86" y="35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72" y="27"/>
                    </a:lnTo>
                    <a:lnTo>
                      <a:pt x="64" y="26"/>
                    </a:lnTo>
                    <a:lnTo>
                      <a:pt x="55" y="27"/>
                    </a:lnTo>
                    <a:lnTo>
                      <a:pt x="47" y="30"/>
                    </a:lnTo>
                    <a:lnTo>
                      <a:pt x="47" y="30"/>
                    </a:lnTo>
                    <a:lnTo>
                      <a:pt x="41" y="35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3" y="50"/>
                    </a:lnTo>
                    <a:lnTo>
                      <a:pt x="32" y="59"/>
                    </a:lnTo>
                    <a:lnTo>
                      <a:pt x="33" y="68"/>
                    </a:lnTo>
                    <a:lnTo>
                      <a:pt x="36" y="76"/>
                    </a:lnTo>
                    <a:lnTo>
                      <a:pt x="36" y="76"/>
                    </a:lnTo>
                    <a:lnTo>
                      <a:pt x="41" y="82"/>
                    </a:lnTo>
                    <a:lnTo>
                      <a:pt x="47" y="87"/>
                    </a:lnTo>
                    <a:lnTo>
                      <a:pt x="47" y="87"/>
                    </a:lnTo>
                    <a:lnTo>
                      <a:pt x="55" y="90"/>
                    </a:lnTo>
                    <a:lnTo>
                      <a:pt x="64" y="91"/>
                    </a:lnTo>
                    <a:lnTo>
                      <a:pt x="72" y="90"/>
                    </a:lnTo>
                    <a:lnTo>
                      <a:pt x="80" y="87"/>
                    </a:lnTo>
                    <a:lnTo>
                      <a:pt x="80" y="8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7">
                <a:extLst>
                  <a:ext uri="{FF2B5EF4-FFF2-40B4-BE49-F238E27FC236}">
                    <a16:creationId xmlns:a16="http://schemas.microsoft.com/office/drawing/2014/main" id="{45A645E1-4DE9-487C-A80C-BAABC2FC7474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564816" y="1379538"/>
                <a:ext cx="84138" cy="90487"/>
              </a:xfrm>
              <a:custGeom>
                <a:avLst/>
                <a:gdLst>
                  <a:gd name="T0" fmla="*/ 99 w 105"/>
                  <a:gd name="T1" fmla="*/ 64 h 115"/>
                  <a:gd name="T2" fmla="*/ 103 w 105"/>
                  <a:gd name="T3" fmla="*/ 72 h 115"/>
                  <a:gd name="T4" fmla="*/ 105 w 105"/>
                  <a:gd name="T5" fmla="*/ 81 h 115"/>
                  <a:gd name="T6" fmla="*/ 104 w 105"/>
                  <a:gd name="T7" fmla="*/ 88 h 115"/>
                  <a:gd name="T8" fmla="*/ 98 w 105"/>
                  <a:gd name="T9" fmla="*/ 101 h 115"/>
                  <a:gd name="T10" fmla="*/ 93 w 105"/>
                  <a:gd name="T11" fmla="*/ 106 h 115"/>
                  <a:gd name="T12" fmla="*/ 77 w 105"/>
                  <a:gd name="T13" fmla="*/ 113 h 115"/>
                  <a:gd name="T14" fmla="*/ 59 w 105"/>
                  <a:gd name="T15" fmla="*/ 115 h 115"/>
                  <a:gd name="T16" fmla="*/ 0 w 105"/>
                  <a:gd name="T17" fmla="*/ 0 h 115"/>
                  <a:gd name="T18" fmla="*/ 56 w 105"/>
                  <a:gd name="T19" fmla="*/ 0 h 115"/>
                  <a:gd name="T20" fmla="*/ 73 w 105"/>
                  <a:gd name="T21" fmla="*/ 2 h 115"/>
                  <a:gd name="T22" fmla="*/ 88 w 105"/>
                  <a:gd name="T23" fmla="*/ 8 h 115"/>
                  <a:gd name="T24" fmla="*/ 93 w 105"/>
                  <a:gd name="T25" fmla="*/ 12 h 115"/>
                  <a:gd name="T26" fmla="*/ 99 w 105"/>
                  <a:gd name="T27" fmla="*/ 23 h 115"/>
                  <a:gd name="T28" fmla="*/ 99 w 105"/>
                  <a:gd name="T29" fmla="*/ 30 h 115"/>
                  <a:gd name="T30" fmla="*/ 95 w 105"/>
                  <a:gd name="T31" fmla="*/ 45 h 115"/>
                  <a:gd name="T32" fmla="*/ 90 w 105"/>
                  <a:gd name="T33" fmla="*/ 50 h 115"/>
                  <a:gd name="T34" fmla="*/ 84 w 105"/>
                  <a:gd name="T35" fmla="*/ 54 h 115"/>
                  <a:gd name="T36" fmla="*/ 92 w 105"/>
                  <a:gd name="T37" fmla="*/ 58 h 115"/>
                  <a:gd name="T38" fmla="*/ 99 w 105"/>
                  <a:gd name="T39" fmla="*/ 64 h 115"/>
                  <a:gd name="T40" fmla="*/ 32 w 105"/>
                  <a:gd name="T41" fmla="*/ 46 h 115"/>
                  <a:gd name="T42" fmla="*/ 53 w 105"/>
                  <a:gd name="T43" fmla="*/ 46 h 115"/>
                  <a:gd name="T44" fmla="*/ 63 w 105"/>
                  <a:gd name="T45" fmla="*/ 43 h 115"/>
                  <a:gd name="T46" fmla="*/ 67 w 105"/>
                  <a:gd name="T47" fmla="*/ 34 h 115"/>
                  <a:gd name="T48" fmla="*/ 66 w 105"/>
                  <a:gd name="T49" fmla="*/ 29 h 115"/>
                  <a:gd name="T50" fmla="*/ 59 w 105"/>
                  <a:gd name="T51" fmla="*/ 24 h 115"/>
                  <a:gd name="T52" fmla="*/ 32 w 105"/>
                  <a:gd name="T53" fmla="*/ 23 h 115"/>
                  <a:gd name="T54" fmla="*/ 72 w 105"/>
                  <a:gd name="T55" fmla="*/ 79 h 115"/>
                  <a:gd name="T56" fmla="*/ 71 w 105"/>
                  <a:gd name="T57" fmla="*/ 74 h 115"/>
                  <a:gd name="T58" fmla="*/ 64 w 105"/>
                  <a:gd name="T59" fmla="*/ 68 h 115"/>
                  <a:gd name="T60" fmla="*/ 32 w 105"/>
                  <a:gd name="T61" fmla="*/ 67 h 115"/>
                  <a:gd name="T62" fmla="*/ 58 w 105"/>
                  <a:gd name="T63" fmla="*/ 91 h 115"/>
                  <a:gd name="T64" fmla="*/ 64 w 105"/>
                  <a:gd name="T65" fmla="*/ 90 h 115"/>
                  <a:gd name="T66" fmla="*/ 71 w 105"/>
                  <a:gd name="T67" fmla="*/ 84 h 115"/>
                  <a:gd name="T68" fmla="*/ 72 w 105"/>
                  <a:gd name="T69" fmla="*/ 79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5" h="115">
                    <a:moveTo>
                      <a:pt x="99" y="64"/>
                    </a:moveTo>
                    <a:lnTo>
                      <a:pt x="99" y="64"/>
                    </a:lnTo>
                    <a:lnTo>
                      <a:pt x="102" y="68"/>
                    </a:lnTo>
                    <a:lnTo>
                      <a:pt x="103" y="72"/>
                    </a:lnTo>
                    <a:lnTo>
                      <a:pt x="104" y="77"/>
                    </a:lnTo>
                    <a:lnTo>
                      <a:pt x="105" y="81"/>
                    </a:lnTo>
                    <a:lnTo>
                      <a:pt x="105" y="81"/>
                    </a:lnTo>
                    <a:lnTo>
                      <a:pt x="104" y="88"/>
                    </a:lnTo>
                    <a:lnTo>
                      <a:pt x="102" y="95"/>
                    </a:lnTo>
                    <a:lnTo>
                      <a:pt x="98" y="101"/>
                    </a:lnTo>
                    <a:lnTo>
                      <a:pt x="93" y="106"/>
                    </a:lnTo>
                    <a:lnTo>
                      <a:pt x="93" y="106"/>
                    </a:lnTo>
                    <a:lnTo>
                      <a:pt x="85" y="110"/>
                    </a:lnTo>
                    <a:lnTo>
                      <a:pt x="77" y="113"/>
                    </a:lnTo>
                    <a:lnTo>
                      <a:pt x="68" y="115"/>
                    </a:lnTo>
                    <a:lnTo>
                      <a:pt x="59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5" y="0"/>
                    </a:lnTo>
                    <a:lnTo>
                      <a:pt x="73" y="2"/>
                    </a:lnTo>
                    <a:lnTo>
                      <a:pt x="81" y="4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93" y="12"/>
                    </a:lnTo>
                    <a:lnTo>
                      <a:pt x="97" y="17"/>
                    </a:lnTo>
                    <a:lnTo>
                      <a:pt x="99" y="23"/>
                    </a:lnTo>
                    <a:lnTo>
                      <a:pt x="99" y="30"/>
                    </a:lnTo>
                    <a:lnTo>
                      <a:pt x="99" y="30"/>
                    </a:lnTo>
                    <a:lnTo>
                      <a:pt x="98" y="37"/>
                    </a:lnTo>
                    <a:lnTo>
                      <a:pt x="95" y="45"/>
                    </a:lnTo>
                    <a:lnTo>
                      <a:pt x="95" y="45"/>
                    </a:lnTo>
                    <a:lnTo>
                      <a:pt x="90" y="50"/>
                    </a:lnTo>
                    <a:lnTo>
                      <a:pt x="84" y="54"/>
                    </a:lnTo>
                    <a:lnTo>
                      <a:pt x="84" y="54"/>
                    </a:lnTo>
                    <a:lnTo>
                      <a:pt x="88" y="56"/>
                    </a:lnTo>
                    <a:lnTo>
                      <a:pt x="92" y="58"/>
                    </a:lnTo>
                    <a:lnTo>
                      <a:pt x="96" y="61"/>
                    </a:lnTo>
                    <a:lnTo>
                      <a:pt x="99" y="64"/>
                    </a:lnTo>
                    <a:lnTo>
                      <a:pt x="99" y="64"/>
                    </a:lnTo>
                    <a:close/>
                    <a:moveTo>
                      <a:pt x="32" y="46"/>
                    </a:moveTo>
                    <a:lnTo>
                      <a:pt x="53" y="46"/>
                    </a:lnTo>
                    <a:lnTo>
                      <a:pt x="53" y="46"/>
                    </a:lnTo>
                    <a:lnTo>
                      <a:pt x="59" y="45"/>
                    </a:lnTo>
                    <a:lnTo>
                      <a:pt x="63" y="43"/>
                    </a:lnTo>
                    <a:lnTo>
                      <a:pt x="66" y="39"/>
                    </a:lnTo>
                    <a:lnTo>
                      <a:pt x="67" y="34"/>
                    </a:lnTo>
                    <a:lnTo>
                      <a:pt x="67" y="34"/>
                    </a:lnTo>
                    <a:lnTo>
                      <a:pt x="66" y="29"/>
                    </a:lnTo>
                    <a:lnTo>
                      <a:pt x="63" y="26"/>
                    </a:lnTo>
                    <a:lnTo>
                      <a:pt x="59" y="24"/>
                    </a:lnTo>
                    <a:lnTo>
                      <a:pt x="53" y="23"/>
                    </a:lnTo>
                    <a:lnTo>
                      <a:pt x="32" y="23"/>
                    </a:lnTo>
                    <a:lnTo>
                      <a:pt x="32" y="46"/>
                    </a:lnTo>
                    <a:close/>
                    <a:moveTo>
                      <a:pt x="72" y="79"/>
                    </a:moveTo>
                    <a:lnTo>
                      <a:pt x="72" y="79"/>
                    </a:lnTo>
                    <a:lnTo>
                      <a:pt x="71" y="74"/>
                    </a:lnTo>
                    <a:lnTo>
                      <a:pt x="69" y="70"/>
                    </a:lnTo>
                    <a:lnTo>
                      <a:pt x="64" y="68"/>
                    </a:lnTo>
                    <a:lnTo>
                      <a:pt x="58" y="67"/>
                    </a:lnTo>
                    <a:lnTo>
                      <a:pt x="32" y="67"/>
                    </a:lnTo>
                    <a:lnTo>
                      <a:pt x="32" y="91"/>
                    </a:lnTo>
                    <a:lnTo>
                      <a:pt x="58" y="91"/>
                    </a:lnTo>
                    <a:lnTo>
                      <a:pt x="58" y="91"/>
                    </a:lnTo>
                    <a:lnTo>
                      <a:pt x="64" y="90"/>
                    </a:lnTo>
                    <a:lnTo>
                      <a:pt x="69" y="88"/>
                    </a:lnTo>
                    <a:lnTo>
                      <a:pt x="71" y="84"/>
                    </a:lnTo>
                    <a:lnTo>
                      <a:pt x="72" y="79"/>
                    </a:lnTo>
                    <a:lnTo>
                      <a:pt x="72" y="7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8">
                <a:extLst>
                  <a:ext uri="{FF2B5EF4-FFF2-40B4-BE49-F238E27FC236}">
                    <a16:creationId xmlns:a16="http://schemas.microsoft.com/office/drawing/2014/main" id="{3ADAE23E-ED35-40B8-B104-3CF332BD85E6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664829" y="1379538"/>
                <a:ext cx="115888" cy="90487"/>
              </a:xfrm>
              <a:custGeom>
                <a:avLst/>
                <a:gdLst>
                  <a:gd name="T0" fmla="*/ 92 w 147"/>
                  <a:gd name="T1" fmla="*/ 46 h 115"/>
                  <a:gd name="T2" fmla="*/ 92 w 147"/>
                  <a:gd name="T3" fmla="*/ 46 h 115"/>
                  <a:gd name="T4" fmla="*/ 97 w 147"/>
                  <a:gd name="T5" fmla="*/ 51 h 115"/>
                  <a:gd name="T6" fmla="*/ 101 w 147"/>
                  <a:gd name="T7" fmla="*/ 58 h 115"/>
                  <a:gd name="T8" fmla="*/ 103 w 147"/>
                  <a:gd name="T9" fmla="*/ 66 h 115"/>
                  <a:gd name="T10" fmla="*/ 103 w 147"/>
                  <a:gd name="T11" fmla="*/ 73 h 115"/>
                  <a:gd name="T12" fmla="*/ 103 w 147"/>
                  <a:gd name="T13" fmla="*/ 73 h 115"/>
                  <a:gd name="T14" fmla="*/ 103 w 147"/>
                  <a:gd name="T15" fmla="*/ 82 h 115"/>
                  <a:gd name="T16" fmla="*/ 100 w 147"/>
                  <a:gd name="T17" fmla="*/ 90 h 115"/>
                  <a:gd name="T18" fmla="*/ 96 w 147"/>
                  <a:gd name="T19" fmla="*/ 97 h 115"/>
                  <a:gd name="T20" fmla="*/ 90 w 147"/>
                  <a:gd name="T21" fmla="*/ 104 h 115"/>
                  <a:gd name="T22" fmla="*/ 90 w 147"/>
                  <a:gd name="T23" fmla="*/ 104 h 115"/>
                  <a:gd name="T24" fmla="*/ 82 w 147"/>
                  <a:gd name="T25" fmla="*/ 109 h 115"/>
                  <a:gd name="T26" fmla="*/ 74 w 147"/>
                  <a:gd name="T27" fmla="*/ 113 h 115"/>
                  <a:gd name="T28" fmla="*/ 65 w 147"/>
                  <a:gd name="T29" fmla="*/ 115 h 115"/>
                  <a:gd name="T30" fmla="*/ 55 w 147"/>
                  <a:gd name="T31" fmla="*/ 115 h 115"/>
                  <a:gd name="T32" fmla="*/ 0 w 147"/>
                  <a:gd name="T33" fmla="*/ 115 h 115"/>
                  <a:gd name="T34" fmla="*/ 0 w 147"/>
                  <a:gd name="T35" fmla="*/ 0 h 115"/>
                  <a:gd name="T36" fmla="*/ 32 w 147"/>
                  <a:gd name="T37" fmla="*/ 0 h 115"/>
                  <a:gd name="T38" fmla="*/ 32 w 147"/>
                  <a:gd name="T39" fmla="*/ 36 h 115"/>
                  <a:gd name="T40" fmla="*/ 59 w 147"/>
                  <a:gd name="T41" fmla="*/ 36 h 115"/>
                  <a:gd name="T42" fmla="*/ 59 w 147"/>
                  <a:gd name="T43" fmla="*/ 36 h 115"/>
                  <a:gd name="T44" fmla="*/ 68 w 147"/>
                  <a:gd name="T45" fmla="*/ 37 h 115"/>
                  <a:gd name="T46" fmla="*/ 76 w 147"/>
                  <a:gd name="T47" fmla="*/ 38 h 115"/>
                  <a:gd name="T48" fmla="*/ 84 w 147"/>
                  <a:gd name="T49" fmla="*/ 41 h 115"/>
                  <a:gd name="T50" fmla="*/ 92 w 147"/>
                  <a:gd name="T51" fmla="*/ 46 h 115"/>
                  <a:gd name="T52" fmla="*/ 92 w 147"/>
                  <a:gd name="T53" fmla="*/ 46 h 115"/>
                  <a:gd name="T54" fmla="*/ 66 w 147"/>
                  <a:gd name="T55" fmla="*/ 86 h 115"/>
                  <a:gd name="T56" fmla="*/ 66 w 147"/>
                  <a:gd name="T57" fmla="*/ 86 h 115"/>
                  <a:gd name="T58" fmla="*/ 68 w 147"/>
                  <a:gd name="T59" fmla="*/ 84 h 115"/>
                  <a:gd name="T60" fmla="*/ 70 w 147"/>
                  <a:gd name="T61" fmla="*/ 81 h 115"/>
                  <a:gd name="T62" fmla="*/ 71 w 147"/>
                  <a:gd name="T63" fmla="*/ 77 h 115"/>
                  <a:gd name="T64" fmla="*/ 71 w 147"/>
                  <a:gd name="T65" fmla="*/ 74 h 115"/>
                  <a:gd name="T66" fmla="*/ 71 w 147"/>
                  <a:gd name="T67" fmla="*/ 74 h 115"/>
                  <a:gd name="T68" fmla="*/ 71 w 147"/>
                  <a:gd name="T69" fmla="*/ 71 h 115"/>
                  <a:gd name="T70" fmla="*/ 70 w 147"/>
                  <a:gd name="T71" fmla="*/ 68 h 115"/>
                  <a:gd name="T72" fmla="*/ 68 w 147"/>
                  <a:gd name="T73" fmla="*/ 65 h 115"/>
                  <a:gd name="T74" fmla="*/ 67 w 147"/>
                  <a:gd name="T75" fmla="*/ 63 h 115"/>
                  <a:gd name="T76" fmla="*/ 64 w 147"/>
                  <a:gd name="T77" fmla="*/ 61 h 115"/>
                  <a:gd name="T78" fmla="*/ 61 w 147"/>
                  <a:gd name="T79" fmla="*/ 60 h 115"/>
                  <a:gd name="T80" fmla="*/ 53 w 147"/>
                  <a:gd name="T81" fmla="*/ 59 h 115"/>
                  <a:gd name="T82" fmla="*/ 32 w 147"/>
                  <a:gd name="T83" fmla="*/ 59 h 115"/>
                  <a:gd name="T84" fmla="*/ 32 w 147"/>
                  <a:gd name="T85" fmla="*/ 91 h 115"/>
                  <a:gd name="T86" fmla="*/ 53 w 147"/>
                  <a:gd name="T87" fmla="*/ 91 h 115"/>
                  <a:gd name="T88" fmla="*/ 53 w 147"/>
                  <a:gd name="T89" fmla="*/ 91 h 115"/>
                  <a:gd name="T90" fmla="*/ 57 w 147"/>
                  <a:gd name="T91" fmla="*/ 91 h 115"/>
                  <a:gd name="T92" fmla="*/ 60 w 147"/>
                  <a:gd name="T93" fmla="*/ 90 h 115"/>
                  <a:gd name="T94" fmla="*/ 63 w 147"/>
                  <a:gd name="T95" fmla="*/ 88 h 115"/>
                  <a:gd name="T96" fmla="*/ 66 w 147"/>
                  <a:gd name="T97" fmla="*/ 86 h 115"/>
                  <a:gd name="T98" fmla="*/ 66 w 147"/>
                  <a:gd name="T99" fmla="*/ 86 h 115"/>
                  <a:gd name="T100" fmla="*/ 116 w 147"/>
                  <a:gd name="T101" fmla="*/ 0 h 115"/>
                  <a:gd name="T102" fmla="*/ 147 w 147"/>
                  <a:gd name="T103" fmla="*/ 0 h 115"/>
                  <a:gd name="T104" fmla="*/ 147 w 147"/>
                  <a:gd name="T105" fmla="*/ 115 h 115"/>
                  <a:gd name="T106" fmla="*/ 116 w 147"/>
                  <a:gd name="T107" fmla="*/ 115 h 115"/>
                  <a:gd name="T108" fmla="*/ 116 w 147"/>
                  <a:gd name="T109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47" h="115">
                    <a:moveTo>
                      <a:pt x="92" y="46"/>
                    </a:moveTo>
                    <a:lnTo>
                      <a:pt x="92" y="46"/>
                    </a:lnTo>
                    <a:lnTo>
                      <a:pt x="97" y="51"/>
                    </a:lnTo>
                    <a:lnTo>
                      <a:pt x="101" y="58"/>
                    </a:lnTo>
                    <a:lnTo>
                      <a:pt x="103" y="66"/>
                    </a:lnTo>
                    <a:lnTo>
                      <a:pt x="103" y="73"/>
                    </a:lnTo>
                    <a:lnTo>
                      <a:pt x="103" y="73"/>
                    </a:lnTo>
                    <a:lnTo>
                      <a:pt x="103" y="82"/>
                    </a:lnTo>
                    <a:lnTo>
                      <a:pt x="100" y="90"/>
                    </a:lnTo>
                    <a:lnTo>
                      <a:pt x="96" y="97"/>
                    </a:lnTo>
                    <a:lnTo>
                      <a:pt x="90" y="104"/>
                    </a:lnTo>
                    <a:lnTo>
                      <a:pt x="90" y="104"/>
                    </a:lnTo>
                    <a:lnTo>
                      <a:pt x="82" y="109"/>
                    </a:lnTo>
                    <a:lnTo>
                      <a:pt x="74" y="113"/>
                    </a:lnTo>
                    <a:lnTo>
                      <a:pt x="65" y="115"/>
                    </a:lnTo>
                    <a:lnTo>
                      <a:pt x="55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2" y="0"/>
                    </a:lnTo>
                    <a:lnTo>
                      <a:pt x="32" y="36"/>
                    </a:lnTo>
                    <a:lnTo>
                      <a:pt x="59" y="36"/>
                    </a:lnTo>
                    <a:lnTo>
                      <a:pt x="59" y="36"/>
                    </a:lnTo>
                    <a:lnTo>
                      <a:pt x="68" y="37"/>
                    </a:lnTo>
                    <a:lnTo>
                      <a:pt x="76" y="38"/>
                    </a:lnTo>
                    <a:lnTo>
                      <a:pt x="84" y="41"/>
                    </a:lnTo>
                    <a:lnTo>
                      <a:pt x="92" y="46"/>
                    </a:lnTo>
                    <a:lnTo>
                      <a:pt x="92" y="46"/>
                    </a:lnTo>
                    <a:close/>
                    <a:moveTo>
                      <a:pt x="66" y="86"/>
                    </a:moveTo>
                    <a:lnTo>
                      <a:pt x="66" y="86"/>
                    </a:lnTo>
                    <a:lnTo>
                      <a:pt x="68" y="84"/>
                    </a:lnTo>
                    <a:lnTo>
                      <a:pt x="70" y="81"/>
                    </a:lnTo>
                    <a:lnTo>
                      <a:pt x="71" y="77"/>
                    </a:lnTo>
                    <a:lnTo>
                      <a:pt x="71" y="74"/>
                    </a:lnTo>
                    <a:lnTo>
                      <a:pt x="71" y="74"/>
                    </a:lnTo>
                    <a:lnTo>
                      <a:pt x="71" y="71"/>
                    </a:lnTo>
                    <a:lnTo>
                      <a:pt x="70" y="68"/>
                    </a:lnTo>
                    <a:lnTo>
                      <a:pt x="68" y="65"/>
                    </a:lnTo>
                    <a:lnTo>
                      <a:pt x="67" y="63"/>
                    </a:lnTo>
                    <a:lnTo>
                      <a:pt x="64" y="61"/>
                    </a:lnTo>
                    <a:lnTo>
                      <a:pt x="61" y="60"/>
                    </a:lnTo>
                    <a:lnTo>
                      <a:pt x="53" y="59"/>
                    </a:lnTo>
                    <a:lnTo>
                      <a:pt x="32" y="59"/>
                    </a:lnTo>
                    <a:lnTo>
                      <a:pt x="32" y="91"/>
                    </a:lnTo>
                    <a:lnTo>
                      <a:pt x="53" y="91"/>
                    </a:lnTo>
                    <a:lnTo>
                      <a:pt x="53" y="91"/>
                    </a:lnTo>
                    <a:lnTo>
                      <a:pt x="57" y="91"/>
                    </a:lnTo>
                    <a:lnTo>
                      <a:pt x="60" y="90"/>
                    </a:lnTo>
                    <a:lnTo>
                      <a:pt x="63" y="88"/>
                    </a:lnTo>
                    <a:lnTo>
                      <a:pt x="66" y="86"/>
                    </a:lnTo>
                    <a:lnTo>
                      <a:pt x="66" y="86"/>
                    </a:lnTo>
                    <a:close/>
                    <a:moveTo>
                      <a:pt x="116" y="0"/>
                    </a:moveTo>
                    <a:lnTo>
                      <a:pt x="147" y="0"/>
                    </a:lnTo>
                    <a:lnTo>
                      <a:pt x="147" y="115"/>
                    </a:lnTo>
                    <a:lnTo>
                      <a:pt x="116" y="115"/>
                    </a:lnTo>
                    <a:lnTo>
                      <a:pt x="116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9">
                <a:extLst>
                  <a:ext uri="{FF2B5EF4-FFF2-40B4-BE49-F238E27FC236}">
                    <a16:creationId xmlns:a16="http://schemas.microsoft.com/office/drawing/2014/main" id="{816E1F3F-1882-48FD-80F8-9197D6DF839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802941" y="1379538"/>
                <a:ext cx="74613" cy="90487"/>
              </a:xfrm>
              <a:custGeom>
                <a:avLst/>
                <a:gdLst>
                  <a:gd name="T0" fmla="*/ 92 w 92"/>
                  <a:gd name="T1" fmla="*/ 89 h 115"/>
                  <a:gd name="T2" fmla="*/ 92 w 92"/>
                  <a:gd name="T3" fmla="*/ 115 h 115"/>
                  <a:gd name="T4" fmla="*/ 0 w 92"/>
                  <a:gd name="T5" fmla="*/ 115 h 115"/>
                  <a:gd name="T6" fmla="*/ 0 w 92"/>
                  <a:gd name="T7" fmla="*/ 0 h 115"/>
                  <a:gd name="T8" fmla="*/ 90 w 92"/>
                  <a:gd name="T9" fmla="*/ 0 h 115"/>
                  <a:gd name="T10" fmla="*/ 90 w 92"/>
                  <a:gd name="T11" fmla="*/ 25 h 115"/>
                  <a:gd name="T12" fmla="*/ 32 w 92"/>
                  <a:gd name="T13" fmla="*/ 25 h 115"/>
                  <a:gd name="T14" fmla="*/ 32 w 92"/>
                  <a:gd name="T15" fmla="*/ 44 h 115"/>
                  <a:gd name="T16" fmla="*/ 83 w 92"/>
                  <a:gd name="T17" fmla="*/ 44 h 115"/>
                  <a:gd name="T18" fmla="*/ 83 w 92"/>
                  <a:gd name="T19" fmla="*/ 68 h 115"/>
                  <a:gd name="T20" fmla="*/ 32 w 92"/>
                  <a:gd name="T21" fmla="*/ 68 h 115"/>
                  <a:gd name="T22" fmla="*/ 32 w 92"/>
                  <a:gd name="T23" fmla="*/ 89 h 115"/>
                  <a:gd name="T24" fmla="*/ 92 w 92"/>
                  <a:gd name="T25" fmla="*/ 89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2" h="115">
                    <a:moveTo>
                      <a:pt x="92" y="89"/>
                    </a:moveTo>
                    <a:lnTo>
                      <a:pt x="9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25"/>
                    </a:lnTo>
                    <a:lnTo>
                      <a:pt x="32" y="25"/>
                    </a:lnTo>
                    <a:lnTo>
                      <a:pt x="32" y="44"/>
                    </a:lnTo>
                    <a:lnTo>
                      <a:pt x="83" y="44"/>
                    </a:lnTo>
                    <a:lnTo>
                      <a:pt x="83" y="68"/>
                    </a:lnTo>
                    <a:lnTo>
                      <a:pt x="32" y="68"/>
                    </a:lnTo>
                    <a:lnTo>
                      <a:pt x="32" y="89"/>
                    </a:lnTo>
                    <a:lnTo>
                      <a:pt x="92" y="8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10">
                <a:extLst>
                  <a:ext uri="{FF2B5EF4-FFF2-40B4-BE49-F238E27FC236}">
                    <a16:creationId xmlns:a16="http://schemas.microsoft.com/office/drawing/2014/main" id="{7803616A-D550-408E-9189-E3BB75F9B0B4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934704" y="1379538"/>
                <a:ext cx="82550" cy="90487"/>
              </a:xfrm>
              <a:custGeom>
                <a:avLst/>
                <a:gdLst>
                  <a:gd name="T0" fmla="*/ 99 w 105"/>
                  <a:gd name="T1" fmla="*/ 64 h 115"/>
                  <a:gd name="T2" fmla="*/ 104 w 105"/>
                  <a:gd name="T3" fmla="*/ 72 h 115"/>
                  <a:gd name="T4" fmla="*/ 105 w 105"/>
                  <a:gd name="T5" fmla="*/ 81 h 115"/>
                  <a:gd name="T6" fmla="*/ 104 w 105"/>
                  <a:gd name="T7" fmla="*/ 88 h 115"/>
                  <a:gd name="T8" fmla="*/ 98 w 105"/>
                  <a:gd name="T9" fmla="*/ 101 h 115"/>
                  <a:gd name="T10" fmla="*/ 93 w 105"/>
                  <a:gd name="T11" fmla="*/ 106 h 115"/>
                  <a:gd name="T12" fmla="*/ 78 w 105"/>
                  <a:gd name="T13" fmla="*/ 113 h 115"/>
                  <a:gd name="T14" fmla="*/ 58 w 105"/>
                  <a:gd name="T15" fmla="*/ 115 h 115"/>
                  <a:gd name="T16" fmla="*/ 0 w 105"/>
                  <a:gd name="T17" fmla="*/ 0 h 115"/>
                  <a:gd name="T18" fmla="*/ 55 w 105"/>
                  <a:gd name="T19" fmla="*/ 0 h 115"/>
                  <a:gd name="T20" fmla="*/ 72 w 105"/>
                  <a:gd name="T21" fmla="*/ 2 h 115"/>
                  <a:gd name="T22" fmla="*/ 88 w 105"/>
                  <a:gd name="T23" fmla="*/ 8 h 115"/>
                  <a:gd name="T24" fmla="*/ 93 w 105"/>
                  <a:gd name="T25" fmla="*/ 12 h 115"/>
                  <a:gd name="T26" fmla="*/ 99 w 105"/>
                  <a:gd name="T27" fmla="*/ 23 h 115"/>
                  <a:gd name="T28" fmla="*/ 100 w 105"/>
                  <a:gd name="T29" fmla="*/ 30 h 115"/>
                  <a:gd name="T30" fmla="*/ 96 w 105"/>
                  <a:gd name="T31" fmla="*/ 45 h 115"/>
                  <a:gd name="T32" fmla="*/ 91 w 105"/>
                  <a:gd name="T33" fmla="*/ 50 h 115"/>
                  <a:gd name="T34" fmla="*/ 84 w 105"/>
                  <a:gd name="T35" fmla="*/ 54 h 115"/>
                  <a:gd name="T36" fmla="*/ 93 w 105"/>
                  <a:gd name="T37" fmla="*/ 58 h 115"/>
                  <a:gd name="T38" fmla="*/ 99 w 105"/>
                  <a:gd name="T39" fmla="*/ 64 h 115"/>
                  <a:gd name="T40" fmla="*/ 32 w 105"/>
                  <a:gd name="T41" fmla="*/ 46 h 115"/>
                  <a:gd name="T42" fmla="*/ 52 w 105"/>
                  <a:gd name="T43" fmla="*/ 46 h 115"/>
                  <a:gd name="T44" fmla="*/ 63 w 105"/>
                  <a:gd name="T45" fmla="*/ 43 h 115"/>
                  <a:gd name="T46" fmla="*/ 66 w 105"/>
                  <a:gd name="T47" fmla="*/ 34 h 115"/>
                  <a:gd name="T48" fmla="*/ 65 w 105"/>
                  <a:gd name="T49" fmla="*/ 29 h 115"/>
                  <a:gd name="T50" fmla="*/ 58 w 105"/>
                  <a:gd name="T51" fmla="*/ 24 h 115"/>
                  <a:gd name="T52" fmla="*/ 32 w 105"/>
                  <a:gd name="T53" fmla="*/ 23 h 115"/>
                  <a:gd name="T54" fmla="*/ 71 w 105"/>
                  <a:gd name="T55" fmla="*/ 79 h 115"/>
                  <a:gd name="T56" fmla="*/ 70 w 105"/>
                  <a:gd name="T57" fmla="*/ 74 h 115"/>
                  <a:gd name="T58" fmla="*/ 63 w 105"/>
                  <a:gd name="T59" fmla="*/ 68 h 115"/>
                  <a:gd name="T60" fmla="*/ 32 w 105"/>
                  <a:gd name="T61" fmla="*/ 67 h 115"/>
                  <a:gd name="T62" fmla="*/ 57 w 105"/>
                  <a:gd name="T63" fmla="*/ 91 h 115"/>
                  <a:gd name="T64" fmla="*/ 63 w 105"/>
                  <a:gd name="T65" fmla="*/ 90 h 115"/>
                  <a:gd name="T66" fmla="*/ 70 w 105"/>
                  <a:gd name="T67" fmla="*/ 84 h 115"/>
                  <a:gd name="T68" fmla="*/ 71 w 105"/>
                  <a:gd name="T69" fmla="*/ 79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5" h="115">
                    <a:moveTo>
                      <a:pt x="99" y="64"/>
                    </a:moveTo>
                    <a:lnTo>
                      <a:pt x="99" y="64"/>
                    </a:lnTo>
                    <a:lnTo>
                      <a:pt x="102" y="68"/>
                    </a:lnTo>
                    <a:lnTo>
                      <a:pt x="104" y="72"/>
                    </a:lnTo>
                    <a:lnTo>
                      <a:pt x="105" y="77"/>
                    </a:lnTo>
                    <a:lnTo>
                      <a:pt x="105" y="81"/>
                    </a:lnTo>
                    <a:lnTo>
                      <a:pt x="105" y="81"/>
                    </a:lnTo>
                    <a:lnTo>
                      <a:pt x="104" y="88"/>
                    </a:lnTo>
                    <a:lnTo>
                      <a:pt x="102" y="95"/>
                    </a:lnTo>
                    <a:lnTo>
                      <a:pt x="98" y="101"/>
                    </a:lnTo>
                    <a:lnTo>
                      <a:pt x="93" y="106"/>
                    </a:lnTo>
                    <a:lnTo>
                      <a:pt x="93" y="106"/>
                    </a:lnTo>
                    <a:lnTo>
                      <a:pt x="86" y="110"/>
                    </a:lnTo>
                    <a:lnTo>
                      <a:pt x="78" y="113"/>
                    </a:lnTo>
                    <a:lnTo>
                      <a:pt x="69" y="114"/>
                    </a:lnTo>
                    <a:lnTo>
                      <a:pt x="58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55" y="0"/>
                    </a:lnTo>
                    <a:lnTo>
                      <a:pt x="55" y="0"/>
                    </a:lnTo>
                    <a:lnTo>
                      <a:pt x="64" y="0"/>
                    </a:lnTo>
                    <a:lnTo>
                      <a:pt x="72" y="2"/>
                    </a:lnTo>
                    <a:lnTo>
                      <a:pt x="81" y="4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93" y="12"/>
                    </a:lnTo>
                    <a:lnTo>
                      <a:pt x="97" y="17"/>
                    </a:lnTo>
                    <a:lnTo>
                      <a:pt x="99" y="23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99" y="37"/>
                    </a:lnTo>
                    <a:lnTo>
                      <a:pt x="96" y="45"/>
                    </a:lnTo>
                    <a:lnTo>
                      <a:pt x="96" y="45"/>
                    </a:lnTo>
                    <a:lnTo>
                      <a:pt x="91" y="50"/>
                    </a:lnTo>
                    <a:lnTo>
                      <a:pt x="84" y="54"/>
                    </a:lnTo>
                    <a:lnTo>
                      <a:pt x="84" y="54"/>
                    </a:lnTo>
                    <a:lnTo>
                      <a:pt x="88" y="56"/>
                    </a:lnTo>
                    <a:lnTo>
                      <a:pt x="93" y="58"/>
                    </a:lnTo>
                    <a:lnTo>
                      <a:pt x="96" y="61"/>
                    </a:lnTo>
                    <a:lnTo>
                      <a:pt x="99" y="64"/>
                    </a:lnTo>
                    <a:lnTo>
                      <a:pt x="99" y="64"/>
                    </a:lnTo>
                    <a:close/>
                    <a:moveTo>
                      <a:pt x="32" y="46"/>
                    </a:moveTo>
                    <a:lnTo>
                      <a:pt x="52" y="46"/>
                    </a:lnTo>
                    <a:lnTo>
                      <a:pt x="52" y="46"/>
                    </a:lnTo>
                    <a:lnTo>
                      <a:pt x="58" y="45"/>
                    </a:lnTo>
                    <a:lnTo>
                      <a:pt x="63" y="43"/>
                    </a:lnTo>
                    <a:lnTo>
                      <a:pt x="65" y="39"/>
                    </a:lnTo>
                    <a:lnTo>
                      <a:pt x="66" y="34"/>
                    </a:lnTo>
                    <a:lnTo>
                      <a:pt x="66" y="34"/>
                    </a:lnTo>
                    <a:lnTo>
                      <a:pt x="65" y="29"/>
                    </a:lnTo>
                    <a:lnTo>
                      <a:pt x="63" y="26"/>
                    </a:lnTo>
                    <a:lnTo>
                      <a:pt x="58" y="24"/>
                    </a:lnTo>
                    <a:lnTo>
                      <a:pt x="52" y="23"/>
                    </a:lnTo>
                    <a:lnTo>
                      <a:pt x="32" y="23"/>
                    </a:lnTo>
                    <a:lnTo>
                      <a:pt x="32" y="46"/>
                    </a:lnTo>
                    <a:close/>
                    <a:moveTo>
                      <a:pt x="71" y="79"/>
                    </a:moveTo>
                    <a:lnTo>
                      <a:pt x="71" y="79"/>
                    </a:lnTo>
                    <a:lnTo>
                      <a:pt x="70" y="74"/>
                    </a:lnTo>
                    <a:lnTo>
                      <a:pt x="68" y="70"/>
                    </a:lnTo>
                    <a:lnTo>
                      <a:pt x="63" y="68"/>
                    </a:lnTo>
                    <a:lnTo>
                      <a:pt x="57" y="67"/>
                    </a:lnTo>
                    <a:lnTo>
                      <a:pt x="32" y="67"/>
                    </a:lnTo>
                    <a:lnTo>
                      <a:pt x="32" y="91"/>
                    </a:lnTo>
                    <a:lnTo>
                      <a:pt x="57" y="91"/>
                    </a:lnTo>
                    <a:lnTo>
                      <a:pt x="57" y="91"/>
                    </a:lnTo>
                    <a:lnTo>
                      <a:pt x="63" y="90"/>
                    </a:lnTo>
                    <a:lnTo>
                      <a:pt x="68" y="88"/>
                    </a:lnTo>
                    <a:lnTo>
                      <a:pt x="70" y="84"/>
                    </a:lnTo>
                    <a:lnTo>
                      <a:pt x="71" y="79"/>
                    </a:lnTo>
                    <a:lnTo>
                      <a:pt x="71" y="7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11">
                <a:extLst>
                  <a:ext uri="{FF2B5EF4-FFF2-40B4-BE49-F238E27FC236}">
                    <a16:creationId xmlns:a16="http://schemas.microsoft.com/office/drawing/2014/main" id="{7A3C3CA3-7D0C-4063-ABCE-281A504D0C0B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1033129" y="1379538"/>
                <a:ext cx="119063" cy="90487"/>
              </a:xfrm>
              <a:custGeom>
                <a:avLst/>
                <a:gdLst>
                  <a:gd name="T0" fmla="*/ 92 w 148"/>
                  <a:gd name="T1" fmla="*/ 46 h 115"/>
                  <a:gd name="T2" fmla="*/ 92 w 148"/>
                  <a:gd name="T3" fmla="*/ 46 h 115"/>
                  <a:gd name="T4" fmla="*/ 97 w 148"/>
                  <a:gd name="T5" fmla="*/ 51 h 115"/>
                  <a:gd name="T6" fmla="*/ 101 w 148"/>
                  <a:gd name="T7" fmla="*/ 58 h 115"/>
                  <a:gd name="T8" fmla="*/ 103 w 148"/>
                  <a:gd name="T9" fmla="*/ 66 h 115"/>
                  <a:gd name="T10" fmla="*/ 103 w 148"/>
                  <a:gd name="T11" fmla="*/ 73 h 115"/>
                  <a:gd name="T12" fmla="*/ 103 w 148"/>
                  <a:gd name="T13" fmla="*/ 73 h 115"/>
                  <a:gd name="T14" fmla="*/ 103 w 148"/>
                  <a:gd name="T15" fmla="*/ 82 h 115"/>
                  <a:gd name="T16" fmla="*/ 100 w 148"/>
                  <a:gd name="T17" fmla="*/ 90 h 115"/>
                  <a:gd name="T18" fmla="*/ 96 w 148"/>
                  <a:gd name="T19" fmla="*/ 97 h 115"/>
                  <a:gd name="T20" fmla="*/ 91 w 148"/>
                  <a:gd name="T21" fmla="*/ 104 h 115"/>
                  <a:gd name="T22" fmla="*/ 91 w 148"/>
                  <a:gd name="T23" fmla="*/ 104 h 115"/>
                  <a:gd name="T24" fmla="*/ 83 w 148"/>
                  <a:gd name="T25" fmla="*/ 109 h 115"/>
                  <a:gd name="T26" fmla="*/ 73 w 148"/>
                  <a:gd name="T27" fmla="*/ 113 h 115"/>
                  <a:gd name="T28" fmla="*/ 64 w 148"/>
                  <a:gd name="T29" fmla="*/ 115 h 115"/>
                  <a:gd name="T30" fmla="*/ 54 w 148"/>
                  <a:gd name="T31" fmla="*/ 115 h 115"/>
                  <a:gd name="T32" fmla="*/ 0 w 148"/>
                  <a:gd name="T33" fmla="*/ 115 h 115"/>
                  <a:gd name="T34" fmla="*/ 0 w 148"/>
                  <a:gd name="T35" fmla="*/ 0 h 115"/>
                  <a:gd name="T36" fmla="*/ 32 w 148"/>
                  <a:gd name="T37" fmla="*/ 0 h 115"/>
                  <a:gd name="T38" fmla="*/ 32 w 148"/>
                  <a:gd name="T39" fmla="*/ 36 h 115"/>
                  <a:gd name="T40" fmla="*/ 59 w 148"/>
                  <a:gd name="T41" fmla="*/ 36 h 115"/>
                  <a:gd name="T42" fmla="*/ 59 w 148"/>
                  <a:gd name="T43" fmla="*/ 36 h 115"/>
                  <a:gd name="T44" fmla="*/ 67 w 148"/>
                  <a:gd name="T45" fmla="*/ 37 h 115"/>
                  <a:gd name="T46" fmla="*/ 76 w 148"/>
                  <a:gd name="T47" fmla="*/ 38 h 115"/>
                  <a:gd name="T48" fmla="*/ 85 w 148"/>
                  <a:gd name="T49" fmla="*/ 41 h 115"/>
                  <a:gd name="T50" fmla="*/ 92 w 148"/>
                  <a:gd name="T51" fmla="*/ 46 h 115"/>
                  <a:gd name="T52" fmla="*/ 92 w 148"/>
                  <a:gd name="T53" fmla="*/ 46 h 115"/>
                  <a:gd name="T54" fmla="*/ 65 w 148"/>
                  <a:gd name="T55" fmla="*/ 86 h 115"/>
                  <a:gd name="T56" fmla="*/ 65 w 148"/>
                  <a:gd name="T57" fmla="*/ 86 h 115"/>
                  <a:gd name="T58" fmla="*/ 67 w 148"/>
                  <a:gd name="T59" fmla="*/ 84 h 115"/>
                  <a:gd name="T60" fmla="*/ 69 w 148"/>
                  <a:gd name="T61" fmla="*/ 81 h 115"/>
                  <a:gd name="T62" fmla="*/ 70 w 148"/>
                  <a:gd name="T63" fmla="*/ 77 h 115"/>
                  <a:gd name="T64" fmla="*/ 70 w 148"/>
                  <a:gd name="T65" fmla="*/ 74 h 115"/>
                  <a:gd name="T66" fmla="*/ 70 w 148"/>
                  <a:gd name="T67" fmla="*/ 74 h 115"/>
                  <a:gd name="T68" fmla="*/ 70 w 148"/>
                  <a:gd name="T69" fmla="*/ 71 h 115"/>
                  <a:gd name="T70" fmla="*/ 69 w 148"/>
                  <a:gd name="T71" fmla="*/ 68 h 115"/>
                  <a:gd name="T72" fmla="*/ 68 w 148"/>
                  <a:gd name="T73" fmla="*/ 65 h 115"/>
                  <a:gd name="T74" fmla="*/ 66 w 148"/>
                  <a:gd name="T75" fmla="*/ 63 h 115"/>
                  <a:gd name="T76" fmla="*/ 63 w 148"/>
                  <a:gd name="T77" fmla="*/ 61 h 115"/>
                  <a:gd name="T78" fmla="*/ 60 w 148"/>
                  <a:gd name="T79" fmla="*/ 60 h 115"/>
                  <a:gd name="T80" fmla="*/ 52 w 148"/>
                  <a:gd name="T81" fmla="*/ 59 h 115"/>
                  <a:gd name="T82" fmla="*/ 33 w 148"/>
                  <a:gd name="T83" fmla="*/ 59 h 115"/>
                  <a:gd name="T84" fmla="*/ 33 w 148"/>
                  <a:gd name="T85" fmla="*/ 91 h 115"/>
                  <a:gd name="T86" fmla="*/ 52 w 148"/>
                  <a:gd name="T87" fmla="*/ 91 h 115"/>
                  <a:gd name="T88" fmla="*/ 52 w 148"/>
                  <a:gd name="T89" fmla="*/ 91 h 115"/>
                  <a:gd name="T90" fmla="*/ 56 w 148"/>
                  <a:gd name="T91" fmla="*/ 91 h 115"/>
                  <a:gd name="T92" fmla="*/ 59 w 148"/>
                  <a:gd name="T93" fmla="*/ 90 h 115"/>
                  <a:gd name="T94" fmla="*/ 62 w 148"/>
                  <a:gd name="T95" fmla="*/ 88 h 115"/>
                  <a:gd name="T96" fmla="*/ 65 w 148"/>
                  <a:gd name="T97" fmla="*/ 86 h 115"/>
                  <a:gd name="T98" fmla="*/ 65 w 148"/>
                  <a:gd name="T99" fmla="*/ 86 h 115"/>
                  <a:gd name="T100" fmla="*/ 116 w 148"/>
                  <a:gd name="T101" fmla="*/ 0 h 115"/>
                  <a:gd name="T102" fmla="*/ 148 w 148"/>
                  <a:gd name="T103" fmla="*/ 0 h 115"/>
                  <a:gd name="T104" fmla="*/ 148 w 148"/>
                  <a:gd name="T105" fmla="*/ 115 h 115"/>
                  <a:gd name="T106" fmla="*/ 116 w 148"/>
                  <a:gd name="T107" fmla="*/ 115 h 115"/>
                  <a:gd name="T108" fmla="*/ 116 w 148"/>
                  <a:gd name="T109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48" h="115">
                    <a:moveTo>
                      <a:pt x="92" y="46"/>
                    </a:moveTo>
                    <a:lnTo>
                      <a:pt x="92" y="46"/>
                    </a:lnTo>
                    <a:lnTo>
                      <a:pt x="97" y="51"/>
                    </a:lnTo>
                    <a:lnTo>
                      <a:pt x="101" y="58"/>
                    </a:lnTo>
                    <a:lnTo>
                      <a:pt x="103" y="66"/>
                    </a:lnTo>
                    <a:lnTo>
                      <a:pt x="103" y="73"/>
                    </a:lnTo>
                    <a:lnTo>
                      <a:pt x="103" y="73"/>
                    </a:lnTo>
                    <a:lnTo>
                      <a:pt x="103" y="82"/>
                    </a:lnTo>
                    <a:lnTo>
                      <a:pt x="100" y="90"/>
                    </a:lnTo>
                    <a:lnTo>
                      <a:pt x="96" y="97"/>
                    </a:lnTo>
                    <a:lnTo>
                      <a:pt x="91" y="104"/>
                    </a:lnTo>
                    <a:lnTo>
                      <a:pt x="91" y="104"/>
                    </a:lnTo>
                    <a:lnTo>
                      <a:pt x="83" y="109"/>
                    </a:lnTo>
                    <a:lnTo>
                      <a:pt x="73" y="113"/>
                    </a:lnTo>
                    <a:lnTo>
                      <a:pt x="64" y="115"/>
                    </a:lnTo>
                    <a:lnTo>
                      <a:pt x="54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2" y="0"/>
                    </a:lnTo>
                    <a:lnTo>
                      <a:pt x="32" y="36"/>
                    </a:lnTo>
                    <a:lnTo>
                      <a:pt x="59" y="36"/>
                    </a:lnTo>
                    <a:lnTo>
                      <a:pt x="59" y="36"/>
                    </a:lnTo>
                    <a:lnTo>
                      <a:pt x="67" y="37"/>
                    </a:lnTo>
                    <a:lnTo>
                      <a:pt x="76" y="38"/>
                    </a:lnTo>
                    <a:lnTo>
                      <a:pt x="85" y="41"/>
                    </a:lnTo>
                    <a:lnTo>
                      <a:pt x="92" y="46"/>
                    </a:lnTo>
                    <a:lnTo>
                      <a:pt x="92" y="46"/>
                    </a:lnTo>
                    <a:close/>
                    <a:moveTo>
                      <a:pt x="65" y="86"/>
                    </a:moveTo>
                    <a:lnTo>
                      <a:pt x="65" y="86"/>
                    </a:lnTo>
                    <a:lnTo>
                      <a:pt x="67" y="84"/>
                    </a:lnTo>
                    <a:lnTo>
                      <a:pt x="69" y="81"/>
                    </a:lnTo>
                    <a:lnTo>
                      <a:pt x="70" y="77"/>
                    </a:lnTo>
                    <a:lnTo>
                      <a:pt x="70" y="74"/>
                    </a:lnTo>
                    <a:lnTo>
                      <a:pt x="70" y="74"/>
                    </a:lnTo>
                    <a:lnTo>
                      <a:pt x="70" y="71"/>
                    </a:lnTo>
                    <a:lnTo>
                      <a:pt x="69" y="68"/>
                    </a:lnTo>
                    <a:lnTo>
                      <a:pt x="68" y="65"/>
                    </a:lnTo>
                    <a:lnTo>
                      <a:pt x="66" y="63"/>
                    </a:lnTo>
                    <a:lnTo>
                      <a:pt x="63" y="61"/>
                    </a:lnTo>
                    <a:lnTo>
                      <a:pt x="60" y="60"/>
                    </a:lnTo>
                    <a:lnTo>
                      <a:pt x="52" y="59"/>
                    </a:lnTo>
                    <a:lnTo>
                      <a:pt x="33" y="59"/>
                    </a:lnTo>
                    <a:lnTo>
                      <a:pt x="33" y="91"/>
                    </a:lnTo>
                    <a:lnTo>
                      <a:pt x="52" y="91"/>
                    </a:lnTo>
                    <a:lnTo>
                      <a:pt x="52" y="91"/>
                    </a:lnTo>
                    <a:lnTo>
                      <a:pt x="56" y="91"/>
                    </a:lnTo>
                    <a:lnTo>
                      <a:pt x="59" y="90"/>
                    </a:lnTo>
                    <a:lnTo>
                      <a:pt x="62" y="88"/>
                    </a:lnTo>
                    <a:lnTo>
                      <a:pt x="65" y="86"/>
                    </a:lnTo>
                    <a:lnTo>
                      <a:pt x="65" y="86"/>
                    </a:lnTo>
                    <a:close/>
                    <a:moveTo>
                      <a:pt x="116" y="0"/>
                    </a:moveTo>
                    <a:lnTo>
                      <a:pt x="148" y="0"/>
                    </a:lnTo>
                    <a:lnTo>
                      <a:pt x="148" y="115"/>
                    </a:lnTo>
                    <a:lnTo>
                      <a:pt x="116" y="115"/>
                    </a:lnTo>
                    <a:lnTo>
                      <a:pt x="116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12">
                <a:extLst>
                  <a:ext uri="{FF2B5EF4-FFF2-40B4-BE49-F238E27FC236}">
                    <a16:creationId xmlns:a16="http://schemas.microsoft.com/office/drawing/2014/main" id="{7B458397-68BF-4718-B41C-9C3226F12FA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166479" y="1376363"/>
                <a:ext cx="79375" cy="95250"/>
              </a:xfrm>
              <a:custGeom>
                <a:avLst/>
                <a:gdLst>
                  <a:gd name="T0" fmla="*/ 96 w 101"/>
                  <a:gd name="T1" fmla="*/ 68 h 120"/>
                  <a:gd name="T2" fmla="*/ 100 w 101"/>
                  <a:gd name="T3" fmla="*/ 76 h 120"/>
                  <a:gd name="T4" fmla="*/ 101 w 101"/>
                  <a:gd name="T5" fmla="*/ 85 h 120"/>
                  <a:gd name="T6" fmla="*/ 101 w 101"/>
                  <a:gd name="T7" fmla="*/ 90 h 120"/>
                  <a:gd name="T8" fmla="*/ 97 w 101"/>
                  <a:gd name="T9" fmla="*/ 99 h 120"/>
                  <a:gd name="T10" fmla="*/ 94 w 101"/>
                  <a:gd name="T11" fmla="*/ 104 h 120"/>
                  <a:gd name="T12" fmla="*/ 85 w 101"/>
                  <a:gd name="T13" fmla="*/ 111 h 120"/>
                  <a:gd name="T14" fmla="*/ 75 w 101"/>
                  <a:gd name="T15" fmla="*/ 116 h 120"/>
                  <a:gd name="T16" fmla="*/ 61 w 101"/>
                  <a:gd name="T17" fmla="*/ 119 h 120"/>
                  <a:gd name="T18" fmla="*/ 48 w 101"/>
                  <a:gd name="T19" fmla="*/ 120 h 120"/>
                  <a:gd name="T20" fmla="*/ 23 w 101"/>
                  <a:gd name="T21" fmla="*/ 118 h 120"/>
                  <a:gd name="T22" fmla="*/ 12 w 101"/>
                  <a:gd name="T23" fmla="*/ 114 h 120"/>
                  <a:gd name="T24" fmla="*/ 10 w 101"/>
                  <a:gd name="T25" fmla="*/ 86 h 120"/>
                  <a:gd name="T26" fmla="*/ 18 w 101"/>
                  <a:gd name="T27" fmla="*/ 89 h 120"/>
                  <a:gd name="T28" fmla="*/ 26 w 101"/>
                  <a:gd name="T29" fmla="*/ 92 h 120"/>
                  <a:gd name="T30" fmla="*/ 44 w 101"/>
                  <a:gd name="T31" fmla="*/ 94 h 120"/>
                  <a:gd name="T32" fmla="*/ 53 w 101"/>
                  <a:gd name="T33" fmla="*/ 93 h 120"/>
                  <a:gd name="T34" fmla="*/ 62 w 101"/>
                  <a:gd name="T35" fmla="*/ 90 h 120"/>
                  <a:gd name="T36" fmla="*/ 67 w 101"/>
                  <a:gd name="T37" fmla="*/ 86 h 120"/>
                  <a:gd name="T38" fmla="*/ 69 w 101"/>
                  <a:gd name="T39" fmla="*/ 80 h 120"/>
                  <a:gd name="T40" fmla="*/ 68 w 101"/>
                  <a:gd name="T41" fmla="*/ 78 h 120"/>
                  <a:gd name="T42" fmla="*/ 66 w 101"/>
                  <a:gd name="T43" fmla="*/ 74 h 120"/>
                  <a:gd name="T44" fmla="*/ 64 w 101"/>
                  <a:gd name="T45" fmla="*/ 73 h 120"/>
                  <a:gd name="T46" fmla="*/ 53 w 101"/>
                  <a:gd name="T47" fmla="*/ 70 h 120"/>
                  <a:gd name="T48" fmla="*/ 23 w 101"/>
                  <a:gd name="T49" fmla="*/ 47 h 120"/>
                  <a:gd name="T50" fmla="*/ 50 w 101"/>
                  <a:gd name="T51" fmla="*/ 47 h 120"/>
                  <a:gd name="T52" fmla="*/ 60 w 101"/>
                  <a:gd name="T53" fmla="*/ 44 h 120"/>
                  <a:gd name="T54" fmla="*/ 63 w 101"/>
                  <a:gd name="T55" fmla="*/ 41 h 120"/>
                  <a:gd name="T56" fmla="*/ 64 w 101"/>
                  <a:gd name="T57" fmla="*/ 37 h 120"/>
                  <a:gd name="T58" fmla="*/ 62 w 101"/>
                  <a:gd name="T59" fmla="*/ 32 h 120"/>
                  <a:gd name="T60" fmla="*/ 58 w 101"/>
                  <a:gd name="T61" fmla="*/ 29 h 120"/>
                  <a:gd name="T62" fmla="*/ 51 w 101"/>
                  <a:gd name="T63" fmla="*/ 26 h 120"/>
                  <a:gd name="T64" fmla="*/ 44 w 101"/>
                  <a:gd name="T65" fmla="*/ 26 h 120"/>
                  <a:gd name="T66" fmla="*/ 28 w 101"/>
                  <a:gd name="T67" fmla="*/ 28 h 120"/>
                  <a:gd name="T68" fmla="*/ 20 w 101"/>
                  <a:gd name="T69" fmla="*/ 30 h 120"/>
                  <a:gd name="T70" fmla="*/ 3 w 101"/>
                  <a:gd name="T71" fmla="*/ 9 h 120"/>
                  <a:gd name="T72" fmla="*/ 13 w 101"/>
                  <a:gd name="T73" fmla="*/ 5 h 120"/>
                  <a:gd name="T74" fmla="*/ 33 w 101"/>
                  <a:gd name="T75" fmla="*/ 1 h 120"/>
                  <a:gd name="T76" fmla="*/ 44 w 101"/>
                  <a:gd name="T77" fmla="*/ 0 h 120"/>
                  <a:gd name="T78" fmla="*/ 70 w 101"/>
                  <a:gd name="T79" fmla="*/ 4 h 120"/>
                  <a:gd name="T80" fmla="*/ 75 w 101"/>
                  <a:gd name="T81" fmla="*/ 6 h 120"/>
                  <a:gd name="T82" fmla="*/ 85 w 101"/>
                  <a:gd name="T83" fmla="*/ 12 h 120"/>
                  <a:gd name="T84" fmla="*/ 89 w 101"/>
                  <a:gd name="T85" fmla="*/ 16 h 120"/>
                  <a:gd name="T86" fmla="*/ 95 w 101"/>
                  <a:gd name="T87" fmla="*/ 24 h 120"/>
                  <a:gd name="T88" fmla="*/ 96 w 101"/>
                  <a:gd name="T89" fmla="*/ 34 h 120"/>
                  <a:gd name="T90" fmla="*/ 95 w 101"/>
                  <a:gd name="T91" fmla="*/ 41 h 120"/>
                  <a:gd name="T92" fmla="*/ 92 w 101"/>
                  <a:gd name="T93" fmla="*/ 48 h 120"/>
                  <a:gd name="T94" fmla="*/ 81 w 101"/>
                  <a:gd name="T95" fmla="*/ 58 h 120"/>
                  <a:gd name="T96" fmla="*/ 85 w 101"/>
                  <a:gd name="T97" fmla="*/ 59 h 120"/>
                  <a:gd name="T98" fmla="*/ 93 w 101"/>
                  <a:gd name="T99" fmla="*/ 65 h 120"/>
                  <a:gd name="T100" fmla="*/ 96 w 101"/>
                  <a:gd name="T101" fmla="*/ 68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01" h="120">
                    <a:moveTo>
                      <a:pt x="96" y="68"/>
                    </a:moveTo>
                    <a:lnTo>
                      <a:pt x="96" y="68"/>
                    </a:lnTo>
                    <a:lnTo>
                      <a:pt x="98" y="72"/>
                    </a:lnTo>
                    <a:lnTo>
                      <a:pt x="100" y="76"/>
                    </a:lnTo>
                    <a:lnTo>
                      <a:pt x="101" y="80"/>
                    </a:lnTo>
                    <a:lnTo>
                      <a:pt x="101" y="85"/>
                    </a:lnTo>
                    <a:lnTo>
                      <a:pt x="101" y="85"/>
                    </a:lnTo>
                    <a:lnTo>
                      <a:pt x="101" y="90"/>
                    </a:lnTo>
                    <a:lnTo>
                      <a:pt x="99" y="95"/>
                    </a:lnTo>
                    <a:lnTo>
                      <a:pt x="97" y="99"/>
                    </a:lnTo>
                    <a:lnTo>
                      <a:pt x="94" y="104"/>
                    </a:lnTo>
                    <a:lnTo>
                      <a:pt x="94" y="104"/>
                    </a:lnTo>
                    <a:lnTo>
                      <a:pt x="90" y="108"/>
                    </a:lnTo>
                    <a:lnTo>
                      <a:pt x="85" y="111"/>
                    </a:lnTo>
                    <a:lnTo>
                      <a:pt x="80" y="114"/>
                    </a:lnTo>
                    <a:lnTo>
                      <a:pt x="75" y="116"/>
                    </a:lnTo>
                    <a:lnTo>
                      <a:pt x="75" y="116"/>
                    </a:lnTo>
                    <a:lnTo>
                      <a:pt x="61" y="119"/>
                    </a:lnTo>
                    <a:lnTo>
                      <a:pt x="48" y="120"/>
                    </a:lnTo>
                    <a:lnTo>
                      <a:pt x="48" y="120"/>
                    </a:lnTo>
                    <a:lnTo>
                      <a:pt x="35" y="120"/>
                    </a:lnTo>
                    <a:lnTo>
                      <a:pt x="23" y="118"/>
                    </a:lnTo>
                    <a:lnTo>
                      <a:pt x="23" y="118"/>
                    </a:lnTo>
                    <a:lnTo>
                      <a:pt x="12" y="114"/>
                    </a:lnTo>
                    <a:lnTo>
                      <a:pt x="0" y="109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8" y="89"/>
                    </a:lnTo>
                    <a:lnTo>
                      <a:pt x="26" y="92"/>
                    </a:lnTo>
                    <a:lnTo>
                      <a:pt x="26" y="92"/>
                    </a:lnTo>
                    <a:lnTo>
                      <a:pt x="35" y="93"/>
                    </a:lnTo>
                    <a:lnTo>
                      <a:pt x="44" y="94"/>
                    </a:lnTo>
                    <a:lnTo>
                      <a:pt x="44" y="94"/>
                    </a:lnTo>
                    <a:lnTo>
                      <a:pt x="53" y="93"/>
                    </a:lnTo>
                    <a:lnTo>
                      <a:pt x="62" y="90"/>
                    </a:lnTo>
                    <a:lnTo>
                      <a:pt x="62" y="90"/>
                    </a:lnTo>
                    <a:lnTo>
                      <a:pt x="64" y="89"/>
                    </a:lnTo>
                    <a:lnTo>
                      <a:pt x="67" y="86"/>
                    </a:lnTo>
                    <a:lnTo>
                      <a:pt x="68" y="84"/>
                    </a:lnTo>
                    <a:lnTo>
                      <a:pt x="69" y="80"/>
                    </a:lnTo>
                    <a:lnTo>
                      <a:pt x="69" y="80"/>
                    </a:lnTo>
                    <a:lnTo>
                      <a:pt x="68" y="78"/>
                    </a:lnTo>
                    <a:lnTo>
                      <a:pt x="67" y="76"/>
                    </a:lnTo>
                    <a:lnTo>
                      <a:pt x="66" y="74"/>
                    </a:lnTo>
                    <a:lnTo>
                      <a:pt x="64" y="73"/>
                    </a:lnTo>
                    <a:lnTo>
                      <a:pt x="64" y="73"/>
                    </a:lnTo>
                    <a:lnTo>
                      <a:pt x="59" y="71"/>
                    </a:lnTo>
                    <a:lnTo>
                      <a:pt x="53" y="70"/>
                    </a:lnTo>
                    <a:lnTo>
                      <a:pt x="23" y="70"/>
                    </a:lnTo>
                    <a:lnTo>
                      <a:pt x="23" y="47"/>
                    </a:lnTo>
                    <a:lnTo>
                      <a:pt x="50" y="47"/>
                    </a:lnTo>
                    <a:lnTo>
                      <a:pt x="50" y="47"/>
                    </a:lnTo>
                    <a:lnTo>
                      <a:pt x="55" y="46"/>
                    </a:lnTo>
                    <a:lnTo>
                      <a:pt x="60" y="44"/>
                    </a:lnTo>
                    <a:lnTo>
                      <a:pt x="60" y="44"/>
                    </a:lnTo>
                    <a:lnTo>
                      <a:pt x="63" y="41"/>
                    </a:lnTo>
                    <a:lnTo>
                      <a:pt x="64" y="37"/>
                    </a:lnTo>
                    <a:lnTo>
                      <a:pt x="64" y="37"/>
                    </a:lnTo>
                    <a:lnTo>
                      <a:pt x="63" y="35"/>
                    </a:lnTo>
                    <a:lnTo>
                      <a:pt x="62" y="32"/>
                    </a:lnTo>
                    <a:lnTo>
                      <a:pt x="61" y="30"/>
                    </a:lnTo>
                    <a:lnTo>
                      <a:pt x="58" y="29"/>
                    </a:lnTo>
                    <a:lnTo>
                      <a:pt x="58" y="29"/>
                    </a:lnTo>
                    <a:lnTo>
                      <a:pt x="51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35" y="26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0" y="30"/>
                    </a:lnTo>
                    <a:lnTo>
                      <a:pt x="13" y="34"/>
                    </a:lnTo>
                    <a:lnTo>
                      <a:pt x="3" y="9"/>
                    </a:lnTo>
                    <a:lnTo>
                      <a:pt x="3" y="9"/>
                    </a:lnTo>
                    <a:lnTo>
                      <a:pt x="13" y="5"/>
                    </a:lnTo>
                    <a:lnTo>
                      <a:pt x="23" y="2"/>
                    </a:lnTo>
                    <a:lnTo>
                      <a:pt x="33" y="1"/>
                    </a:lnTo>
                    <a:lnTo>
                      <a:pt x="44" y="0"/>
                    </a:lnTo>
                    <a:lnTo>
                      <a:pt x="44" y="0"/>
                    </a:lnTo>
                    <a:lnTo>
                      <a:pt x="57" y="1"/>
                    </a:lnTo>
                    <a:lnTo>
                      <a:pt x="70" y="4"/>
                    </a:lnTo>
                    <a:lnTo>
                      <a:pt x="70" y="4"/>
                    </a:lnTo>
                    <a:lnTo>
                      <a:pt x="75" y="6"/>
                    </a:lnTo>
                    <a:lnTo>
                      <a:pt x="80" y="9"/>
                    </a:lnTo>
                    <a:lnTo>
                      <a:pt x="85" y="12"/>
                    </a:lnTo>
                    <a:lnTo>
                      <a:pt x="89" y="16"/>
                    </a:lnTo>
                    <a:lnTo>
                      <a:pt x="89" y="16"/>
                    </a:lnTo>
                    <a:lnTo>
                      <a:pt x="92" y="20"/>
                    </a:lnTo>
                    <a:lnTo>
                      <a:pt x="95" y="24"/>
                    </a:lnTo>
                    <a:lnTo>
                      <a:pt x="96" y="29"/>
                    </a:lnTo>
                    <a:lnTo>
                      <a:pt x="96" y="34"/>
                    </a:lnTo>
                    <a:lnTo>
                      <a:pt x="96" y="34"/>
                    </a:lnTo>
                    <a:lnTo>
                      <a:pt x="95" y="41"/>
                    </a:lnTo>
                    <a:lnTo>
                      <a:pt x="92" y="48"/>
                    </a:lnTo>
                    <a:lnTo>
                      <a:pt x="92" y="48"/>
                    </a:lnTo>
                    <a:lnTo>
                      <a:pt x="87" y="53"/>
                    </a:lnTo>
                    <a:lnTo>
                      <a:pt x="81" y="58"/>
                    </a:lnTo>
                    <a:lnTo>
                      <a:pt x="81" y="58"/>
                    </a:lnTo>
                    <a:lnTo>
                      <a:pt x="85" y="59"/>
                    </a:lnTo>
                    <a:lnTo>
                      <a:pt x="89" y="62"/>
                    </a:lnTo>
                    <a:lnTo>
                      <a:pt x="93" y="65"/>
                    </a:lnTo>
                    <a:lnTo>
                      <a:pt x="96" y="68"/>
                    </a:lnTo>
                    <a:lnTo>
                      <a:pt x="96" y="6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13">
                <a:extLst>
                  <a:ext uri="{FF2B5EF4-FFF2-40B4-BE49-F238E27FC236}">
                    <a16:creationId xmlns:a16="http://schemas.microsoft.com/office/drawing/2014/main" id="{D0BEF0B3-224A-46E2-9742-2AF1E3677101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1256966" y="1377950"/>
                <a:ext cx="101600" cy="93662"/>
              </a:xfrm>
              <a:custGeom>
                <a:avLst/>
                <a:gdLst>
                  <a:gd name="T0" fmla="*/ 31 w 128"/>
                  <a:gd name="T1" fmla="*/ 112 h 119"/>
                  <a:gd name="T2" fmla="*/ 21 w 128"/>
                  <a:gd name="T3" fmla="*/ 105 h 119"/>
                  <a:gd name="T4" fmla="*/ 7 w 128"/>
                  <a:gd name="T5" fmla="*/ 87 h 119"/>
                  <a:gd name="T6" fmla="*/ 0 w 128"/>
                  <a:gd name="T7" fmla="*/ 65 h 119"/>
                  <a:gd name="T8" fmla="*/ 2 w 128"/>
                  <a:gd name="T9" fmla="*/ 43 h 119"/>
                  <a:gd name="T10" fmla="*/ 7 w 128"/>
                  <a:gd name="T11" fmla="*/ 32 h 119"/>
                  <a:gd name="T12" fmla="*/ 11 w 128"/>
                  <a:gd name="T13" fmla="*/ 24 h 119"/>
                  <a:gd name="T14" fmla="*/ 24 w 128"/>
                  <a:gd name="T15" fmla="*/ 12 h 119"/>
                  <a:gd name="T16" fmla="*/ 31 w 128"/>
                  <a:gd name="T17" fmla="*/ 7 h 119"/>
                  <a:gd name="T18" fmla="*/ 47 w 128"/>
                  <a:gd name="T19" fmla="*/ 2 h 119"/>
                  <a:gd name="T20" fmla="*/ 65 w 128"/>
                  <a:gd name="T21" fmla="*/ 0 h 119"/>
                  <a:gd name="T22" fmla="*/ 81 w 128"/>
                  <a:gd name="T23" fmla="*/ 2 h 119"/>
                  <a:gd name="T24" fmla="*/ 97 w 128"/>
                  <a:gd name="T25" fmla="*/ 7 h 119"/>
                  <a:gd name="T26" fmla="*/ 102 w 128"/>
                  <a:gd name="T27" fmla="*/ 10 h 119"/>
                  <a:gd name="T28" fmla="*/ 115 w 128"/>
                  <a:gd name="T29" fmla="*/ 22 h 119"/>
                  <a:gd name="T30" fmla="*/ 126 w 128"/>
                  <a:gd name="T31" fmla="*/ 42 h 119"/>
                  <a:gd name="T32" fmla="*/ 128 w 128"/>
                  <a:gd name="T33" fmla="*/ 64 h 119"/>
                  <a:gd name="T34" fmla="*/ 124 w 128"/>
                  <a:gd name="T35" fmla="*/ 81 h 119"/>
                  <a:gd name="T36" fmla="*/ 122 w 128"/>
                  <a:gd name="T37" fmla="*/ 86 h 119"/>
                  <a:gd name="T38" fmla="*/ 111 w 128"/>
                  <a:gd name="T39" fmla="*/ 100 h 119"/>
                  <a:gd name="T40" fmla="*/ 97 w 128"/>
                  <a:gd name="T41" fmla="*/ 112 h 119"/>
                  <a:gd name="T42" fmla="*/ 89 w 128"/>
                  <a:gd name="T43" fmla="*/ 115 h 119"/>
                  <a:gd name="T44" fmla="*/ 73 w 128"/>
                  <a:gd name="T45" fmla="*/ 119 h 119"/>
                  <a:gd name="T46" fmla="*/ 56 w 128"/>
                  <a:gd name="T47" fmla="*/ 119 h 119"/>
                  <a:gd name="T48" fmla="*/ 39 w 128"/>
                  <a:gd name="T49" fmla="*/ 115 h 119"/>
                  <a:gd name="T50" fmla="*/ 31 w 128"/>
                  <a:gd name="T51" fmla="*/ 112 h 119"/>
                  <a:gd name="T52" fmla="*/ 80 w 128"/>
                  <a:gd name="T53" fmla="*/ 87 h 119"/>
                  <a:gd name="T54" fmla="*/ 91 w 128"/>
                  <a:gd name="T55" fmla="*/ 76 h 119"/>
                  <a:gd name="T56" fmla="*/ 94 w 128"/>
                  <a:gd name="T57" fmla="*/ 68 h 119"/>
                  <a:gd name="T58" fmla="*/ 94 w 128"/>
                  <a:gd name="T59" fmla="*/ 50 h 119"/>
                  <a:gd name="T60" fmla="*/ 91 w 128"/>
                  <a:gd name="T61" fmla="*/ 42 h 119"/>
                  <a:gd name="T62" fmla="*/ 80 w 128"/>
                  <a:gd name="T63" fmla="*/ 30 h 119"/>
                  <a:gd name="T64" fmla="*/ 73 w 128"/>
                  <a:gd name="T65" fmla="*/ 27 h 119"/>
                  <a:gd name="T66" fmla="*/ 57 w 128"/>
                  <a:gd name="T67" fmla="*/ 27 h 119"/>
                  <a:gd name="T68" fmla="*/ 48 w 128"/>
                  <a:gd name="T69" fmla="*/ 30 h 119"/>
                  <a:gd name="T70" fmla="*/ 37 w 128"/>
                  <a:gd name="T71" fmla="*/ 42 h 119"/>
                  <a:gd name="T72" fmla="*/ 34 w 128"/>
                  <a:gd name="T73" fmla="*/ 50 h 119"/>
                  <a:gd name="T74" fmla="*/ 34 w 128"/>
                  <a:gd name="T75" fmla="*/ 68 h 119"/>
                  <a:gd name="T76" fmla="*/ 37 w 128"/>
                  <a:gd name="T77" fmla="*/ 76 h 119"/>
                  <a:gd name="T78" fmla="*/ 48 w 128"/>
                  <a:gd name="T79" fmla="*/ 87 h 119"/>
                  <a:gd name="T80" fmla="*/ 57 w 128"/>
                  <a:gd name="T81" fmla="*/ 90 h 119"/>
                  <a:gd name="T82" fmla="*/ 73 w 128"/>
                  <a:gd name="T83" fmla="*/ 90 h 119"/>
                  <a:gd name="T84" fmla="*/ 80 w 128"/>
                  <a:gd name="T85" fmla="*/ 87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28" h="119">
                    <a:moveTo>
                      <a:pt x="31" y="112"/>
                    </a:moveTo>
                    <a:lnTo>
                      <a:pt x="31" y="112"/>
                    </a:lnTo>
                    <a:lnTo>
                      <a:pt x="26" y="109"/>
                    </a:lnTo>
                    <a:lnTo>
                      <a:pt x="21" y="105"/>
                    </a:lnTo>
                    <a:lnTo>
                      <a:pt x="13" y="96"/>
                    </a:lnTo>
                    <a:lnTo>
                      <a:pt x="7" y="87"/>
                    </a:lnTo>
                    <a:lnTo>
                      <a:pt x="3" y="76"/>
                    </a:lnTo>
                    <a:lnTo>
                      <a:pt x="0" y="65"/>
                    </a:lnTo>
                    <a:lnTo>
                      <a:pt x="0" y="54"/>
                    </a:lnTo>
                    <a:lnTo>
                      <a:pt x="2" y="43"/>
                    </a:lnTo>
                    <a:lnTo>
                      <a:pt x="4" y="37"/>
                    </a:lnTo>
                    <a:lnTo>
                      <a:pt x="7" y="32"/>
                    </a:lnTo>
                    <a:lnTo>
                      <a:pt x="7" y="32"/>
                    </a:lnTo>
                    <a:lnTo>
                      <a:pt x="11" y="24"/>
                    </a:lnTo>
                    <a:lnTo>
                      <a:pt x="17" y="18"/>
                    </a:lnTo>
                    <a:lnTo>
                      <a:pt x="24" y="12"/>
                    </a:lnTo>
                    <a:lnTo>
                      <a:pt x="31" y="7"/>
                    </a:lnTo>
                    <a:lnTo>
                      <a:pt x="31" y="7"/>
                    </a:lnTo>
                    <a:lnTo>
                      <a:pt x="39" y="4"/>
                    </a:lnTo>
                    <a:lnTo>
                      <a:pt x="47" y="2"/>
                    </a:lnTo>
                    <a:lnTo>
                      <a:pt x="56" y="0"/>
                    </a:lnTo>
                    <a:lnTo>
                      <a:pt x="65" y="0"/>
                    </a:lnTo>
                    <a:lnTo>
                      <a:pt x="73" y="0"/>
                    </a:lnTo>
                    <a:lnTo>
                      <a:pt x="81" y="2"/>
                    </a:lnTo>
                    <a:lnTo>
                      <a:pt x="89" y="4"/>
                    </a:lnTo>
                    <a:lnTo>
                      <a:pt x="97" y="7"/>
                    </a:lnTo>
                    <a:lnTo>
                      <a:pt x="97" y="7"/>
                    </a:lnTo>
                    <a:lnTo>
                      <a:pt x="102" y="10"/>
                    </a:lnTo>
                    <a:lnTo>
                      <a:pt x="107" y="14"/>
                    </a:lnTo>
                    <a:lnTo>
                      <a:pt x="115" y="22"/>
                    </a:lnTo>
                    <a:lnTo>
                      <a:pt x="121" y="31"/>
                    </a:lnTo>
                    <a:lnTo>
                      <a:pt x="126" y="42"/>
                    </a:lnTo>
                    <a:lnTo>
                      <a:pt x="128" y="53"/>
                    </a:lnTo>
                    <a:lnTo>
                      <a:pt x="128" y="64"/>
                    </a:lnTo>
                    <a:lnTo>
                      <a:pt x="126" y="75"/>
                    </a:lnTo>
                    <a:lnTo>
                      <a:pt x="124" y="81"/>
                    </a:lnTo>
                    <a:lnTo>
                      <a:pt x="122" y="86"/>
                    </a:lnTo>
                    <a:lnTo>
                      <a:pt x="122" y="86"/>
                    </a:lnTo>
                    <a:lnTo>
                      <a:pt x="117" y="94"/>
                    </a:lnTo>
                    <a:lnTo>
                      <a:pt x="111" y="100"/>
                    </a:lnTo>
                    <a:lnTo>
                      <a:pt x="105" y="107"/>
                    </a:lnTo>
                    <a:lnTo>
                      <a:pt x="97" y="112"/>
                    </a:lnTo>
                    <a:lnTo>
                      <a:pt x="97" y="112"/>
                    </a:lnTo>
                    <a:lnTo>
                      <a:pt x="89" y="115"/>
                    </a:lnTo>
                    <a:lnTo>
                      <a:pt x="81" y="117"/>
                    </a:lnTo>
                    <a:lnTo>
                      <a:pt x="73" y="119"/>
                    </a:lnTo>
                    <a:lnTo>
                      <a:pt x="65" y="119"/>
                    </a:lnTo>
                    <a:lnTo>
                      <a:pt x="56" y="119"/>
                    </a:lnTo>
                    <a:lnTo>
                      <a:pt x="47" y="117"/>
                    </a:lnTo>
                    <a:lnTo>
                      <a:pt x="39" y="115"/>
                    </a:lnTo>
                    <a:lnTo>
                      <a:pt x="31" y="112"/>
                    </a:lnTo>
                    <a:lnTo>
                      <a:pt x="31" y="112"/>
                    </a:lnTo>
                    <a:close/>
                    <a:moveTo>
                      <a:pt x="80" y="87"/>
                    </a:moveTo>
                    <a:lnTo>
                      <a:pt x="80" y="87"/>
                    </a:lnTo>
                    <a:lnTo>
                      <a:pt x="87" y="82"/>
                    </a:lnTo>
                    <a:lnTo>
                      <a:pt x="91" y="76"/>
                    </a:lnTo>
                    <a:lnTo>
                      <a:pt x="91" y="76"/>
                    </a:lnTo>
                    <a:lnTo>
                      <a:pt x="94" y="68"/>
                    </a:lnTo>
                    <a:lnTo>
                      <a:pt x="96" y="59"/>
                    </a:lnTo>
                    <a:lnTo>
                      <a:pt x="94" y="50"/>
                    </a:lnTo>
                    <a:lnTo>
                      <a:pt x="91" y="42"/>
                    </a:lnTo>
                    <a:lnTo>
                      <a:pt x="91" y="42"/>
                    </a:lnTo>
                    <a:lnTo>
                      <a:pt x="87" y="35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73" y="27"/>
                    </a:lnTo>
                    <a:lnTo>
                      <a:pt x="65" y="26"/>
                    </a:lnTo>
                    <a:lnTo>
                      <a:pt x="57" y="27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2" y="35"/>
                    </a:lnTo>
                    <a:lnTo>
                      <a:pt x="37" y="42"/>
                    </a:lnTo>
                    <a:lnTo>
                      <a:pt x="37" y="42"/>
                    </a:lnTo>
                    <a:lnTo>
                      <a:pt x="34" y="50"/>
                    </a:lnTo>
                    <a:lnTo>
                      <a:pt x="33" y="59"/>
                    </a:lnTo>
                    <a:lnTo>
                      <a:pt x="34" y="68"/>
                    </a:lnTo>
                    <a:lnTo>
                      <a:pt x="37" y="76"/>
                    </a:lnTo>
                    <a:lnTo>
                      <a:pt x="37" y="76"/>
                    </a:lnTo>
                    <a:lnTo>
                      <a:pt x="42" y="82"/>
                    </a:lnTo>
                    <a:lnTo>
                      <a:pt x="48" y="87"/>
                    </a:lnTo>
                    <a:lnTo>
                      <a:pt x="48" y="87"/>
                    </a:lnTo>
                    <a:lnTo>
                      <a:pt x="57" y="90"/>
                    </a:lnTo>
                    <a:lnTo>
                      <a:pt x="65" y="91"/>
                    </a:lnTo>
                    <a:lnTo>
                      <a:pt x="73" y="90"/>
                    </a:lnTo>
                    <a:lnTo>
                      <a:pt x="80" y="87"/>
                    </a:lnTo>
                    <a:lnTo>
                      <a:pt x="80" y="8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14">
                <a:extLst>
                  <a:ext uri="{FF2B5EF4-FFF2-40B4-BE49-F238E27FC236}">
                    <a16:creationId xmlns:a16="http://schemas.microsoft.com/office/drawing/2014/main" id="{5D086986-2E07-42C2-9EC8-0031E8A088F0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1374441" y="1379538"/>
                <a:ext cx="82550" cy="90487"/>
              </a:xfrm>
              <a:custGeom>
                <a:avLst/>
                <a:gdLst>
                  <a:gd name="T0" fmla="*/ 99 w 104"/>
                  <a:gd name="T1" fmla="*/ 64 h 115"/>
                  <a:gd name="T2" fmla="*/ 103 w 104"/>
                  <a:gd name="T3" fmla="*/ 72 h 115"/>
                  <a:gd name="T4" fmla="*/ 104 w 104"/>
                  <a:gd name="T5" fmla="*/ 81 h 115"/>
                  <a:gd name="T6" fmla="*/ 104 w 104"/>
                  <a:gd name="T7" fmla="*/ 88 h 115"/>
                  <a:gd name="T8" fmla="*/ 98 w 104"/>
                  <a:gd name="T9" fmla="*/ 101 h 115"/>
                  <a:gd name="T10" fmla="*/ 92 w 104"/>
                  <a:gd name="T11" fmla="*/ 106 h 115"/>
                  <a:gd name="T12" fmla="*/ 78 w 104"/>
                  <a:gd name="T13" fmla="*/ 113 h 115"/>
                  <a:gd name="T14" fmla="*/ 59 w 104"/>
                  <a:gd name="T15" fmla="*/ 115 h 115"/>
                  <a:gd name="T16" fmla="*/ 0 w 104"/>
                  <a:gd name="T17" fmla="*/ 0 h 115"/>
                  <a:gd name="T18" fmla="*/ 56 w 104"/>
                  <a:gd name="T19" fmla="*/ 0 h 115"/>
                  <a:gd name="T20" fmla="*/ 72 w 104"/>
                  <a:gd name="T21" fmla="*/ 2 h 115"/>
                  <a:gd name="T22" fmla="*/ 88 w 104"/>
                  <a:gd name="T23" fmla="*/ 8 h 115"/>
                  <a:gd name="T24" fmla="*/ 93 w 104"/>
                  <a:gd name="T25" fmla="*/ 12 h 115"/>
                  <a:gd name="T26" fmla="*/ 99 w 104"/>
                  <a:gd name="T27" fmla="*/ 23 h 115"/>
                  <a:gd name="T28" fmla="*/ 99 w 104"/>
                  <a:gd name="T29" fmla="*/ 30 h 115"/>
                  <a:gd name="T30" fmla="*/ 95 w 104"/>
                  <a:gd name="T31" fmla="*/ 45 h 115"/>
                  <a:gd name="T32" fmla="*/ 90 w 104"/>
                  <a:gd name="T33" fmla="*/ 50 h 115"/>
                  <a:gd name="T34" fmla="*/ 84 w 104"/>
                  <a:gd name="T35" fmla="*/ 54 h 115"/>
                  <a:gd name="T36" fmla="*/ 92 w 104"/>
                  <a:gd name="T37" fmla="*/ 58 h 115"/>
                  <a:gd name="T38" fmla="*/ 99 w 104"/>
                  <a:gd name="T39" fmla="*/ 64 h 115"/>
                  <a:gd name="T40" fmla="*/ 31 w 104"/>
                  <a:gd name="T41" fmla="*/ 46 h 115"/>
                  <a:gd name="T42" fmla="*/ 53 w 104"/>
                  <a:gd name="T43" fmla="*/ 46 h 115"/>
                  <a:gd name="T44" fmla="*/ 63 w 104"/>
                  <a:gd name="T45" fmla="*/ 43 h 115"/>
                  <a:gd name="T46" fmla="*/ 67 w 104"/>
                  <a:gd name="T47" fmla="*/ 34 h 115"/>
                  <a:gd name="T48" fmla="*/ 66 w 104"/>
                  <a:gd name="T49" fmla="*/ 29 h 115"/>
                  <a:gd name="T50" fmla="*/ 59 w 104"/>
                  <a:gd name="T51" fmla="*/ 24 h 115"/>
                  <a:gd name="T52" fmla="*/ 31 w 104"/>
                  <a:gd name="T53" fmla="*/ 23 h 115"/>
                  <a:gd name="T54" fmla="*/ 72 w 104"/>
                  <a:gd name="T55" fmla="*/ 79 h 115"/>
                  <a:gd name="T56" fmla="*/ 71 w 104"/>
                  <a:gd name="T57" fmla="*/ 74 h 115"/>
                  <a:gd name="T58" fmla="*/ 64 w 104"/>
                  <a:gd name="T59" fmla="*/ 68 h 115"/>
                  <a:gd name="T60" fmla="*/ 32 w 104"/>
                  <a:gd name="T61" fmla="*/ 67 h 115"/>
                  <a:gd name="T62" fmla="*/ 58 w 104"/>
                  <a:gd name="T63" fmla="*/ 91 h 115"/>
                  <a:gd name="T64" fmla="*/ 64 w 104"/>
                  <a:gd name="T65" fmla="*/ 90 h 115"/>
                  <a:gd name="T66" fmla="*/ 71 w 104"/>
                  <a:gd name="T67" fmla="*/ 84 h 115"/>
                  <a:gd name="T68" fmla="*/ 72 w 104"/>
                  <a:gd name="T69" fmla="*/ 79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4" h="115">
                    <a:moveTo>
                      <a:pt x="99" y="64"/>
                    </a:moveTo>
                    <a:lnTo>
                      <a:pt x="99" y="64"/>
                    </a:lnTo>
                    <a:lnTo>
                      <a:pt x="101" y="68"/>
                    </a:lnTo>
                    <a:lnTo>
                      <a:pt x="103" y="72"/>
                    </a:lnTo>
                    <a:lnTo>
                      <a:pt x="104" y="77"/>
                    </a:lnTo>
                    <a:lnTo>
                      <a:pt x="104" y="81"/>
                    </a:lnTo>
                    <a:lnTo>
                      <a:pt x="104" y="81"/>
                    </a:lnTo>
                    <a:lnTo>
                      <a:pt x="104" y="88"/>
                    </a:lnTo>
                    <a:lnTo>
                      <a:pt x="101" y="95"/>
                    </a:lnTo>
                    <a:lnTo>
                      <a:pt x="98" y="101"/>
                    </a:lnTo>
                    <a:lnTo>
                      <a:pt x="92" y="106"/>
                    </a:lnTo>
                    <a:lnTo>
                      <a:pt x="92" y="106"/>
                    </a:lnTo>
                    <a:lnTo>
                      <a:pt x="86" y="110"/>
                    </a:lnTo>
                    <a:lnTo>
                      <a:pt x="78" y="113"/>
                    </a:lnTo>
                    <a:lnTo>
                      <a:pt x="69" y="114"/>
                    </a:lnTo>
                    <a:lnTo>
                      <a:pt x="59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4" y="0"/>
                    </a:lnTo>
                    <a:lnTo>
                      <a:pt x="72" y="2"/>
                    </a:lnTo>
                    <a:lnTo>
                      <a:pt x="80" y="4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93" y="12"/>
                    </a:lnTo>
                    <a:lnTo>
                      <a:pt x="96" y="17"/>
                    </a:lnTo>
                    <a:lnTo>
                      <a:pt x="99" y="23"/>
                    </a:lnTo>
                    <a:lnTo>
                      <a:pt x="99" y="30"/>
                    </a:lnTo>
                    <a:lnTo>
                      <a:pt x="99" y="30"/>
                    </a:lnTo>
                    <a:lnTo>
                      <a:pt x="98" y="37"/>
                    </a:lnTo>
                    <a:lnTo>
                      <a:pt x="95" y="45"/>
                    </a:lnTo>
                    <a:lnTo>
                      <a:pt x="95" y="45"/>
                    </a:lnTo>
                    <a:lnTo>
                      <a:pt x="90" y="50"/>
                    </a:lnTo>
                    <a:lnTo>
                      <a:pt x="84" y="54"/>
                    </a:lnTo>
                    <a:lnTo>
                      <a:pt x="84" y="54"/>
                    </a:lnTo>
                    <a:lnTo>
                      <a:pt x="88" y="56"/>
                    </a:lnTo>
                    <a:lnTo>
                      <a:pt x="92" y="58"/>
                    </a:lnTo>
                    <a:lnTo>
                      <a:pt x="96" y="61"/>
                    </a:lnTo>
                    <a:lnTo>
                      <a:pt x="99" y="64"/>
                    </a:lnTo>
                    <a:lnTo>
                      <a:pt x="99" y="64"/>
                    </a:lnTo>
                    <a:close/>
                    <a:moveTo>
                      <a:pt x="31" y="46"/>
                    </a:moveTo>
                    <a:lnTo>
                      <a:pt x="53" y="46"/>
                    </a:lnTo>
                    <a:lnTo>
                      <a:pt x="53" y="46"/>
                    </a:lnTo>
                    <a:lnTo>
                      <a:pt x="59" y="45"/>
                    </a:lnTo>
                    <a:lnTo>
                      <a:pt x="63" y="43"/>
                    </a:lnTo>
                    <a:lnTo>
                      <a:pt x="66" y="39"/>
                    </a:lnTo>
                    <a:lnTo>
                      <a:pt x="67" y="34"/>
                    </a:lnTo>
                    <a:lnTo>
                      <a:pt x="67" y="34"/>
                    </a:lnTo>
                    <a:lnTo>
                      <a:pt x="66" y="29"/>
                    </a:lnTo>
                    <a:lnTo>
                      <a:pt x="63" y="26"/>
                    </a:lnTo>
                    <a:lnTo>
                      <a:pt x="59" y="24"/>
                    </a:lnTo>
                    <a:lnTo>
                      <a:pt x="53" y="23"/>
                    </a:lnTo>
                    <a:lnTo>
                      <a:pt x="31" y="23"/>
                    </a:lnTo>
                    <a:lnTo>
                      <a:pt x="31" y="46"/>
                    </a:lnTo>
                    <a:close/>
                    <a:moveTo>
                      <a:pt x="72" y="79"/>
                    </a:moveTo>
                    <a:lnTo>
                      <a:pt x="72" y="79"/>
                    </a:lnTo>
                    <a:lnTo>
                      <a:pt x="71" y="74"/>
                    </a:lnTo>
                    <a:lnTo>
                      <a:pt x="68" y="70"/>
                    </a:lnTo>
                    <a:lnTo>
                      <a:pt x="64" y="68"/>
                    </a:lnTo>
                    <a:lnTo>
                      <a:pt x="58" y="67"/>
                    </a:lnTo>
                    <a:lnTo>
                      <a:pt x="32" y="67"/>
                    </a:lnTo>
                    <a:lnTo>
                      <a:pt x="32" y="91"/>
                    </a:lnTo>
                    <a:lnTo>
                      <a:pt x="58" y="91"/>
                    </a:lnTo>
                    <a:lnTo>
                      <a:pt x="58" y="91"/>
                    </a:lnTo>
                    <a:lnTo>
                      <a:pt x="64" y="90"/>
                    </a:lnTo>
                    <a:lnTo>
                      <a:pt x="68" y="88"/>
                    </a:lnTo>
                    <a:lnTo>
                      <a:pt x="71" y="84"/>
                    </a:lnTo>
                    <a:lnTo>
                      <a:pt x="72" y="79"/>
                    </a:lnTo>
                    <a:lnTo>
                      <a:pt x="72" y="7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15">
                <a:extLst>
                  <a:ext uri="{FF2B5EF4-FFF2-40B4-BE49-F238E27FC236}">
                    <a16:creationId xmlns:a16="http://schemas.microsoft.com/office/drawing/2014/main" id="{B77BC78B-943B-4D72-BFB0-336E46A97D43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1474454" y="1379538"/>
                <a:ext cx="115888" cy="90487"/>
              </a:xfrm>
              <a:custGeom>
                <a:avLst/>
                <a:gdLst>
                  <a:gd name="T0" fmla="*/ 91 w 147"/>
                  <a:gd name="T1" fmla="*/ 46 h 115"/>
                  <a:gd name="T2" fmla="*/ 91 w 147"/>
                  <a:gd name="T3" fmla="*/ 46 h 115"/>
                  <a:gd name="T4" fmla="*/ 97 w 147"/>
                  <a:gd name="T5" fmla="*/ 51 h 115"/>
                  <a:gd name="T6" fmla="*/ 100 w 147"/>
                  <a:gd name="T7" fmla="*/ 58 h 115"/>
                  <a:gd name="T8" fmla="*/ 103 w 147"/>
                  <a:gd name="T9" fmla="*/ 66 h 115"/>
                  <a:gd name="T10" fmla="*/ 103 w 147"/>
                  <a:gd name="T11" fmla="*/ 73 h 115"/>
                  <a:gd name="T12" fmla="*/ 103 w 147"/>
                  <a:gd name="T13" fmla="*/ 73 h 115"/>
                  <a:gd name="T14" fmla="*/ 102 w 147"/>
                  <a:gd name="T15" fmla="*/ 82 h 115"/>
                  <a:gd name="T16" fmla="*/ 100 w 147"/>
                  <a:gd name="T17" fmla="*/ 90 h 115"/>
                  <a:gd name="T18" fmla="*/ 96 w 147"/>
                  <a:gd name="T19" fmla="*/ 97 h 115"/>
                  <a:gd name="T20" fmla="*/ 90 w 147"/>
                  <a:gd name="T21" fmla="*/ 104 h 115"/>
                  <a:gd name="T22" fmla="*/ 90 w 147"/>
                  <a:gd name="T23" fmla="*/ 104 h 115"/>
                  <a:gd name="T24" fmla="*/ 82 w 147"/>
                  <a:gd name="T25" fmla="*/ 109 h 115"/>
                  <a:gd name="T26" fmla="*/ 73 w 147"/>
                  <a:gd name="T27" fmla="*/ 113 h 115"/>
                  <a:gd name="T28" fmla="*/ 64 w 147"/>
                  <a:gd name="T29" fmla="*/ 115 h 115"/>
                  <a:gd name="T30" fmla="*/ 55 w 147"/>
                  <a:gd name="T31" fmla="*/ 115 h 115"/>
                  <a:gd name="T32" fmla="*/ 0 w 147"/>
                  <a:gd name="T33" fmla="*/ 115 h 115"/>
                  <a:gd name="T34" fmla="*/ 0 w 147"/>
                  <a:gd name="T35" fmla="*/ 0 h 115"/>
                  <a:gd name="T36" fmla="*/ 32 w 147"/>
                  <a:gd name="T37" fmla="*/ 0 h 115"/>
                  <a:gd name="T38" fmla="*/ 32 w 147"/>
                  <a:gd name="T39" fmla="*/ 36 h 115"/>
                  <a:gd name="T40" fmla="*/ 59 w 147"/>
                  <a:gd name="T41" fmla="*/ 36 h 115"/>
                  <a:gd name="T42" fmla="*/ 59 w 147"/>
                  <a:gd name="T43" fmla="*/ 36 h 115"/>
                  <a:gd name="T44" fmla="*/ 68 w 147"/>
                  <a:gd name="T45" fmla="*/ 37 h 115"/>
                  <a:gd name="T46" fmla="*/ 76 w 147"/>
                  <a:gd name="T47" fmla="*/ 38 h 115"/>
                  <a:gd name="T48" fmla="*/ 84 w 147"/>
                  <a:gd name="T49" fmla="*/ 41 h 115"/>
                  <a:gd name="T50" fmla="*/ 91 w 147"/>
                  <a:gd name="T51" fmla="*/ 46 h 115"/>
                  <a:gd name="T52" fmla="*/ 91 w 147"/>
                  <a:gd name="T53" fmla="*/ 46 h 115"/>
                  <a:gd name="T54" fmla="*/ 66 w 147"/>
                  <a:gd name="T55" fmla="*/ 86 h 115"/>
                  <a:gd name="T56" fmla="*/ 66 w 147"/>
                  <a:gd name="T57" fmla="*/ 86 h 115"/>
                  <a:gd name="T58" fmla="*/ 68 w 147"/>
                  <a:gd name="T59" fmla="*/ 84 h 115"/>
                  <a:gd name="T60" fmla="*/ 69 w 147"/>
                  <a:gd name="T61" fmla="*/ 81 h 115"/>
                  <a:gd name="T62" fmla="*/ 70 w 147"/>
                  <a:gd name="T63" fmla="*/ 77 h 115"/>
                  <a:gd name="T64" fmla="*/ 71 w 147"/>
                  <a:gd name="T65" fmla="*/ 74 h 115"/>
                  <a:gd name="T66" fmla="*/ 71 w 147"/>
                  <a:gd name="T67" fmla="*/ 74 h 115"/>
                  <a:gd name="T68" fmla="*/ 70 w 147"/>
                  <a:gd name="T69" fmla="*/ 71 h 115"/>
                  <a:gd name="T70" fmla="*/ 70 w 147"/>
                  <a:gd name="T71" fmla="*/ 68 h 115"/>
                  <a:gd name="T72" fmla="*/ 68 w 147"/>
                  <a:gd name="T73" fmla="*/ 65 h 115"/>
                  <a:gd name="T74" fmla="*/ 66 w 147"/>
                  <a:gd name="T75" fmla="*/ 63 h 115"/>
                  <a:gd name="T76" fmla="*/ 64 w 147"/>
                  <a:gd name="T77" fmla="*/ 61 h 115"/>
                  <a:gd name="T78" fmla="*/ 61 w 147"/>
                  <a:gd name="T79" fmla="*/ 60 h 115"/>
                  <a:gd name="T80" fmla="*/ 53 w 147"/>
                  <a:gd name="T81" fmla="*/ 59 h 115"/>
                  <a:gd name="T82" fmla="*/ 32 w 147"/>
                  <a:gd name="T83" fmla="*/ 59 h 115"/>
                  <a:gd name="T84" fmla="*/ 32 w 147"/>
                  <a:gd name="T85" fmla="*/ 91 h 115"/>
                  <a:gd name="T86" fmla="*/ 53 w 147"/>
                  <a:gd name="T87" fmla="*/ 91 h 115"/>
                  <a:gd name="T88" fmla="*/ 53 w 147"/>
                  <a:gd name="T89" fmla="*/ 91 h 115"/>
                  <a:gd name="T90" fmla="*/ 56 w 147"/>
                  <a:gd name="T91" fmla="*/ 91 h 115"/>
                  <a:gd name="T92" fmla="*/ 60 w 147"/>
                  <a:gd name="T93" fmla="*/ 90 h 115"/>
                  <a:gd name="T94" fmla="*/ 63 w 147"/>
                  <a:gd name="T95" fmla="*/ 88 h 115"/>
                  <a:gd name="T96" fmla="*/ 66 w 147"/>
                  <a:gd name="T97" fmla="*/ 86 h 115"/>
                  <a:gd name="T98" fmla="*/ 66 w 147"/>
                  <a:gd name="T99" fmla="*/ 86 h 115"/>
                  <a:gd name="T100" fmla="*/ 115 w 147"/>
                  <a:gd name="T101" fmla="*/ 0 h 115"/>
                  <a:gd name="T102" fmla="*/ 147 w 147"/>
                  <a:gd name="T103" fmla="*/ 0 h 115"/>
                  <a:gd name="T104" fmla="*/ 147 w 147"/>
                  <a:gd name="T105" fmla="*/ 115 h 115"/>
                  <a:gd name="T106" fmla="*/ 115 w 147"/>
                  <a:gd name="T107" fmla="*/ 115 h 115"/>
                  <a:gd name="T108" fmla="*/ 115 w 147"/>
                  <a:gd name="T109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47" h="115">
                    <a:moveTo>
                      <a:pt x="91" y="46"/>
                    </a:moveTo>
                    <a:lnTo>
                      <a:pt x="91" y="46"/>
                    </a:lnTo>
                    <a:lnTo>
                      <a:pt x="97" y="51"/>
                    </a:lnTo>
                    <a:lnTo>
                      <a:pt x="100" y="58"/>
                    </a:lnTo>
                    <a:lnTo>
                      <a:pt x="103" y="66"/>
                    </a:lnTo>
                    <a:lnTo>
                      <a:pt x="103" y="73"/>
                    </a:lnTo>
                    <a:lnTo>
                      <a:pt x="103" y="73"/>
                    </a:lnTo>
                    <a:lnTo>
                      <a:pt x="102" y="82"/>
                    </a:lnTo>
                    <a:lnTo>
                      <a:pt x="100" y="90"/>
                    </a:lnTo>
                    <a:lnTo>
                      <a:pt x="96" y="97"/>
                    </a:lnTo>
                    <a:lnTo>
                      <a:pt x="90" y="104"/>
                    </a:lnTo>
                    <a:lnTo>
                      <a:pt x="90" y="104"/>
                    </a:lnTo>
                    <a:lnTo>
                      <a:pt x="82" y="109"/>
                    </a:lnTo>
                    <a:lnTo>
                      <a:pt x="73" y="113"/>
                    </a:lnTo>
                    <a:lnTo>
                      <a:pt x="64" y="115"/>
                    </a:lnTo>
                    <a:lnTo>
                      <a:pt x="55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2" y="0"/>
                    </a:lnTo>
                    <a:lnTo>
                      <a:pt x="32" y="36"/>
                    </a:lnTo>
                    <a:lnTo>
                      <a:pt x="59" y="36"/>
                    </a:lnTo>
                    <a:lnTo>
                      <a:pt x="59" y="36"/>
                    </a:lnTo>
                    <a:lnTo>
                      <a:pt x="68" y="37"/>
                    </a:lnTo>
                    <a:lnTo>
                      <a:pt x="76" y="38"/>
                    </a:lnTo>
                    <a:lnTo>
                      <a:pt x="84" y="41"/>
                    </a:lnTo>
                    <a:lnTo>
                      <a:pt x="91" y="46"/>
                    </a:lnTo>
                    <a:lnTo>
                      <a:pt x="91" y="46"/>
                    </a:lnTo>
                    <a:close/>
                    <a:moveTo>
                      <a:pt x="66" y="86"/>
                    </a:moveTo>
                    <a:lnTo>
                      <a:pt x="66" y="86"/>
                    </a:lnTo>
                    <a:lnTo>
                      <a:pt x="68" y="84"/>
                    </a:lnTo>
                    <a:lnTo>
                      <a:pt x="69" y="81"/>
                    </a:lnTo>
                    <a:lnTo>
                      <a:pt x="70" y="77"/>
                    </a:lnTo>
                    <a:lnTo>
                      <a:pt x="71" y="74"/>
                    </a:lnTo>
                    <a:lnTo>
                      <a:pt x="71" y="74"/>
                    </a:lnTo>
                    <a:lnTo>
                      <a:pt x="70" y="71"/>
                    </a:lnTo>
                    <a:lnTo>
                      <a:pt x="70" y="68"/>
                    </a:lnTo>
                    <a:lnTo>
                      <a:pt x="68" y="65"/>
                    </a:lnTo>
                    <a:lnTo>
                      <a:pt x="66" y="63"/>
                    </a:lnTo>
                    <a:lnTo>
                      <a:pt x="64" y="61"/>
                    </a:lnTo>
                    <a:lnTo>
                      <a:pt x="61" y="60"/>
                    </a:lnTo>
                    <a:lnTo>
                      <a:pt x="53" y="59"/>
                    </a:lnTo>
                    <a:lnTo>
                      <a:pt x="32" y="59"/>
                    </a:lnTo>
                    <a:lnTo>
                      <a:pt x="32" y="91"/>
                    </a:lnTo>
                    <a:lnTo>
                      <a:pt x="53" y="91"/>
                    </a:lnTo>
                    <a:lnTo>
                      <a:pt x="53" y="91"/>
                    </a:lnTo>
                    <a:lnTo>
                      <a:pt x="56" y="91"/>
                    </a:lnTo>
                    <a:lnTo>
                      <a:pt x="60" y="90"/>
                    </a:lnTo>
                    <a:lnTo>
                      <a:pt x="63" y="88"/>
                    </a:lnTo>
                    <a:lnTo>
                      <a:pt x="66" y="86"/>
                    </a:lnTo>
                    <a:lnTo>
                      <a:pt x="66" y="86"/>
                    </a:lnTo>
                    <a:close/>
                    <a:moveTo>
                      <a:pt x="115" y="0"/>
                    </a:moveTo>
                    <a:lnTo>
                      <a:pt x="147" y="0"/>
                    </a:lnTo>
                    <a:lnTo>
                      <a:pt x="147" y="115"/>
                    </a:lnTo>
                    <a:lnTo>
                      <a:pt x="115" y="115"/>
                    </a:lnTo>
                    <a:lnTo>
                      <a:pt x="11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16">
                <a:extLst>
                  <a:ext uri="{FF2B5EF4-FFF2-40B4-BE49-F238E27FC236}">
                    <a16:creationId xmlns:a16="http://schemas.microsoft.com/office/drawing/2014/main" id="{243A6C42-541D-4303-9AE1-6BBB3A092C6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344154" y="1535113"/>
                <a:ext cx="85725" cy="90487"/>
              </a:xfrm>
              <a:custGeom>
                <a:avLst/>
                <a:gdLst>
                  <a:gd name="T0" fmla="*/ 109 w 109"/>
                  <a:gd name="T1" fmla="*/ 0 h 115"/>
                  <a:gd name="T2" fmla="*/ 109 w 109"/>
                  <a:gd name="T3" fmla="*/ 115 h 115"/>
                  <a:gd name="T4" fmla="*/ 77 w 109"/>
                  <a:gd name="T5" fmla="*/ 115 h 115"/>
                  <a:gd name="T6" fmla="*/ 77 w 109"/>
                  <a:gd name="T7" fmla="*/ 71 h 115"/>
                  <a:gd name="T8" fmla="*/ 32 w 109"/>
                  <a:gd name="T9" fmla="*/ 71 h 115"/>
                  <a:gd name="T10" fmla="*/ 32 w 109"/>
                  <a:gd name="T11" fmla="*/ 115 h 115"/>
                  <a:gd name="T12" fmla="*/ 0 w 109"/>
                  <a:gd name="T13" fmla="*/ 115 h 115"/>
                  <a:gd name="T14" fmla="*/ 0 w 109"/>
                  <a:gd name="T15" fmla="*/ 0 h 115"/>
                  <a:gd name="T16" fmla="*/ 32 w 109"/>
                  <a:gd name="T17" fmla="*/ 0 h 115"/>
                  <a:gd name="T18" fmla="*/ 32 w 109"/>
                  <a:gd name="T19" fmla="*/ 43 h 115"/>
                  <a:gd name="T20" fmla="*/ 77 w 109"/>
                  <a:gd name="T21" fmla="*/ 43 h 115"/>
                  <a:gd name="T22" fmla="*/ 77 w 109"/>
                  <a:gd name="T23" fmla="*/ 0 h 115"/>
                  <a:gd name="T24" fmla="*/ 109 w 109"/>
                  <a:gd name="T25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9" h="115">
                    <a:moveTo>
                      <a:pt x="109" y="0"/>
                    </a:moveTo>
                    <a:lnTo>
                      <a:pt x="109" y="115"/>
                    </a:lnTo>
                    <a:lnTo>
                      <a:pt x="77" y="115"/>
                    </a:lnTo>
                    <a:lnTo>
                      <a:pt x="77" y="71"/>
                    </a:lnTo>
                    <a:lnTo>
                      <a:pt x="32" y="71"/>
                    </a:lnTo>
                    <a:lnTo>
                      <a:pt x="3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2" y="0"/>
                    </a:lnTo>
                    <a:lnTo>
                      <a:pt x="32" y="43"/>
                    </a:lnTo>
                    <a:lnTo>
                      <a:pt x="77" y="43"/>
                    </a:lnTo>
                    <a:lnTo>
                      <a:pt x="77" y="0"/>
                    </a:lnTo>
                    <a:lnTo>
                      <a:pt x="109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17">
                <a:extLst>
                  <a:ext uri="{FF2B5EF4-FFF2-40B4-BE49-F238E27FC236}">
                    <a16:creationId xmlns:a16="http://schemas.microsoft.com/office/drawing/2014/main" id="{10475D70-3C31-469B-A49E-B5043FF90604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447341" y="1533525"/>
                <a:ext cx="101600" cy="95250"/>
              </a:xfrm>
              <a:custGeom>
                <a:avLst/>
                <a:gdLst>
                  <a:gd name="T0" fmla="*/ 31 w 128"/>
                  <a:gd name="T1" fmla="*/ 112 h 120"/>
                  <a:gd name="T2" fmla="*/ 21 w 128"/>
                  <a:gd name="T3" fmla="*/ 105 h 120"/>
                  <a:gd name="T4" fmla="*/ 6 w 128"/>
                  <a:gd name="T5" fmla="*/ 88 h 120"/>
                  <a:gd name="T6" fmla="*/ 0 w 128"/>
                  <a:gd name="T7" fmla="*/ 67 h 120"/>
                  <a:gd name="T8" fmla="*/ 2 w 128"/>
                  <a:gd name="T9" fmla="*/ 43 h 120"/>
                  <a:gd name="T10" fmla="*/ 6 w 128"/>
                  <a:gd name="T11" fmla="*/ 32 h 120"/>
                  <a:gd name="T12" fmla="*/ 11 w 128"/>
                  <a:gd name="T13" fmla="*/ 25 h 120"/>
                  <a:gd name="T14" fmla="*/ 23 w 128"/>
                  <a:gd name="T15" fmla="*/ 12 h 120"/>
                  <a:gd name="T16" fmla="*/ 31 w 128"/>
                  <a:gd name="T17" fmla="*/ 8 h 120"/>
                  <a:gd name="T18" fmla="*/ 46 w 128"/>
                  <a:gd name="T19" fmla="*/ 2 h 120"/>
                  <a:gd name="T20" fmla="*/ 64 w 128"/>
                  <a:gd name="T21" fmla="*/ 0 h 120"/>
                  <a:gd name="T22" fmla="*/ 81 w 128"/>
                  <a:gd name="T23" fmla="*/ 2 h 120"/>
                  <a:gd name="T24" fmla="*/ 97 w 128"/>
                  <a:gd name="T25" fmla="*/ 8 h 120"/>
                  <a:gd name="T26" fmla="*/ 102 w 128"/>
                  <a:gd name="T27" fmla="*/ 11 h 120"/>
                  <a:gd name="T28" fmla="*/ 115 w 128"/>
                  <a:gd name="T29" fmla="*/ 22 h 120"/>
                  <a:gd name="T30" fmla="*/ 125 w 128"/>
                  <a:gd name="T31" fmla="*/ 42 h 120"/>
                  <a:gd name="T32" fmla="*/ 128 w 128"/>
                  <a:gd name="T33" fmla="*/ 65 h 120"/>
                  <a:gd name="T34" fmla="*/ 124 w 128"/>
                  <a:gd name="T35" fmla="*/ 82 h 120"/>
                  <a:gd name="T36" fmla="*/ 121 w 128"/>
                  <a:gd name="T37" fmla="*/ 87 h 120"/>
                  <a:gd name="T38" fmla="*/ 111 w 128"/>
                  <a:gd name="T39" fmla="*/ 101 h 120"/>
                  <a:gd name="T40" fmla="*/ 97 w 128"/>
                  <a:gd name="T41" fmla="*/ 112 h 120"/>
                  <a:gd name="T42" fmla="*/ 89 w 128"/>
                  <a:gd name="T43" fmla="*/ 115 h 120"/>
                  <a:gd name="T44" fmla="*/ 72 w 128"/>
                  <a:gd name="T45" fmla="*/ 119 h 120"/>
                  <a:gd name="T46" fmla="*/ 55 w 128"/>
                  <a:gd name="T47" fmla="*/ 119 h 120"/>
                  <a:gd name="T48" fmla="*/ 38 w 128"/>
                  <a:gd name="T49" fmla="*/ 115 h 120"/>
                  <a:gd name="T50" fmla="*/ 31 w 128"/>
                  <a:gd name="T51" fmla="*/ 112 h 120"/>
                  <a:gd name="T52" fmla="*/ 80 w 128"/>
                  <a:gd name="T53" fmla="*/ 89 h 120"/>
                  <a:gd name="T54" fmla="*/ 91 w 128"/>
                  <a:gd name="T55" fmla="*/ 77 h 120"/>
                  <a:gd name="T56" fmla="*/ 94 w 128"/>
                  <a:gd name="T57" fmla="*/ 69 h 120"/>
                  <a:gd name="T58" fmla="*/ 94 w 128"/>
                  <a:gd name="T59" fmla="*/ 52 h 120"/>
                  <a:gd name="T60" fmla="*/ 91 w 128"/>
                  <a:gd name="T61" fmla="*/ 42 h 120"/>
                  <a:gd name="T62" fmla="*/ 80 w 128"/>
                  <a:gd name="T63" fmla="*/ 31 h 120"/>
                  <a:gd name="T64" fmla="*/ 72 w 128"/>
                  <a:gd name="T65" fmla="*/ 28 h 120"/>
                  <a:gd name="T66" fmla="*/ 55 w 128"/>
                  <a:gd name="T67" fmla="*/ 28 h 120"/>
                  <a:gd name="T68" fmla="*/ 47 w 128"/>
                  <a:gd name="T69" fmla="*/ 31 h 120"/>
                  <a:gd name="T70" fmla="*/ 36 w 128"/>
                  <a:gd name="T71" fmla="*/ 42 h 120"/>
                  <a:gd name="T72" fmla="*/ 33 w 128"/>
                  <a:gd name="T73" fmla="*/ 52 h 120"/>
                  <a:gd name="T74" fmla="*/ 33 w 128"/>
                  <a:gd name="T75" fmla="*/ 69 h 120"/>
                  <a:gd name="T76" fmla="*/ 36 w 128"/>
                  <a:gd name="T77" fmla="*/ 77 h 120"/>
                  <a:gd name="T78" fmla="*/ 47 w 128"/>
                  <a:gd name="T79" fmla="*/ 89 h 120"/>
                  <a:gd name="T80" fmla="*/ 55 w 128"/>
                  <a:gd name="T81" fmla="*/ 92 h 120"/>
                  <a:gd name="T82" fmla="*/ 72 w 128"/>
                  <a:gd name="T83" fmla="*/ 92 h 120"/>
                  <a:gd name="T84" fmla="*/ 80 w 128"/>
                  <a:gd name="T85" fmla="*/ 89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28" h="120">
                    <a:moveTo>
                      <a:pt x="31" y="112"/>
                    </a:moveTo>
                    <a:lnTo>
                      <a:pt x="31" y="112"/>
                    </a:lnTo>
                    <a:lnTo>
                      <a:pt x="25" y="109"/>
                    </a:lnTo>
                    <a:lnTo>
                      <a:pt x="21" y="105"/>
                    </a:lnTo>
                    <a:lnTo>
                      <a:pt x="13" y="97"/>
                    </a:lnTo>
                    <a:lnTo>
                      <a:pt x="6" y="88"/>
                    </a:lnTo>
                    <a:lnTo>
                      <a:pt x="2" y="78"/>
                    </a:lnTo>
                    <a:lnTo>
                      <a:pt x="0" y="67"/>
                    </a:lnTo>
                    <a:lnTo>
                      <a:pt x="0" y="55"/>
                    </a:lnTo>
                    <a:lnTo>
                      <a:pt x="2" y="43"/>
                    </a:lnTo>
                    <a:lnTo>
                      <a:pt x="4" y="38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11" y="25"/>
                    </a:lnTo>
                    <a:lnTo>
                      <a:pt x="16" y="18"/>
                    </a:lnTo>
                    <a:lnTo>
                      <a:pt x="23" y="12"/>
                    </a:lnTo>
                    <a:lnTo>
                      <a:pt x="31" y="8"/>
                    </a:lnTo>
                    <a:lnTo>
                      <a:pt x="31" y="8"/>
                    </a:lnTo>
                    <a:lnTo>
                      <a:pt x="38" y="4"/>
                    </a:lnTo>
                    <a:lnTo>
                      <a:pt x="46" y="2"/>
                    </a:lnTo>
                    <a:lnTo>
                      <a:pt x="55" y="0"/>
                    </a:lnTo>
                    <a:lnTo>
                      <a:pt x="64" y="0"/>
                    </a:lnTo>
                    <a:lnTo>
                      <a:pt x="72" y="0"/>
                    </a:lnTo>
                    <a:lnTo>
                      <a:pt x="81" y="2"/>
                    </a:lnTo>
                    <a:lnTo>
                      <a:pt x="89" y="4"/>
                    </a:lnTo>
                    <a:lnTo>
                      <a:pt x="97" y="8"/>
                    </a:lnTo>
                    <a:lnTo>
                      <a:pt x="97" y="8"/>
                    </a:lnTo>
                    <a:lnTo>
                      <a:pt x="102" y="11"/>
                    </a:lnTo>
                    <a:lnTo>
                      <a:pt x="106" y="14"/>
                    </a:lnTo>
                    <a:lnTo>
                      <a:pt x="115" y="22"/>
                    </a:lnTo>
                    <a:lnTo>
                      <a:pt x="121" y="32"/>
                    </a:lnTo>
                    <a:lnTo>
                      <a:pt x="125" y="42"/>
                    </a:lnTo>
                    <a:lnTo>
                      <a:pt x="127" y="54"/>
                    </a:lnTo>
                    <a:lnTo>
                      <a:pt x="128" y="65"/>
                    </a:lnTo>
                    <a:lnTo>
                      <a:pt x="126" y="76"/>
                    </a:lnTo>
                    <a:lnTo>
                      <a:pt x="124" y="82"/>
                    </a:lnTo>
                    <a:lnTo>
                      <a:pt x="121" y="87"/>
                    </a:lnTo>
                    <a:lnTo>
                      <a:pt x="121" y="87"/>
                    </a:lnTo>
                    <a:lnTo>
                      <a:pt x="116" y="95"/>
                    </a:lnTo>
                    <a:lnTo>
                      <a:pt x="111" y="101"/>
                    </a:lnTo>
                    <a:lnTo>
                      <a:pt x="104" y="107"/>
                    </a:lnTo>
                    <a:lnTo>
                      <a:pt x="97" y="112"/>
                    </a:lnTo>
                    <a:lnTo>
                      <a:pt x="97" y="112"/>
                    </a:lnTo>
                    <a:lnTo>
                      <a:pt x="89" y="115"/>
                    </a:lnTo>
                    <a:lnTo>
                      <a:pt x="81" y="118"/>
                    </a:lnTo>
                    <a:lnTo>
                      <a:pt x="72" y="119"/>
                    </a:lnTo>
                    <a:lnTo>
                      <a:pt x="64" y="120"/>
                    </a:lnTo>
                    <a:lnTo>
                      <a:pt x="55" y="119"/>
                    </a:lnTo>
                    <a:lnTo>
                      <a:pt x="46" y="118"/>
                    </a:lnTo>
                    <a:lnTo>
                      <a:pt x="38" y="115"/>
                    </a:lnTo>
                    <a:lnTo>
                      <a:pt x="31" y="112"/>
                    </a:lnTo>
                    <a:lnTo>
                      <a:pt x="31" y="112"/>
                    </a:lnTo>
                    <a:close/>
                    <a:moveTo>
                      <a:pt x="80" y="89"/>
                    </a:moveTo>
                    <a:lnTo>
                      <a:pt x="80" y="89"/>
                    </a:lnTo>
                    <a:lnTo>
                      <a:pt x="86" y="84"/>
                    </a:lnTo>
                    <a:lnTo>
                      <a:pt x="91" y="77"/>
                    </a:lnTo>
                    <a:lnTo>
                      <a:pt x="91" y="77"/>
                    </a:lnTo>
                    <a:lnTo>
                      <a:pt x="94" y="69"/>
                    </a:lnTo>
                    <a:lnTo>
                      <a:pt x="95" y="60"/>
                    </a:lnTo>
                    <a:lnTo>
                      <a:pt x="94" y="52"/>
                    </a:lnTo>
                    <a:lnTo>
                      <a:pt x="91" y="42"/>
                    </a:lnTo>
                    <a:lnTo>
                      <a:pt x="91" y="42"/>
                    </a:lnTo>
                    <a:lnTo>
                      <a:pt x="86" y="36"/>
                    </a:lnTo>
                    <a:lnTo>
                      <a:pt x="80" y="31"/>
                    </a:lnTo>
                    <a:lnTo>
                      <a:pt x="80" y="31"/>
                    </a:lnTo>
                    <a:lnTo>
                      <a:pt x="72" y="28"/>
                    </a:lnTo>
                    <a:lnTo>
                      <a:pt x="64" y="27"/>
                    </a:lnTo>
                    <a:lnTo>
                      <a:pt x="55" y="28"/>
                    </a:lnTo>
                    <a:lnTo>
                      <a:pt x="47" y="31"/>
                    </a:lnTo>
                    <a:lnTo>
                      <a:pt x="47" y="31"/>
                    </a:lnTo>
                    <a:lnTo>
                      <a:pt x="41" y="36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3" y="52"/>
                    </a:lnTo>
                    <a:lnTo>
                      <a:pt x="32" y="60"/>
                    </a:lnTo>
                    <a:lnTo>
                      <a:pt x="33" y="69"/>
                    </a:lnTo>
                    <a:lnTo>
                      <a:pt x="36" y="77"/>
                    </a:lnTo>
                    <a:lnTo>
                      <a:pt x="36" y="77"/>
                    </a:lnTo>
                    <a:lnTo>
                      <a:pt x="41" y="84"/>
                    </a:lnTo>
                    <a:lnTo>
                      <a:pt x="47" y="89"/>
                    </a:lnTo>
                    <a:lnTo>
                      <a:pt x="47" y="89"/>
                    </a:lnTo>
                    <a:lnTo>
                      <a:pt x="55" y="92"/>
                    </a:lnTo>
                    <a:lnTo>
                      <a:pt x="64" y="93"/>
                    </a:lnTo>
                    <a:lnTo>
                      <a:pt x="72" y="92"/>
                    </a:lnTo>
                    <a:lnTo>
                      <a:pt x="80" y="89"/>
                    </a:lnTo>
                    <a:lnTo>
                      <a:pt x="80" y="8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18">
                <a:extLst>
                  <a:ext uri="{FF2B5EF4-FFF2-40B4-BE49-F238E27FC236}">
                    <a16:creationId xmlns:a16="http://schemas.microsoft.com/office/drawing/2014/main" id="{D0248358-3632-4BAE-9DB9-4AA0065EE2E8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564816" y="1535113"/>
                <a:ext cx="84138" cy="90487"/>
              </a:xfrm>
              <a:custGeom>
                <a:avLst/>
                <a:gdLst>
                  <a:gd name="T0" fmla="*/ 99 w 105"/>
                  <a:gd name="T1" fmla="*/ 66 h 115"/>
                  <a:gd name="T2" fmla="*/ 103 w 105"/>
                  <a:gd name="T3" fmla="*/ 74 h 115"/>
                  <a:gd name="T4" fmla="*/ 105 w 105"/>
                  <a:gd name="T5" fmla="*/ 83 h 115"/>
                  <a:gd name="T6" fmla="*/ 104 w 105"/>
                  <a:gd name="T7" fmla="*/ 90 h 115"/>
                  <a:gd name="T8" fmla="*/ 98 w 105"/>
                  <a:gd name="T9" fmla="*/ 102 h 115"/>
                  <a:gd name="T10" fmla="*/ 93 w 105"/>
                  <a:gd name="T11" fmla="*/ 107 h 115"/>
                  <a:gd name="T12" fmla="*/ 77 w 105"/>
                  <a:gd name="T13" fmla="*/ 114 h 115"/>
                  <a:gd name="T14" fmla="*/ 59 w 105"/>
                  <a:gd name="T15" fmla="*/ 115 h 115"/>
                  <a:gd name="T16" fmla="*/ 0 w 105"/>
                  <a:gd name="T17" fmla="*/ 0 h 115"/>
                  <a:gd name="T18" fmla="*/ 56 w 105"/>
                  <a:gd name="T19" fmla="*/ 0 h 115"/>
                  <a:gd name="T20" fmla="*/ 73 w 105"/>
                  <a:gd name="T21" fmla="*/ 2 h 115"/>
                  <a:gd name="T22" fmla="*/ 88 w 105"/>
                  <a:gd name="T23" fmla="*/ 8 h 115"/>
                  <a:gd name="T24" fmla="*/ 93 w 105"/>
                  <a:gd name="T25" fmla="*/ 12 h 115"/>
                  <a:gd name="T26" fmla="*/ 99 w 105"/>
                  <a:gd name="T27" fmla="*/ 24 h 115"/>
                  <a:gd name="T28" fmla="*/ 99 w 105"/>
                  <a:gd name="T29" fmla="*/ 30 h 115"/>
                  <a:gd name="T30" fmla="*/ 95 w 105"/>
                  <a:gd name="T31" fmla="*/ 45 h 115"/>
                  <a:gd name="T32" fmla="*/ 90 w 105"/>
                  <a:gd name="T33" fmla="*/ 52 h 115"/>
                  <a:gd name="T34" fmla="*/ 84 w 105"/>
                  <a:gd name="T35" fmla="*/ 56 h 115"/>
                  <a:gd name="T36" fmla="*/ 92 w 105"/>
                  <a:gd name="T37" fmla="*/ 60 h 115"/>
                  <a:gd name="T38" fmla="*/ 99 w 105"/>
                  <a:gd name="T39" fmla="*/ 66 h 115"/>
                  <a:gd name="T40" fmla="*/ 32 w 105"/>
                  <a:gd name="T41" fmla="*/ 46 h 115"/>
                  <a:gd name="T42" fmla="*/ 53 w 105"/>
                  <a:gd name="T43" fmla="*/ 46 h 115"/>
                  <a:gd name="T44" fmla="*/ 63 w 105"/>
                  <a:gd name="T45" fmla="*/ 43 h 115"/>
                  <a:gd name="T46" fmla="*/ 67 w 105"/>
                  <a:gd name="T47" fmla="*/ 35 h 115"/>
                  <a:gd name="T48" fmla="*/ 66 w 105"/>
                  <a:gd name="T49" fmla="*/ 30 h 115"/>
                  <a:gd name="T50" fmla="*/ 59 w 105"/>
                  <a:gd name="T51" fmla="*/ 24 h 115"/>
                  <a:gd name="T52" fmla="*/ 32 w 105"/>
                  <a:gd name="T53" fmla="*/ 23 h 115"/>
                  <a:gd name="T54" fmla="*/ 72 w 105"/>
                  <a:gd name="T55" fmla="*/ 80 h 115"/>
                  <a:gd name="T56" fmla="*/ 71 w 105"/>
                  <a:gd name="T57" fmla="*/ 75 h 115"/>
                  <a:gd name="T58" fmla="*/ 64 w 105"/>
                  <a:gd name="T59" fmla="*/ 69 h 115"/>
                  <a:gd name="T60" fmla="*/ 32 w 105"/>
                  <a:gd name="T61" fmla="*/ 69 h 115"/>
                  <a:gd name="T62" fmla="*/ 58 w 105"/>
                  <a:gd name="T63" fmla="*/ 92 h 115"/>
                  <a:gd name="T64" fmla="*/ 64 w 105"/>
                  <a:gd name="T65" fmla="*/ 91 h 115"/>
                  <a:gd name="T66" fmla="*/ 71 w 105"/>
                  <a:gd name="T67" fmla="*/ 85 h 115"/>
                  <a:gd name="T68" fmla="*/ 72 w 105"/>
                  <a:gd name="T69" fmla="*/ 8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5" h="115">
                    <a:moveTo>
                      <a:pt x="99" y="66"/>
                    </a:moveTo>
                    <a:lnTo>
                      <a:pt x="99" y="66"/>
                    </a:lnTo>
                    <a:lnTo>
                      <a:pt x="102" y="70"/>
                    </a:lnTo>
                    <a:lnTo>
                      <a:pt x="103" y="74"/>
                    </a:lnTo>
                    <a:lnTo>
                      <a:pt x="104" y="78"/>
                    </a:lnTo>
                    <a:lnTo>
                      <a:pt x="105" y="83"/>
                    </a:lnTo>
                    <a:lnTo>
                      <a:pt x="105" y="83"/>
                    </a:lnTo>
                    <a:lnTo>
                      <a:pt x="104" y="90"/>
                    </a:lnTo>
                    <a:lnTo>
                      <a:pt x="102" y="96"/>
                    </a:lnTo>
                    <a:lnTo>
                      <a:pt x="98" y="102"/>
                    </a:lnTo>
                    <a:lnTo>
                      <a:pt x="93" y="107"/>
                    </a:lnTo>
                    <a:lnTo>
                      <a:pt x="93" y="107"/>
                    </a:lnTo>
                    <a:lnTo>
                      <a:pt x="85" y="111"/>
                    </a:lnTo>
                    <a:lnTo>
                      <a:pt x="77" y="114"/>
                    </a:lnTo>
                    <a:lnTo>
                      <a:pt x="68" y="115"/>
                    </a:lnTo>
                    <a:lnTo>
                      <a:pt x="59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5" y="1"/>
                    </a:lnTo>
                    <a:lnTo>
                      <a:pt x="73" y="2"/>
                    </a:lnTo>
                    <a:lnTo>
                      <a:pt x="81" y="4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93" y="12"/>
                    </a:lnTo>
                    <a:lnTo>
                      <a:pt x="97" y="18"/>
                    </a:lnTo>
                    <a:lnTo>
                      <a:pt x="99" y="24"/>
                    </a:lnTo>
                    <a:lnTo>
                      <a:pt x="99" y="30"/>
                    </a:lnTo>
                    <a:lnTo>
                      <a:pt x="99" y="30"/>
                    </a:lnTo>
                    <a:lnTo>
                      <a:pt x="98" y="38"/>
                    </a:lnTo>
                    <a:lnTo>
                      <a:pt x="95" y="45"/>
                    </a:lnTo>
                    <a:lnTo>
                      <a:pt x="95" y="45"/>
                    </a:lnTo>
                    <a:lnTo>
                      <a:pt x="90" y="52"/>
                    </a:lnTo>
                    <a:lnTo>
                      <a:pt x="84" y="56"/>
                    </a:lnTo>
                    <a:lnTo>
                      <a:pt x="84" y="56"/>
                    </a:lnTo>
                    <a:lnTo>
                      <a:pt x="88" y="57"/>
                    </a:lnTo>
                    <a:lnTo>
                      <a:pt x="92" y="60"/>
                    </a:lnTo>
                    <a:lnTo>
                      <a:pt x="96" y="62"/>
                    </a:lnTo>
                    <a:lnTo>
                      <a:pt x="99" y="66"/>
                    </a:lnTo>
                    <a:lnTo>
                      <a:pt x="99" y="66"/>
                    </a:lnTo>
                    <a:close/>
                    <a:moveTo>
                      <a:pt x="32" y="46"/>
                    </a:moveTo>
                    <a:lnTo>
                      <a:pt x="53" y="46"/>
                    </a:lnTo>
                    <a:lnTo>
                      <a:pt x="53" y="46"/>
                    </a:lnTo>
                    <a:lnTo>
                      <a:pt x="59" y="45"/>
                    </a:lnTo>
                    <a:lnTo>
                      <a:pt x="63" y="43"/>
                    </a:lnTo>
                    <a:lnTo>
                      <a:pt x="66" y="40"/>
                    </a:lnTo>
                    <a:lnTo>
                      <a:pt x="67" y="35"/>
                    </a:lnTo>
                    <a:lnTo>
                      <a:pt x="67" y="35"/>
                    </a:lnTo>
                    <a:lnTo>
                      <a:pt x="66" y="30"/>
                    </a:lnTo>
                    <a:lnTo>
                      <a:pt x="63" y="26"/>
                    </a:lnTo>
                    <a:lnTo>
                      <a:pt x="59" y="24"/>
                    </a:lnTo>
                    <a:lnTo>
                      <a:pt x="53" y="23"/>
                    </a:lnTo>
                    <a:lnTo>
                      <a:pt x="32" y="23"/>
                    </a:lnTo>
                    <a:lnTo>
                      <a:pt x="32" y="46"/>
                    </a:lnTo>
                    <a:close/>
                    <a:moveTo>
                      <a:pt x="72" y="80"/>
                    </a:moveTo>
                    <a:lnTo>
                      <a:pt x="72" y="80"/>
                    </a:lnTo>
                    <a:lnTo>
                      <a:pt x="71" y="75"/>
                    </a:lnTo>
                    <a:lnTo>
                      <a:pt x="69" y="72"/>
                    </a:lnTo>
                    <a:lnTo>
                      <a:pt x="64" y="69"/>
                    </a:lnTo>
                    <a:lnTo>
                      <a:pt x="58" y="69"/>
                    </a:lnTo>
                    <a:lnTo>
                      <a:pt x="32" y="69"/>
                    </a:lnTo>
                    <a:lnTo>
                      <a:pt x="32" y="92"/>
                    </a:lnTo>
                    <a:lnTo>
                      <a:pt x="58" y="92"/>
                    </a:lnTo>
                    <a:lnTo>
                      <a:pt x="58" y="92"/>
                    </a:lnTo>
                    <a:lnTo>
                      <a:pt x="64" y="91"/>
                    </a:lnTo>
                    <a:lnTo>
                      <a:pt x="69" y="89"/>
                    </a:lnTo>
                    <a:lnTo>
                      <a:pt x="71" y="85"/>
                    </a:lnTo>
                    <a:lnTo>
                      <a:pt x="72" y="80"/>
                    </a:lnTo>
                    <a:lnTo>
                      <a:pt x="72" y="8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19">
                <a:extLst>
                  <a:ext uri="{FF2B5EF4-FFF2-40B4-BE49-F238E27FC236}">
                    <a16:creationId xmlns:a16="http://schemas.microsoft.com/office/drawing/2014/main" id="{D3D3F9FD-F1F2-4BD3-9CB6-5A66DE3F021F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664829" y="1535113"/>
                <a:ext cx="115888" cy="90487"/>
              </a:xfrm>
              <a:custGeom>
                <a:avLst/>
                <a:gdLst>
                  <a:gd name="T0" fmla="*/ 92 w 147"/>
                  <a:gd name="T1" fmla="*/ 46 h 115"/>
                  <a:gd name="T2" fmla="*/ 92 w 147"/>
                  <a:gd name="T3" fmla="*/ 46 h 115"/>
                  <a:gd name="T4" fmla="*/ 97 w 147"/>
                  <a:gd name="T5" fmla="*/ 53 h 115"/>
                  <a:gd name="T6" fmla="*/ 101 w 147"/>
                  <a:gd name="T7" fmla="*/ 60 h 115"/>
                  <a:gd name="T8" fmla="*/ 103 w 147"/>
                  <a:gd name="T9" fmla="*/ 67 h 115"/>
                  <a:gd name="T10" fmla="*/ 103 w 147"/>
                  <a:gd name="T11" fmla="*/ 75 h 115"/>
                  <a:gd name="T12" fmla="*/ 103 w 147"/>
                  <a:gd name="T13" fmla="*/ 75 h 115"/>
                  <a:gd name="T14" fmla="*/ 103 w 147"/>
                  <a:gd name="T15" fmla="*/ 83 h 115"/>
                  <a:gd name="T16" fmla="*/ 100 w 147"/>
                  <a:gd name="T17" fmla="*/ 91 h 115"/>
                  <a:gd name="T18" fmla="*/ 96 w 147"/>
                  <a:gd name="T19" fmla="*/ 99 h 115"/>
                  <a:gd name="T20" fmla="*/ 90 w 147"/>
                  <a:gd name="T21" fmla="*/ 105 h 115"/>
                  <a:gd name="T22" fmla="*/ 90 w 147"/>
                  <a:gd name="T23" fmla="*/ 105 h 115"/>
                  <a:gd name="T24" fmla="*/ 82 w 147"/>
                  <a:gd name="T25" fmla="*/ 110 h 115"/>
                  <a:gd name="T26" fmla="*/ 74 w 147"/>
                  <a:gd name="T27" fmla="*/ 113 h 115"/>
                  <a:gd name="T28" fmla="*/ 65 w 147"/>
                  <a:gd name="T29" fmla="*/ 115 h 115"/>
                  <a:gd name="T30" fmla="*/ 55 w 147"/>
                  <a:gd name="T31" fmla="*/ 115 h 115"/>
                  <a:gd name="T32" fmla="*/ 0 w 147"/>
                  <a:gd name="T33" fmla="*/ 115 h 115"/>
                  <a:gd name="T34" fmla="*/ 0 w 147"/>
                  <a:gd name="T35" fmla="*/ 1 h 115"/>
                  <a:gd name="T36" fmla="*/ 32 w 147"/>
                  <a:gd name="T37" fmla="*/ 1 h 115"/>
                  <a:gd name="T38" fmla="*/ 32 w 147"/>
                  <a:gd name="T39" fmla="*/ 37 h 115"/>
                  <a:gd name="T40" fmla="*/ 59 w 147"/>
                  <a:gd name="T41" fmla="*/ 37 h 115"/>
                  <a:gd name="T42" fmla="*/ 59 w 147"/>
                  <a:gd name="T43" fmla="*/ 37 h 115"/>
                  <a:gd name="T44" fmla="*/ 68 w 147"/>
                  <a:gd name="T45" fmla="*/ 37 h 115"/>
                  <a:gd name="T46" fmla="*/ 76 w 147"/>
                  <a:gd name="T47" fmla="*/ 39 h 115"/>
                  <a:gd name="T48" fmla="*/ 84 w 147"/>
                  <a:gd name="T49" fmla="*/ 42 h 115"/>
                  <a:gd name="T50" fmla="*/ 92 w 147"/>
                  <a:gd name="T51" fmla="*/ 46 h 115"/>
                  <a:gd name="T52" fmla="*/ 92 w 147"/>
                  <a:gd name="T53" fmla="*/ 46 h 115"/>
                  <a:gd name="T54" fmla="*/ 66 w 147"/>
                  <a:gd name="T55" fmla="*/ 88 h 115"/>
                  <a:gd name="T56" fmla="*/ 66 w 147"/>
                  <a:gd name="T57" fmla="*/ 88 h 115"/>
                  <a:gd name="T58" fmla="*/ 68 w 147"/>
                  <a:gd name="T59" fmla="*/ 85 h 115"/>
                  <a:gd name="T60" fmla="*/ 70 w 147"/>
                  <a:gd name="T61" fmla="*/ 82 h 115"/>
                  <a:gd name="T62" fmla="*/ 71 w 147"/>
                  <a:gd name="T63" fmla="*/ 79 h 115"/>
                  <a:gd name="T64" fmla="*/ 71 w 147"/>
                  <a:gd name="T65" fmla="*/ 76 h 115"/>
                  <a:gd name="T66" fmla="*/ 71 w 147"/>
                  <a:gd name="T67" fmla="*/ 76 h 115"/>
                  <a:gd name="T68" fmla="*/ 71 w 147"/>
                  <a:gd name="T69" fmla="*/ 72 h 115"/>
                  <a:gd name="T70" fmla="*/ 70 w 147"/>
                  <a:gd name="T71" fmla="*/ 69 h 115"/>
                  <a:gd name="T72" fmla="*/ 68 w 147"/>
                  <a:gd name="T73" fmla="*/ 67 h 115"/>
                  <a:gd name="T74" fmla="*/ 66 w 147"/>
                  <a:gd name="T75" fmla="*/ 64 h 115"/>
                  <a:gd name="T76" fmla="*/ 64 w 147"/>
                  <a:gd name="T77" fmla="*/ 63 h 115"/>
                  <a:gd name="T78" fmla="*/ 61 w 147"/>
                  <a:gd name="T79" fmla="*/ 62 h 115"/>
                  <a:gd name="T80" fmla="*/ 53 w 147"/>
                  <a:gd name="T81" fmla="*/ 61 h 115"/>
                  <a:gd name="T82" fmla="*/ 32 w 147"/>
                  <a:gd name="T83" fmla="*/ 61 h 115"/>
                  <a:gd name="T84" fmla="*/ 32 w 147"/>
                  <a:gd name="T85" fmla="*/ 92 h 115"/>
                  <a:gd name="T86" fmla="*/ 53 w 147"/>
                  <a:gd name="T87" fmla="*/ 92 h 115"/>
                  <a:gd name="T88" fmla="*/ 53 w 147"/>
                  <a:gd name="T89" fmla="*/ 92 h 115"/>
                  <a:gd name="T90" fmla="*/ 57 w 147"/>
                  <a:gd name="T91" fmla="*/ 92 h 115"/>
                  <a:gd name="T92" fmla="*/ 60 w 147"/>
                  <a:gd name="T93" fmla="*/ 91 h 115"/>
                  <a:gd name="T94" fmla="*/ 63 w 147"/>
                  <a:gd name="T95" fmla="*/ 90 h 115"/>
                  <a:gd name="T96" fmla="*/ 66 w 147"/>
                  <a:gd name="T97" fmla="*/ 88 h 115"/>
                  <a:gd name="T98" fmla="*/ 66 w 147"/>
                  <a:gd name="T99" fmla="*/ 88 h 115"/>
                  <a:gd name="T100" fmla="*/ 116 w 147"/>
                  <a:gd name="T101" fmla="*/ 0 h 115"/>
                  <a:gd name="T102" fmla="*/ 147 w 147"/>
                  <a:gd name="T103" fmla="*/ 0 h 115"/>
                  <a:gd name="T104" fmla="*/ 147 w 147"/>
                  <a:gd name="T105" fmla="*/ 115 h 115"/>
                  <a:gd name="T106" fmla="*/ 116 w 147"/>
                  <a:gd name="T107" fmla="*/ 115 h 115"/>
                  <a:gd name="T108" fmla="*/ 116 w 147"/>
                  <a:gd name="T109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47" h="115">
                    <a:moveTo>
                      <a:pt x="92" y="46"/>
                    </a:moveTo>
                    <a:lnTo>
                      <a:pt x="92" y="46"/>
                    </a:lnTo>
                    <a:lnTo>
                      <a:pt x="97" y="53"/>
                    </a:lnTo>
                    <a:lnTo>
                      <a:pt x="101" y="60"/>
                    </a:lnTo>
                    <a:lnTo>
                      <a:pt x="103" y="67"/>
                    </a:lnTo>
                    <a:lnTo>
                      <a:pt x="103" y="75"/>
                    </a:lnTo>
                    <a:lnTo>
                      <a:pt x="103" y="75"/>
                    </a:lnTo>
                    <a:lnTo>
                      <a:pt x="103" y="83"/>
                    </a:lnTo>
                    <a:lnTo>
                      <a:pt x="100" y="91"/>
                    </a:lnTo>
                    <a:lnTo>
                      <a:pt x="96" y="99"/>
                    </a:lnTo>
                    <a:lnTo>
                      <a:pt x="90" y="105"/>
                    </a:lnTo>
                    <a:lnTo>
                      <a:pt x="90" y="105"/>
                    </a:lnTo>
                    <a:lnTo>
                      <a:pt x="82" y="110"/>
                    </a:lnTo>
                    <a:lnTo>
                      <a:pt x="74" y="113"/>
                    </a:lnTo>
                    <a:lnTo>
                      <a:pt x="65" y="115"/>
                    </a:lnTo>
                    <a:lnTo>
                      <a:pt x="55" y="115"/>
                    </a:lnTo>
                    <a:lnTo>
                      <a:pt x="0" y="115"/>
                    </a:lnTo>
                    <a:lnTo>
                      <a:pt x="0" y="1"/>
                    </a:lnTo>
                    <a:lnTo>
                      <a:pt x="32" y="1"/>
                    </a:lnTo>
                    <a:lnTo>
                      <a:pt x="32" y="37"/>
                    </a:lnTo>
                    <a:lnTo>
                      <a:pt x="59" y="37"/>
                    </a:lnTo>
                    <a:lnTo>
                      <a:pt x="59" y="37"/>
                    </a:lnTo>
                    <a:lnTo>
                      <a:pt x="68" y="37"/>
                    </a:lnTo>
                    <a:lnTo>
                      <a:pt x="76" y="39"/>
                    </a:lnTo>
                    <a:lnTo>
                      <a:pt x="84" y="42"/>
                    </a:lnTo>
                    <a:lnTo>
                      <a:pt x="92" y="46"/>
                    </a:lnTo>
                    <a:lnTo>
                      <a:pt x="92" y="46"/>
                    </a:lnTo>
                    <a:close/>
                    <a:moveTo>
                      <a:pt x="66" y="88"/>
                    </a:moveTo>
                    <a:lnTo>
                      <a:pt x="66" y="88"/>
                    </a:lnTo>
                    <a:lnTo>
                      <a:pt x="68" y="85"/>
                    </a:lnTo>
                    <a:lnTo>
                      <a:pt x="70" y="82"/>
                    </a:lnTo>
                    <a:lnTo>
                      <a:pt x="71" y="79"/>
                    </a:lnTo>
                    <a:lnTo>
                      <a:pt x="71" y="76"/>
                    </a:lnTo>
                    <a:lnTo>
                      <a:pt x="71" y="76"/>
                    </a:lnTo>
                    <a:lnTo>
                      <a:pt x="71" y="72"/>
                    </a:lnTo>
                    <a:lnTo>
                      <a:pt x="70" y="69"/>
                    </a:lnTo>
                    <a:lnTo>
                      <a:pt x="68" y="67"/>
                    </a:lnTo>
                    <a:lnTo>
                      <a:pt x="66" y="64"/>
                    </a:lnTo>
                    <a:lnTo>
                      <a:pt x="64" y="63"/>
                    </a:lnTo>
                    <a:lnTo>
                      <a:pt x="61" y="62"/>
                    </a:lnTo>
                    <a:lnTo>
                      <a:pt x="53" y="61"/>
                    </a:lnTo>
                    <a:lnTo>
                      <a:pt x="32" y="61"/>
                    </a:lnTo>
                    <a:lnTo>
                      <a:pt x="32" y="92"/>
                    </a:lnTo>
                    <a:lnTo>
                      <a:pt x="53" y="92"/>
                    </a:lnTo>
                    <a:lnTo>
                      <a:pt x="53" y="92"/>
                    </a:lnTo>
                    <a:lnTo>
                      <a:pt x="57" y="92"/>
                    </a:lnTo>
                    <a:lnTo>
                      <a:pt x="60" y="91"/>
                    </a:lnTo>
                    <a:lnTo>
                      <a:pt x="63" y="90"/>
                    </a:lnTo>
                    <a:lnTo>
                      <a:pt x="66" y="88"/>
                    </a:lnTo>
                    <a:lnTo>
                      <a:pt x="66" y="88"/>
                    </a:lnTo>
                    <a:close/>
                    <a:moveTo>
                      <a:pt x="116" y="0"/>
                    </a:moveTo>
                    <a:lnTo>
                      <a:pt x="147" y="0"/>
                    </a:lnTo>
                    <a:lnTo>
                      <a:pt x="147" y="115"/>
                    </a:lnTo>
                    <a:lnTo>
                      <a:pt x="116" y="115"/>
                    </a:lnTo>
                    <a:lnTo>
                      <a:pt x="116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20">
                <a:extLst>
                  <a:ext uri="{FF2B5EF4-FFF2-40B4-BE49-F238E27FC236}">
                    <a16:creationId xmlns:a16="http://schemas.microsoft.com/office/drawing/2014/main" id="{2135BD27-8BC2-4D99-A321-18B6F02CC53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802941" y="1535113"/>
                <a:ext cx="74613" cy="90487"/>
              </a:xfrm>
              <a:custGeom>
                <a:avLst/>
                <a:gdLst>
                  <a:gd name="T0" fmla="*/ 92 w 92"/>
                  <a:gd name="T1" fmla="*/ 90 h 115"/>
                  <a:gd name="T2" fmla="*/ 92 w 92"/>
                  <a:gd name="T3" fmla="*/ 115 h 115"/>
                  <a:gd name="T4" fmla="*/ 0 w 92"/>
                  <a:gd name="T5" fmla="*/ 115 h 115"/>
                  <a:gd name="T6" fmla="*/ 0 w 92"/>
                  <a:gd name="T7" fmla="*/ 0 h 115"/>
                  <a:gd name="T8" fmla="*/ 90 w 92"/>
                  <a:gd name="T9" fmla="*/ 0 h 115"/>
                  <a:gd name="T10" fmla="*/ 90 w 92"/>
                  <a:gd name="T11" fmla="*/ 25 h 115"/>
                  <a:gd name="T12" fmla="*/ 32 w 92"/>
                  <a:gd name="T13" fmla="*/ 25 h 115"/>
                  <a:gd name="T14" fmla="*/ 32 w 92"/>
                  <a:gd name="T15" fmla="*/ 44 h 115"/>
                  <a:gd name="T16" fmla="*/ 83 w 92"/>
                  <a:gd name="T17" fmla="*/ 44 h 115"/>
                  <a:gd name="T18" fmla="*/ 83 w 92"/>
                  <a:gd name="T19" fmla="*/ 69 h 115"/>
                  <a:gd name="T20" fmla="*/ 32 w 92"/>
                  <a:gd name="T21" fmla="*/ 69 h 115"/>
                  <a:gd name="T22" fmla="*/ 32 w 92"/>
                  <a:gd name="T23" fmla="*/ 90 h 115"/>
                  <a:gd name="T24" fmla="*/ 92 w 92"/>
                  <a:gd name="T25" fmla="*/ 9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2" h="115">
                    <a:moveTo>
                      <a:pt x="92" y="90"/>
                    </a:moveTo>
                    <a:lnTo>
                      <a:pt x="9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25"/>
                    </a:lnTo>
                    <a:lnTo>
                      <a:pt x="32" y="25"/>
                    </a:lnTo>
                    <a:lnTo>
                      <a:pt x="32" y="44"/>
                    </a:lnTo>
                    <a:lnTo>
                      <a:pt x="83" y="44"/>
                    </a:lnTo>
                    <a:lnTo>
                      <a:pt x="83" y="69"/>
                    </a:lnTo>
                    <a:lnTo>
                      <a:pt x="32" y="69"/>
                    </a:lnTo>
                    <a:lnTo>
                      <a:pt x="32" y="90"/>
                    </a:lnTo>
                    <a:lnTo>
                      <a:pt x="92" y="9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21">
                <a:extLst>
                  <a:ext uri="{FF2B5EF4-FFF2-40B4-BE49-F238E27FC236}">
                    <a16:creationId xmlns:a16="http://schemas.microsoft.com/office/drawing/2014/main" id="{C9C13519-5E89-4876-8958-AFC4871BB1E4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934704" y="1535113"/>
                <a:ext cx="82550" cy="90487"/>
              </a:xfrm>
              <a:custGeom>
                <a:avLst/>
                <a:gdLst>
                  <a:gd name="T0" fmla="*/ 79 w 104"/>
                  <a:gd name="T1" fmla="*/ 5 h 115"/>
                  <a:gd name="T2" fmla="*/ 79 w 104"/>
                  <a:gd name="T3" fmla="*/ 5 h 115"/>
                  <a:gd name="T4" fmla="*/ 85 w 104"/>
                  <a:gd name="T5" fmla="*/ 8 h 115"/>
                  <a:gd name="T6" fmla="*/ 90 w 104"/>
                  <a:gd name="T7" fmla="*/ 12 h 115"/>
                  <a:gd name="T8" fmla="*/ 94 w 104"/>
                  <a:gd name="T9" fmla="*/ 16 h 115"/>
                  <a:gd name="T10" fmla="*/ 98 w 104"/>
                  <a:gd name="T11" fmla="*/ 20 h 115"/>
                  <a:gd name="T12" fmla="*/ 98 w 104"/>
                  <a:gd name="T13" fmla="*/ 20 h 115"/>
                  <a:gd name="T14" fmla="*/ 101 w 104"/>
                  <a:gd name="T15" fmla="*/ 27 h 115"/>
                  <a:gd name="T16" fmla="*/ 104 w 104"/>
                  <a:gd name="T17" fmla="*/ 35 h 115"/>
                  <a:gd name="T18" fmla="*/ 104 w 104"/>
                  <a:gd name="T19" fmla="*/ 43 h 115"/>
                  <a:gd name="T20" fmla="*/ 104 w 104"/>
                  <a:gd name="T21" fmla="*/ 51 h 115"/>
                  <a:gd name="T22" fmla="*/ 102 w 104"/>
                  <a:gd name="T23" fmla="*/ 59 h 115"/>
                  <a:gd name="T24" fmla="*/ 98 w 104"/>
                  <a:gd name="T25" fmla="*/ 66 h 115"/>
                  <a:gd name="T26" fmla="*/ 93 w 104"/>
                  <a:gd name="T27" fmla="*/ 72 h 115"/>
                  <a:gd name="T28" fmla="*/ 87 w 104"/>
                  <a:gd name="T29" fmla="*/ 77 h 115"/>
                  <a:gd name="T30" fmla="*/ 87 w 104"/>
                  <a:gd name="T31" fmla="*/ 77 h 115"/>
                  <a:gd name="T32" fmla="*/ 79 w 104"/>
                  <a:gd name="T33" fmla="*/ 81 h 115"/>
                  <a:gd name="T34" fmla="*/ 79 w 104"/>
                  <a:gd name="T35" fmla="*/ 81 h 115"/>
                  <a:gd name="T36" fmla="*/ 72 w 104"/>
                  <a:gd name="T37" fmla="*/ 83 h 115"/>
                  <a:gd name="T38" fmla="*/ 66 w 104"/>
                  <a:gd name="T39" fmla="*/ 85 h 115"/>
                  <a:gd name="T40" fmla="*/ 59 w 104"/>
                  <a:gd name="T41" fmla="*/ 85 h 115"/>
                  <a:gd name="T42" fmla="*/ 52 w 104"/>
                  <a:gd name="T43" fmla="*/ 86 h 115"/>
                  <a:gd name="T44" fmla="*/ 32 w 104"/>
                  <a:gd name="T45" fmla="*/ 86 h 115"/>
                  <a:gd name="T46" fmla="*/ 32 w 104"/>
                  <a:gd name="T47" fmla="*/ 115 h 115"/>
                  <a:gd name="T48" fmla="*/ 0 w 104"/>
                  <a:gd name="T49" fmla="*/ 115 h 115"/>
                  <a:gd name="T50" fmla="*/ 0 w 104"/>
                  <a:gd name="T51" fmla="*/ 0 h 115"/>
                  <a:gd name="T52" fmla="*/ 52 w 104"/>
                  <a:gd name="T53" fmla="*/ 0 h 115"/>
                  <a:gd name="T54" fmla="*/ 52 w 104"/>
                  <a:gd name="T55" fmla="*/ 0 h 115"/>
                  <a:gd name="T56" fmla="*/ 59 w 104"/>
                  <a:gd name="T57" fmla="*/ 1 h 115"/>
                  <a:gd name="T58" fmla="*/ 66 w 104"/>
                  <a:gd name="T59" fmla="*/ 2 h 115"/>
                  <a:gd name="T60" fmla="*/ 73 w 104"/>
                  <a:gd name="T61" fmla="*/ 3 h 115"/>
                  <a:gd name="T62" fmla="*/ 79 w 104"/>
                  <a:gd name="T63" fmla="*/ 5 h 115"/>
                  <a:gd name="T64" fmla="*/ 79 w 104"/>
                  <a:gd name="T65" fmla="*/ 5 h 115"/>
                  <a:gd name="T66" fmla="*/ 65 w 104"/>
                  <a:gd name="T67" fmla="*/ 56 h 115"/>
                  <a:gd name="T68" fmla="*/ 65 w 104"/>
                  <a:gd name="T69" fmla="*/ 56 h 115"/>
                  <a:gd name="T70" fmla="*/ 67 w 104"/>
                  <a:gd name="T71" fmla="*/ 53 h 115"/>
                  <a:gd name="T72" fmla="*/ 69 w 104"/>
                  <a:gd name="T73" fmla="*/ 50 h 115"/>
                  <a:gd name="T74" fmla="*/ 70 w 104"/>
                  <a:gd name="T75" fmla="*/ 46 h 115"/>
                  <a:gd name="T76" fmla="*/ 70 w 104"/>
                  <a:gd name="T77" fmla="*/ 43 h 115"/>
                  <a:gd name="T78" fmla="*/ 70 w 104"/>
                  <a:gd name="T79" fmla="*/ 43 h 115"/>
                  <a:gd name="T80" fmla="*/ 70 w 104"/>
                  <a:gd name="T81" fmla="*/ 39 h 115"/>
                  <a:gd name="T82" fmla="*/ 69 w 104"/>
                  <a:gd name="T83" fmla="*/ 36 h 115"/>
                  <a:gd name="T84" fmla="*/ 67 w 104"/>
                  <a:gd name="T85" fmla="*/ 33 h 115"/>
                  <a:gd name="T86" fmla="*/ 65 w 104"/>
                  <a:gd name="T87" fmla="*/ 30 h 115"/>
                  <a:gd name="T88" fmla="*/ 65 w 104"/>
                  <a:gd name="T89" fmla="*/ 30 h 115"/>
                  <a:gd name="T90" fmla="*/ 62 w 104"/>
                  <a:gd name="T91" fmla="*/ 28 h 115"/>
                  <a:gd name="T92" fmla="*/ 58 w 104"/>
                  <a:gd name="T93" fmla="*/ 27 h 115"/>
                  <a:gd name="T94" fmla="*/ 54 w 104"/>
                  <a:gd name="T95" fmla="*/ 26 h 115"/>
                  <a:gd name="T96" fmla="*/ 50 w 104"/>
                  <a:gd name="T97" fmla="*/ 26 h 115"/>
                  <a:gd name="T98" fmla="*/ 32 w 104"/>
                  <a:gd name="T99" fmla="*/ 26 h 115"/>
                  <a:gd name="T100" fmla="*/ 32 w 104"/>
                  <a:gd name="T101" fmla="*/ 60 h 115"/>
                  <a:gd name="T102" fmla="*/ 50 w 104"/>
                  <a:gd name="T103" fmla="*/ 60 h 115"/>
                  <a:gd name="T104" fmla="*/ 50 w 104"/>
                  <a:gd name="T105" fmla="*/ 60 h 115"/>
                  <a:gd name="T106" fmla="*/ 54 w 104"/>
                  <a:gd name="T107" fmla="*/ 60 h 115"/>
                  <a:gd name="T108" fmla="*/ 58 w 104"/>
                  <a:gd name="T109" fmla="*/ 59 h 115"/>
                  <a:gd name="T110" fmla="*/ 62 w 104"/>
                  <a:gd name="T111" fmla="*/ 58 h 115"/>
                  <a:gd name="T112" fmla="*/ 65 w 104"/>
                  <a:gd name="T113" fmla="*/ 56 h 115"/>
                  <a:gd name="T114" fmla="*/ 65 w 104"/>
                  <a:gd name="T115" fmla="*/ 56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04" h="115">
                    <a:moveTo>
                      <a:pt x="79" y="5"/>
                    </a:moveTo>
                    <a:lnTo>
                      <a:pt x="79" y="5"/>
                    </a:lnTo>
                    <a:lnTo>
                      <a:pt x="85" y="8"/>
                    </a:lnTo>
                    <a:lnTo>
                      <a:pt x="90" y="12"/>
                    </a:lnTo>
                    <a:lnTo>
                      <a:pt x="94" y="16"/>
                    </a:lnTo>
                    <a:lnTo>
                      <a:pt x="98" y="20"/>
                    </a:lnTo>
                    <a:lnTo>
                      <a:pt x="98" y="20"/>
                    </a:lnTo>
                    <a:lnTo>
                      <a:pt x="101" y="27"/>
                    </a:lnTo>
                    <a:lnTo>
                      <a:pt x="104" y="35"/>
                    </a:lnTo>
                    <a:lnTo>
                      <a:pt x="104" y="43"/>
                    </a:lnTo>
                    <a:lnTo>
                      <a:pt x="104" y="51"/>
                    </a:lnTo>
                    <a:lnTo>
                      <a:pt x="102" y="59"/>
                    </a:lnTo>
                    <a:lnTo>
                      <a:pt x="98" y="66"/>
                    </a:lnTo>
                    <a:lnTo>
                      <a:pt x="93" y="72"/>
                    </a:lnTo>
                    <a:lnTo>
                      <a:pt x="87" y="77"/>
                    </a:lnTo>
                    <a:lnTo>
                      <a:pt x="87" y="77"/>
                    </a:lnTo>
                    <a:lnTo>
                      <a:pt x="79" y="81"/>
                    </a:lnTo>
                    <a:lnTo>
                      <a:pt x="79" y="81"/>
                    </a:lnTo>
                    <a:lnTo>
                      <a:pt x="72" y="83"/>
                    </a:lnTo>
                    <a:lnTo>
                      <a:pt x="66" y="85"/>
                    </a:lnTo>
                    <a:lnTo>
                      <a:pt x="59" y="85"/>
                    </a:lnTo>
                    <a:lnTo>
                      <a:pt x="52" y="86"/>
                    </a:lnTo>
                    <a:lnTo>
                      <a:pt x="32" y="86"/>
                    </a:lnTo>
                    <a:lnTo>
                      <a:pt x="3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52" y="0"/>
                    </a:lnTo>
                    <a:lnTo>
                      <a:pt x="52" y="0"/>
                    </a:lnTo>
                    <a:lnTo>
                      <a:pt x="59" y="1"/>
                    </a:lnTo>
                    <a:lnTo>
                      <a:pt x="66" y="2"/>
                    </a:lnTo>
                    <a:lnTo>
                      <a:pt x="73" y="3"/>
                    </a:lnTo>
                    <a:lnTo>
                      <a:pt x="79" y="5"/>
                    </a:lnTo>
                    <a:lnTo>
                      <a:pt x="79" y="5"/>
                    </a:lnTo>
                    <a:close/>
                    <a:moveTo>
                      <a:pt x="65" y="56"/>
                    </a:moveTo>
                    <a:lnTo>
                      <a:pt x="65" y="56"/>
                    </a:lnTo>
                    <a:lnTo>
                      <a:pt x="67" y="53"/>
                    </a:lnTo>
                    <a:lnTo>
                      <a:pt x="69" y="50"/>
                    </a:lnTo>
                    <a:lnTo>
                      <a:pt x="70" y="46"/>
                    </a:lnTo>
                    <a:lnTo>
                      <a:pt x="70" y="43"/>
                    </a:lnTo>
                    <a:lnTo>
                      <a:pt x="70" y="43"/>
                    </a:lnTo>
                    <a:lnTo>
                      <a:pt x="70" y="39"/>
                    </a:lnTo>
                    <a:lnTo>
                      <a:pt x="69" y="36"/>
                    </a:lnTo>
                    <a:lnTo>
                      <a:pt x="67" y="33"/>
                    </a:lnTo>
                    <a:lnTo>
                      <a:pt x="65" y="30"/>
                    </a:lnTo>
                    <a:lnTo>
                      <a:pt x="65" y="30"/>
                    </a:lnTo>
                    <a:lnTo>
                      <a:pt x="62" y="28"/>
                    </a:lnTo>
                    <a:lnTo>
                      <a:pt x="58" y="27"/>
                    </a:lnTo>
                    <a:lnTo>
                      <a:pt x="54" y="26"/>
                    </a:lnTo>
                    <a:lnTo>
                      <a:pt x="50" y="26"/>
                    </a:lnTo>
                    <a:lnTo>
                      <a:pt x="32" y="26"/>
                    </a:lnTo>
                    <a:lnTo>
                      <a:pt x="32" y="60"/>
                    </a:lnTo>
                    <a:lnTo>
                      <a:pt x="50" y="60"/>
                    </a:lnTo>
                    <a:lnTo>
                      <a:pt x="50" y="60"/>
                    </a:lnTo>
                    <a:lnTo>
                      <a:pt x="54" y="60"/>
                    </a:lnTo>
                    <a:lnTo>
                      <a:pt x="58" y="59"/>
                    </a:lnTo>
                    <a:lnTo>
                      <a:pt x="62" y="58"/>
                    </a:lnTo>
                    <a:lnTo>
                      <a:pt x="65" y="56"/>
                    </a:lnTo>
                    <a:lnTo>
                      <a:pt x="65" y="5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22">
                <a:extLst>
                  <a:ext uri="{FF2B5EF4-FFF2-40B4-BE49-F238E27FC236}">
                    <a16:creationId xmlns:a16="http://schemas.microsoft.com/office/drawing/2014/main" id="{71D7A084-850F-47B0-9C6A-F61698CD3CD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029954" y="1535113"/>
                <a:ext cx="74613" cy="90487"/>
              </a:xfrm>
              <a:custGeom>
                <a:avLst/>
                <a:gdLst>
                  <a:gd name="T0" fmla="*/ 93 w 93"/>
                  <a:gd name="T1" fmla="*/ 90 h 115"/>
                  <a:gd name="T2" fmla="*/ 93 w 93"/>
                  <a:gd name="T3" fmla="*/ 115 h 115"/>
                  <a:gd name="T4" fmla="*/ 0 w 93"/>
                  <a:gd name="T5" fmla="*/ 115 h 115"/>
                  <a:gd name="T6" fmla="*/ 0 w 93"/>
                  <a:gd name="T7" fmla="*/ 0 h 115"/>
                  <a:gd name="T8" fmla="*/ 91 w 93"/>
                  <a:gd name="T9" fmla="*/ 0 h 115"/>
                  <a:gd name="T10" fmla="*/ 91 w 93"/>
                  <a:gd name="T11" fmla="*/ 25 h 115"/>
                  <a:gd name="T12" fmla="*/ 32 w 93"/>
                  <a:gd name="T13" fmla="*/ 25 h 115"/>
                  <a:gd name="T14" fmla="*/ 32 w 93"/>
                  <a:gd name="T15" fmla="*/ 44 h 115"/>
                  <a:gd name="T16" fmla="*/ 83 w 93"/>
                  <a:gd name="T17" fmla="*/ 44 h 115"/>
                  <a:gd name="T18" fmla="*/ 83 w 93"/>
                  <a:gd name="T19" fmla="*/ 69 h 115"/>
                  <a:gd name="T20" fmla="*/ 32 w 93"/>
                  <a:gd name="T21" fmla="*/ 69 h 115"/>
                  <a:gd name="T22" fmla="*/ 32 w 93"/>
                  <a:gd name="T23" fmla="*/ 90 h 115"/>
                  <a:gd name="T24" fmla="*/ 93 w 93"/>
                  <a:gd name="T25" fmla="*/ 9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3" h="115">
                    <a:moveTo>
                      <a:pt x="93" y="90"/>
                    </a:moveTo>
                    <a:lnTo>
                      <a:pt x="93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91" y="0"/>
                    </a:lnTo>
                    <a:lnTo>
                      <a:pt x="91" y="25"/>
                    </a:lnTo>
                    <a:lnTo>
                      <a:pt x="32" y="25"/>
                    </a:lnTo>
                    <a:lnTo>
                      <a:pt x="32" y="44"/>
                    </a:lnTo>
                    <a:lnTo>
                      <a:pt x="83" y="44"/>
                    </a:lnTo>
                    <a:lnTo>
                      <a:pt x="83" y="69"/>
                    </a:lnTo>
                    <a:lnTo>
                      <a:pt x="32" y="69"/>
                    </a:lnTo>
                    <a:lnTo>
                      <a:pt x="32" y="90"/>
                    </a:lnTo>
                    <a:lnTo>
                      <a:pt x="93" y="9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23">
                <a:extLst>
                  <a:ext uri="{FF2B5EF4-FFF2-40B4-BE49-F238E27FC236}">
                    <a16:creationId xmlns:a16="http://schemas.microsoft.com/office/drawing/2014/main" id="{084D46B2-E471-43FA-B572-5401D0389B1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122029" y="1535113"/>
                <a:ext cx="122238" cy="90487"/>
              </a:xfrm>
              <a:custGeom>
                <a:avLst/>
                <a:gdLst>
                  <a:gd name="T0" fmla="*/ 155 w 155"/>
                  <a:gd name="T1" fmla="*/ 0 h 115"/>
                  <a:gd name="T2" fmla="*/ 155 w 155"/>
                  <a:gd name="T3" fmla="*/ 115 h 115"/>
                  <a:gd name="T4" fmla="*/ 0 w 155"/>
                  <a:gd name="T5" fmla="*/ 115 h 115"/>
                  <a:gd name="T6" fmla="*/ 0 w 155"/>
                  <a:gd name="T7" fmla="*/ 0 h 115"/>
                  <a:gd name="T8" fmla="*/ 31 w 155"/>
                  <a:gd name="T9" fmla="*/ 0 h 115"/>
                  <a:gd name="T10" fmla="*/ 31 w 155"/>
                  <a:gd name="T11" fmla="*/ 90 h 115"/>
                  <a:gd name="T12" fmla="*/ 61 w 155"/>
                  <a:gd name="T13" fmla="*/ 90 h 115"/>
                  <a:gd name="T14" fmla="*/ 61 w 155"/>
                  <a:gd name="T15" fmla="*/ 0 h 115"/>
                  <a:gd name="T16" fmla="*/ 93 w 155"/>
                  <a:gd name="T17" fmla="*/ 0 h 115"/>
                  <a:gd name="T18" fmla="*/ 93 w 155"/>
                  <a:gd name="T19" fmla="*/ 90 h 115"/>
                  <a:gd name="T20" fmla="*/ 123 w 155"/>
                  <a:gd name="T21" fmla="*/ 90 h 115"/>
                  <a:gd name="T22" fmla="*/ 123 w 155"/>
                  <a:gd name="T23" fmla="*/ 0 h 115"/>
                  <a:gd name="T24" fmla="*/ 155 w 155"/>
                  <a:gd name="T25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5" h="115">
                    <a:moveTo>
                      <a:pt x="155" y="0"/>
                    </a:moveTo>
                    <a:lnTo>
                      <a:pt x="155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1" y="0"/>
                    </a:lnTo>
                    <a:lnTo>
                      <a:pt x="31" y="90"/>
                    </a:lnTo>
                    <a:lnTo>
                      <a:pt x="61" y="90"/>
                    </a:lnTo>
                    <a:lnTo>
                      <a:pt x="61" y="0"/>
                    </a:lnTo>
                    <a:lnTo>
                      <a:pt x="93" y="0"/>
                    </a:lnTo>
                    <a:lnTo>
                      <a:pt x="93" y="90"/>
                    </a:lnTo>
                    <a:lnTo>
                      <a:pt x="123" y="90"/>
                    </a:lnTo>
                    <a:lnTo>
                      <a:pt x="123" y="0"/>
                    </a:lnTo>
                    <a:lnTo>
                      <a:pt x="15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24">
                <a:extLst>
                  <a:ext uri="{FF2B5EF4-FFF2-40B4-BE49-F238E27FC236}">
                    <a16:creationId xmlns:a16="http://schemas.microsoft.com/office/drawing/2014/main" id="{8D16BBFA-20E6-433E-9DED-FF343781568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268079" y="1535113"/>
                <a:ext cx="71438" cy="90487"/>
              </a:xfrm>
              <a:custGeom>
                <a:avLst/>
                <a:gdLst>
                  <a:gd name="T0" fmla="*/ 92 w 92"/>
                  <a:gd name="T1" fmla="*/ 90 h 115"/>
                  <a:gd name="T2" fmla="*/ 92 w 92"/>
                  <a:gd name="T3" fmla="*/ 115 h 115"/>
                  <a:gd name="T4" fmla="*/ 0 w 92"/>
                  <a:gd name="T5" fmla="*/ 115 h 115"/>
                  <a:gd name="T6" fmla="*/ 0 w 92"/>
                  <a:gd name="T7" fmla="*/ 0 h 115"/>
                  <a:gd name="T8" fmla="*/ 90 w 92"/>
                  <a:gd name="T9" fmla="*/ 0 h 115"/>
                  <a:gd name="T10" fmla="*/ 90 w 92"/>
                  <a:gd name="T11" fmla="*/ 25 h 115"/>
                  <a:gd name="T12" fmla="*/ 32 w 92"/>
                  <a:gd name="T13" fmla="*/ 25 h 115"/>
                  <a:gd name="T14" fmla="*/ 32 w 92"/>
                  <a:gd name="T15" fmla="*/ 44 h 115"/>
                  <a:gd name="T16" fmla="*/ 83 w 92"/>
                  <a:gd name="T17" fmla="*/ 44 h 115"/>
                  <a:gd name="T18" fmla="*/ 83 w 92"/>
                  <a:gd name="T19" fmla="*/ 69 h 115"/>
                  <a:gd name="T20" fmla="*/ 32 w 92"/>
                  <a:gd name="T21" fmla="*/ 69 h 115"/>
                  <a:gd name="T22" fmla="*/ 32 w 92"/>
                  <a:gd name="T23" fmla="*/ 90 h 115"/>
                  <a:gd name="T24" fmla="*/ 92 w 92"/>
                  <a:gd name="T25" fmla="*/ 9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2" h="115">
                    <a:moveTo>
                      <a:pt x="92" y="90"/>
                    </a:moveTo>
                    <a:lnTo>
                      <a:pt x="9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25"/>
                    </a:lnTo>
                    <a:lnTo>
                      <a:pt x="32" y="25"/>
                    </a:lnTo>
                    <a:lnTo>
                      <a:pt x="32" y="44"/>
                    </a:lnTo>
                    <a:lnTo>
                      <a:pt x="83" y="44"/>
                    </a:lnTo>
                    <a:lnTo>
                      <a:pt x="83" y="69"/>
                    </a:lnTo>
                    <a:lnTo>
                      <a:pt x="32" y="69"/>
                    </a:lnTo>
                    <a:lnTo>
                      <a:pt x="32" y="90"/>
                    </a:lnTo>
                    <a:lnTo>
                      <a:pt x="92" y="9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25">
                <a:extLst>
                  <a:ext uri="{FF2B5EF4-FFF2-40B4-BE49-F238E27FC236}">
                    <a16:creationId xmlns:a16="http://schemas.microsoft.com/office/drawing/2014/main" id="{3B5124BE-926B-4489-B0AE-D63C2BA23D5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358566" y="1535113"/>
                <a:ext cx="85725" cy="90487"/>
              </a:xfrm>
              <a:custGeom>
                <a:avLst/>
                <a:gdLst>
                  <a:gd name="T0" fmla="*/ 109 w 109"/>
                  <a:gd name="T1" fmla="*/ 0 h 115"/>
                  <a:gd name="T2" fmla="*/ 109 w 109"/>
                  <a:gd name="T3" fmla="*/ 115 h 115"/>
                  <a:gd name="T4" fmla="*/ 77 w 109"/>
                  <a:gd name="T5" fmla="*/ 115 h 115"/>
                  <a:gd name="T6" fmla="*/ 77 w 109"/>
                  <a:gd name="T7" fmla="*/ 71 h 115"/>
                  <a:gd name="T8" fmla="*/ 32 w 109"/>
                  <a:gd name="T9" fmla="*/ 71 h 115"/>
                  <a:gd name="T10" fmla="*/ 32 w 109"/>
                  <a:gd name="T11" fmla="*/ 115 h 115"/>
                  <a:gd name="T12" fmla="*/ 0 w 109"/>
                  <a:gd name="T13" fmla="*/ 115 h 115"/>
                  <a:gd name="T14" fmla="*/ 0 w 109"/>
                  <a:gd name="T15" fmla="*/ 0 h 115"/>
                  <a:gd name="T16" fmla="*/ 32 w 109"/>
                  <a:gd name="T17" fmla="*/ 0 h 115"/>
                  <a:gd name="T18" fmla="*/ 32 w 109"/>
                  <a:gd name="T19" fmla="*/ 43 h 115"/>
                  <a:gd name="T20" fmla="*/ 77 w 109"/>
                  <a:gd name="T21" fmla="*/ 43 h 115"/>
                  <a:gd name="T22" fmla="*/ 77 w 109"/>
                  <a:gd name="T23" fmla="*/ 0 h 115"/>
                  <a:gd name="T24" fmla="*/ 109 w 109"/>
                  <a:gd name="T25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9" h="115">
                    <a:moveTo>
                      <a:pt x="109" y="0"/>
                    </a:moveTo>
                    <a:lnTo>
                      <a:pt x="109" y="115"/>
                    </a:lnTo>
                    <a:lnTo>
                      <a:pt x="77" y="115"/>
                    </a:lnTo>
                    <a:lnTo>
                      <a:pt x="77" y="71"/>
                    </a:lnTo>
                    <a:lnTo>
                      <a:pt x="32" y="71"/>
                    </a:lnTo>
                    <a:lnTo>
                      <a:pt x="3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2" y="0"/>
                    </a:lnTo>
                    <a:lnTo>
                      <a:pt x="32" y="43"/>
                    </a:lnTo>
                    <a:lnTo>
                      <a:pt x="77" y="43"/>
                    </a:lnTo>
                    <a:lnTo>
                      <a:pt x="77" y="0"/>
                    </a:lnTo>
                    <a:lnTo>
                      <a:pt x="109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26">
                <a:extLst>
                  <a:ext uri="{FF2B5EF4-FFF2-40B4-BE49-F238E27FC236}">
                    <a16:creationId xmlns:a16="http://schemas.microsoft.com/office/drawing/2014/main" id="{54FEDF9F-8E04-4A11-9A47-7F61438B324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466516" y="1535113"/>
                <a:ext cx="87313" cy="90487"/>
              </a:xfrm>
              <a:custGeom>
                <a:avLst/>
                <a:gdLst>
                  <a:gd name="T0" fmla="*/ 0 w 110"/>
                  <a:gd name="T1" fmla="*/ 0 h 115"/>
                  <a:gd name="T2" fmla="*/ 32 w 110"/>
                  <a:gd name="T3" fmla="*/ 0 h 115"/>
                  <a:gd name="T4" fmla="*/ 32 w 110"/>
                  <a:gd name="T5" fmla="*/ 68 h 115"/>
                  <a:gd name="T6" fmla="*/ 80 w 110"/>
                  <a:gd name="T7" fmla="*/ 0 h 115"/>
                  <a:gd name="T8" fmla="*/ 110 w 110"/>
                  <a:gd name="T9" fmla="*/ 0 h 115"/>
                  <a:gd name="T10" fmla="*/ 110 w 110"/>
                  <a:gd name="T11" fmla="*/ 115 h 115"/>
                  <a:gd name="T12" fmla="*/ 78 w 110"/>
                  <a:gd name="T13" fmla="*/ 115 h 115"/>
                  <a:gd name="T14" fmla="*/ 78 w 110"/>
                  <a:gd name="T15" fmla="*/ 48 h 115"/>
                  <a:gd name="T16" fmla="*/ 30 w 110"/>
                  <a:gd name="T17" fmla="*/ 115 h 115"/>
                  <a:gd name="T18" fmla="*/ 0 w 110"/>
                  <a:gd name="T19" fmla="*/ 115 h 115"/>
                  <a:gd name="T20" fmla="*/ 0 w 110"/>
                  <a:gd name="T21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0" h="115">
                    <a:moveTo>
                      <a:pt x="0" y="0"/>
                    </a:moveTo>
                    <a:lnTo>
                      <a:pt x="32" y="0"/>
                    </a:lnTo>
                    <a:lnTo>
                      <a:pt x="32" y="68"/>
                    </a:lnTo>
                    <a:lnTo>
                      <a:pt x="80" y="0"/>
                    </a:lnTo>
                    <a:lnTo>
                      <a:pt x="110" y="0"/>
                    </a:lnTo>
                    <a:lnTo>
                      <a:pt x="110" y="115"/>
                    </a:lnTo>
                    <a:lnTo>
                      <a:pt x="78" y="115"/>
                    </a:lnTo>
                    <a:lnTo>
                      <a:pt x="78" y="48"/>
                    </a:lnTo>
                    <a:lnTo>
                      <a:pt x="30" y="115"/>
                    </a:lnTo>
                    <a:lnTo>
                      <a:pt x="0" y="11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27">
                <a:extLst>
                  <a:ext uri="{FF2B5EF4-FFF2-40B4-BE49-F238E27FC236}">
                    <a16:creationId xmlns:a16="http://schemas.microsoft.com/office/drawing/2014/main" id="{AE995359-AAD7-43E0-B6E5-7177CBDE2BB0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1571291" y="1535113"/>
                <a:ext cx="80963" cy="90487"/>
              </a:xfrm>
              <a:custGeom>
                <a:avLst/>
                <a:gdLst>
                  <a:gd name="T0" fmla="*/ 103 w 103"/>
                  <a:gd name="T1" fmla="*/ 0 h 115"/>
                  <a:gd name="T2" fmla="*/ 103 w 103"/>
                  <a:gd name="T3" fmla="*/ 115 h 115"/>
                  <a:gd name="T4" fmla="*/ 71 w 103"/>
                  <a:gd name="T5" fmla="*/ 115 h 115"/>
                  <a:gd name="T6" fmla="*/ 71 w 103"/>
                  <a:gd name="T7" fmla="*/ 87 h 115"/>
                  <a:gd name="T8" fmla="*/ 54 w 103"/>
                  <a:gd name="T9" fmla="*/ 87 h 115"/>
                  <a:gd name="T10" fmla="*/ 34 w 103"/>
                  <a:gd name="T11" fmla="*/ 115 h 115"/>
                  <a:gd name="T12" fmla="*/ 0 w 103"/>
                  <a:gd name="T13" fmla="*/ 115 h 115"/>
                  <a:gd name="T14" fmla="*/ 23 w 103"/>
                  <a:gd name="T15" fmla="*/ 82 h 115"/>
                  <a:gd name="T16" fmla="*/ 23 w 103"/>
                  <a:gd name="T17" fmla="*/ 82 h 115"/>
                  <a:gd name="T18" fmla="*/ 18 w 103"/>
                  <a:gd name="T19" fmla="*/ 79 h 115"/>
                  <a:gd name="T20" fmla="*/ 13 w 103"/>
                  <a:gd name="T21" fmla="*/ 76 h 115"/>
                  <a:gd name="T22" fmla="*/ 9 w 103"/>
                  <a:gd name="T23" fmla="*/ 72 h 115"/>
                  <a:gd name="T24" fmla="*/ 6 w 103"/>
                  <a:gd name="T25" fmla="*/ 67 h 115"/>
                  <a:gd name="T26" fmla="*/ 6 w 103"/>
                  <a:gd name="T27" fmla="*/ 67 h 115"/>
                  <a:gd name="T28" fmla="*/ 3 w 103"/>
                  <a:gd name="T29" fmla="*/ 62 h 115"/>
                  <a:gd name="T30" fmla="*/ 1 w 103"/>
                  <a:gd name="T31" fmla="*/ 57 h 115"/>
                  <a:gd name="T32" fmla="*/ 0 w 103"/>
                  <a:gd name="T33" fmla="*/ 51 h 115"/>
                  <a:gd name="T34" fmla="*/ 0 w 103"/>
                  <a:gd name="T35" fmla="*/ 44 h 115"/>
                  <a:gd name="T36" fmla="*/ 0 w 103"/>
                  <a:gd name="T37" fmla="*/ 44 h 115"/>
                  <a:gd name="T38" fmla="*/ 0 w 103"/>
                  <a:gd name="T39" fmla="*/ 38 h 115"/>
                  <a:gd name="T40" fmla="*/ 1 w 103"/>
                  <a:gd name="T41" fmla="*/ 32 h 115"/>
                  <a:gd name="T42" fmla="*/ 3 w 103"/>
                  <a:gd name="T43" fmla="*/ 26 h 115"/>
                  <a:gd name="T44" fmla="*/ 6 w 103"/>
                  <a:gd name="T45" fmla="*/ 21 h 115"/>
                  <a:gd name="T46" fmla="*/ 6 w 103"/>
                  <a:gd name="T47" fmla="*/ 21 h 115"/>
                  <a:gd name="T48" fmla="*/ 10 w 103"/>
                  <a:gd name="T49" fmla="*/ 16 h 115"/>
                  <a:gd name="T50" fmla="*/ 14 w 103"/>
                  <a:gd name="T51" fmla="*/ 12 h 115"/>
                  <a:gd name="T52" fmla="*/ 19 w 103"/>
                  <a:gd name="T53" fmla="*/ 8 h 115"/>
                  <a:gd name="T54" fmla="*/ 24 w 103"/>
                  <a:gd name="T55" fmla="*/ 6 h 115"/>
                  <a:gd name="T56" fmla="*/ 24 w 103"/>
                  <a:gd name="T57" fmla="*/ 6 h 115"/>
                  <a:gd name="T58" fmla="*/ 30 w 103"/>
                  <a:gd name="T59" fmla="*/ 3 h 115"/>
                  <a:gd name="T60" fmla="*/ 37 w 103"/>
                  <a:gd name="T61" fmla="*/ 2 h 115"/>
                  <a:gd name="T62" fmla="*/ 45 w 103"/>
                  <a:gd name="T63" fmla="*/ 1 h 115"/>
                  <a:gd name="T64" fmla="*/ 52 w 103"/>
                  <a:gd name="T65" fmla="*/ 1 h 115"/>
                  <a:gd name="T66" fmla="*/ 103 w 103"/>
                  <a:gd name="T67" fmla="*/ 0 h 115"/>
                  <a:gd name="T68" fmla="*/ 32 w 103"/>
                  <a:gd name="T69" fmla="*/ 43 h 115"/>
                  <a:gd name="T70" fmla="*/ 32 w 103"/>
                  <a:gd name="T71" fmla="*/ 43 h 115"/>
                  <a:gd name="T72" fmla="*/ 33 w 103"/>
                  <a:gd name="T73" fmla="*/ 48 h 115"/>
                  <a:gd name="T74" fmla="*/ 34 w 103"/>
                  <a:gd name="T75" fmla="*/ 51 h 115"/>
                  <a:gd name="T76" fmla="*/ 35 w 103"/>
                  <a:gd name="T77" fmla="*/ 54 h 115"/>
                  <a:gd name="T78" fmla="*/ 37 w 103"/>
                  <a:gd name="T79" fmla="*/ 57 h 115"/>
                  <a:gd name="T80" fmla="*/ 37 w 103"/>
                  <a:gd name="T81" fmla="*/ 57 h 115"/>
                  <a:gd name="T82" fmla="*/ 42 w 103"/>
                  <a:gd name="T83" fmla="*/ 59 h 115"/>
                  <a:gd name="T84" fmla="*/ 45 w 103"/>
                  <a:gd name="T85" fmla="*/ 61 h 115"/>
                  <a:gd name="T86" fmla="*/ 49 w 103"/>
                  <a:gd name="T87" fmla="*/ 62 h 115"/>
                  <a:gd name="T88" fmla="*/ 52 w 103"/>
                  <a:gd name="T89" fmla="*/ 62 h 115"/>
                  <a:gd name="T90" fmla="*/ 72 w 103"/>
                  <a:gd name="T91" fmla="*/ 62 h 115"/>
                  <a:gd name="T92" fmla="*/ 72 w 103"/>
                  <a:gd name="T93" fmla="*/ 26 h 115"/>
                  <a:gd name="T94" fmla="*/ 53 w 103"/>
                  <a:gd name="T95" fmla="*/ 26 h 115"/>
                  <a:gd name="T96" fmla="*/ 53 w 103"/>
                  <a:gd name="T97" fmla="*/ 26 h 115"/>
                  <a:gd name="T98" fmla="*/ 48 w 103"/>
                  <a:gd name="T99" fmla="*/ 26 h 115"/>
                  <a:gd name="T100" fmla="*/ 44 w 103"/>
                  <a:gd name="T101" fmla="*/ 27 h 115"/>
                  <a:gd name="T102" fmla="*/ 41 w 103"/>
                  <a:gd name="T103" fmla="*/ 28 h 115"/>
                  <a:gd name="T104" fmla="*/ 37 w 103"/>
                  <a:gd name="T105" fmla="*/ 30 h 115"/>
                  <a:gd name="T106" fmla="*/ 35 w 103"/>
                  <a:gd name="T107" fmla="*/ 32 h 115"/>
                  <a:gd name="T108" fmla="*/ 34 w 103"/>
                  <a:gd name="T109" fmla="*/ 35 h 115"/>
                  <a:gd name="T110" fmla="*/ 33 w 103"/>
                  <a:gd name="T111" fmla="*/ 39 h 115"/>
                  <a:gd name="T112" fmla="*/ 32 w 103"/>
                  <a:gd name="T113" fmla="*/ 43 h 115"/>
                  <a:gd name="T114" fmla="*/ 32 w 103"/>
                  <a:gd name="T115" fmla="*/ 43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03" h="115">
                    <a:moveTo>
                      <a:pt x="103" y="0"/>
                    </a:moveTo>
                    <a:lnTo>
                      <a:pt x="103" y="115"/>
                    </a:lnTo>
                    <a:lnTo>
                      <a:pt x="71" y="115"/>
                    </a:lnTo>
                    <a:lnTo>
                      <a:pt x="71" y="87"/>
                    </a:lnTo>
                    <a:lnTo>
                      <a:pt x="54" y="87"/>
                    </a:lnTo>
                    <a:lnTo>
                      <a:pt x="34" y="115"/>
                    </a:lnTo>
                    <a:lnTo>
                      <a:pt x="0" y="115"/>
                    </a:lnTo>
                    <a:lnTo>
                      <a:pt x="23" y="82"/>
                    </a:lnTo>
                    <a:lnTo>
                      <a:pt x="23" y="82"/>
                    </a:lnTo>
                    <a:lnTo>
                      <a:pt x="18" y="79"/>
                    </a:lnTo>
                    <a:lnTo>
                      <a:pt x="13" y="76"/>
                    </a:lnTo>
                    <a:lnTo>
                      <a:pt x="9" y="72"/>
                    </a:lnTo>
                    <a:lnTo>
                      <a:pt x="6" y="67"/>
                    </a:lnTo>
                    <a:lnTo>
                      <a:pt x="6" y="67"/>
                    </a:lnTo>
                    <a:lnTo>
                      <a:pt x="3" y="62"/>
                    </a:lnTo>
                    <a:lnTo>
                      <a:pt x="1" y="57"/>
                    </a:lnTo>
                    <a:lnTo>
                      <a:pt x="0" y="51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38"/>
                    </a:lnTo>
                    <a:lnTo>
                      <a:pt x="1" y="32"/>
                    </a:lnTo>
                    <a:lnTo>
                      <a:pt x="3" y="26"/>
                    </a:lnTo>
                    <a:lnTo>
                      <a:pt x="6" y="21"/>
                    </a:lnTo>
                    <a:lnTo>
                      <a:pt x="6" y="21"/>
                    </a:lnTo>
                    <a:lnTo>
                      <a:pt x="10" y="16"/>
                    </a:lnTo>
                    <a:lnTo>
                      <a:pt x="14" y="12"/>
                    </a:lnTo>
                    <a:lnTo>
                      <a:pt x="19" y="8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30" y="3"/>
                    </a:lnTo>
                    <a:lnTo>
                      <a:pt x="37" y="2"/>
                    </a:lnTo>
                    <a:lnTo>
                      <a:pt x="45" y="1"/>
                    </a:lnTo>
                    <a:lnTo>
                      <a:pt x="52" y="1"/>
                    </a:lnTo>
                    <a:lnTo>
                      <a:pt x="103" y="0"/>
                    </a:lnTo>
                    <a:close/>
                    <a:moveTo>
                      <a:pt x="32" y="43"/>
                    </a:moveTo>
                    <a:lnTo>
                      <a:pt x="32" y="43"/>
                    </a:lnTo>
                    <a:lnTo>
                      <a:pt x="33" y="48"/>
                    </a:lnTo>
                    <a:lnTo>
                      <a:pt x="34" y="51"/>
                    </a:lnTo>
                    <a:lnTo>
                      <a:pt x="35" y="54"/>
                    </a:lnTo>
                    <a:lnTo>
                      <a:pt x="37" y="57"/>
                    </a:lnTo>
                    <a:lnTo>
                      <a:pt x="37" y="57"/>
                    </a:lnTo>
                    <a:lnTo>
                      <a:pt x="42" y="59"/>
                    </a:lnTo>
                    <a:lnTo>
                      <a:pt x="45" y="61"/>
                    </a:lnTo>
                    <a:lnTo>
                      <a:pt x="49" y="62"/>
                    </a:lnTo>
                    <a:lnTo>
                      <a:pt x="52" y="62"/>
                    </a:lnTo>
                    <a:lnTo>
                      <a:pt x="72" y="62"/>
                    </a:lnTo>
                    <a:lnTo>
                      <a:pt x="72" y="26"/>
                    </a:lnTo>
                    <a:lnTo>
                      <a:pt x="53" y="26"/>
                    </a:lnTo>
                    <a:lnTo>
                      <a:pt x="53" y="26"/>
                    </a:lnTo>
                    <a:lnTo>
                      <a:pt x="48" y="26"/>
                    </a:lnTo>
                    <a:lnTo>
                      <a:pt x="44" y="27"/>
                    </a:lnTo>
                    <a:lnTo>
                      <a:pt x="41" y="28"/>
                    </a:lnTo>
                    <a:lnTo>
                      <a:pt x="37" y="30"/>
                    </a:lnTo>
                    <a:lnTo>
                      <a:pt x="35" y="32"/>
                    </a:lnTo>
                    <a:lnTo>
                      <a:pt x="34" y="35"/>
                    </a:lnTo>
                    <a:lnTo>
                      <a:pt x="33" y="39"/>
                    </a:lnTo>
                    <a:lnTo>
                      <a:pt x="32" y="43"/>
                    </a:lnTo>
                    <a:lnTo>
                      <a:pt x="32" y="4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4B13C85C-1B90-4860-81E5-79C1CC90777C}"/>
                </a:ext>
              </a:extLst>
            </p:cNvPr>
            <p:cNvGrpSpPr/>
            <p:nvPr userDrawn="1"/>
          </p:nvGrpSpPr>
          <p:grpSpPr>
            <a:xfrm>
              <a:off x="10332720" y="658368"/>
              <a:ext cx="670092" cy="617763"/>
              <a:chOff x="10301291" y="611188"/>
              <a:chExt cx="731838" cy="674687"/>
            </a:xfrm>
          </p:grpSpPr>
          <p:sp>
            <p:nvSpPr>
              <p:cNvPr id="74" name="Freeform 28">
                <a:extLst>
                  <a:ext uri="{FF2B5EF4-FFF2-40B4-BE49-F238E27FC236}">
                    <a16:creationId xmlns:a16="http://schemas.microsoft.com/office/drawing/2014/main" id="{16B36D43-0B9E-451C-BFF3-583DB018ACA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301291" y="611188"/>
                <a:ext cx="731838" cy="674687"/>
              </a:xfrm>
              <a:custGeom>
                <a:avLst/>
                <a:gdLst>
                  <a:gd name="T0" fmla="*/ 922 w 922"/>
                  <a:gd name="T1" fmla="*/ 0 h 850"/>
                  <a:gd name="T2" fmla="*/ 922 w 922"/>
                  <a:gd name="T3" fmla="*/ 850 h 850"/>
                  <a:gd name="T4" fmla="*/ 0 w 922"/>
                  <a:gd name="T5" fmla="*/ 850 h 850"/>
                  <a:gd name="T6" fmla="*/ 922 w 922"/>
                  <a:gd name="T7" fmla="*/ 0 h 8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22" h="850">
                    <a:moveTo>
                      <a:pt x="922" y="0"/>
                    </a:moveTo>
                    <a:lnTo>
                      <a:pt x="922" y="850"/>
                    </a:lnTo>
                    <a:lnTo>
                      <a:pt x="0" y="850"/>
                    </a:lnTo>
                    <a:lnTo>
                      <a:pt x="922" y="0"/>
                    </a:lnTo>
                    <a:close/>
                  </a:path>
                </a:pathLst>
              </a:custGeom>
              <a:solidFill>
                <a:srgbClr val="46AC4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29">
                <a:extLst>
                  <a:ext uri="{FF2B5EF4-FFF2-40B4-BE49-F238E27FC236}">
                    <a16:creationId xmlns:a16="http://schemas.microsoft.com/office/drawing/2014/main" id="{E5E9166B-9B27-413A-8089-B05CD8940F0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877554" y="611188"/>
                <a:ext cx="155575" cy="674687"/>
              </a:xfrm>
              <a:custGeom>
                <a:avLst/>
                <a:gdLst>
                  <a:gd name="T0" fmla="*/ 196 w 196"/>
                  <a:gd name="T1" fmla="*/ 0 h 850"/>
                  <a:gd name="T2" fmla="*/ 196 w 196"/>
                  <a:gd name="T3" fmla="*/ 850 h 850"/>
                  <a:gd name="T4" fmla="*/ 0 w 196"/>
                  <a:gd name="T5" fmla="*/ 850 h 850"/>
                  <a:gd name="T6" fmla="*/ 0 w 196"/>
                  <a:gd name="T7" fmla="*/ 181 h 850"/>
                  <a:gd name="T8" fmla="*/ 196 w 196"/>
                  <a:gd name="T9" fmla="*/ 0 h 8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6" h="850">
                    <a:moveTo>
                      <a:pt x="196" y="0"/>
                    </a:moveTo>
                    <a:lnTo>
                      <a:pt x="196" y="850"/>
                    </a:lnTo>
                    <a:lnTo>
                      <a:pt x="0" y="850"/>
                    </a:lnTo>
                    <a:lnTo>
                      <a:pt x="0" y="181"/>
                    </a:lnTo>
                    <a:lnTo>
                      <a:pt x="196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30">
                <a:extLst>
                  <a:ext uri="{FF2B5EF4-FFF2-40B4-BE49-F238E27FC236}">
                    <a16:creationId xmlns:a16="http://schemas.microsoft.com/office/drawing/2014/main" id="{AEE348EF-C647-4AC6-BFD9-C8263DA36B1C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301291" y="625475"/>
                <a:ext cx="493713" cy="660400"/>
              </a:xfrm>
              <a:custGeom>
                <a:avLst/>
                <a:gdLst>
                  <a:gd name="T0" fmla="*/ 339 w 622"/>
                  <a:gd name="T1" fmla="*/ 302 h 833"/>
                  <a:gd name="T2" fmla="*/ 366 w 622"/>
                  <a:gd name="T3" fmla="*/ 303 h 833"/>
                  <a:gd name="T4" fmla="*/ 419 w 622"/>
                  <a:gd name="T5" fmla="*/ 309 h 833"/>
                  <a:gd name="T6" fmla="*/ 447 w 622"/>
                  <a:gd name="T7" fmla="*/ 315 h 833"/>
                  <a:gd name="T8" fmla="*/ 493 w 622"/>
                  <a:gd name="T9" fmla="*/ 332 h 833"/>
                  <a:gd name="T10" fmla="*/ 536 w 622"/>
                  <a:gd name="T11" fmla="*/ 358 h 833"/>
                  <a:gd name="T12" fmla="*/ 546 w 622"/>
                  <a:gd name="T13" fmla="*/ 366 h 833"/>
                  <a:gd name="T14" fmla="*/ 564 w 622"/>
                  <a:gd name="T15" fmla="*/ 383 h 833"/>
                  <a:gd name="T16" fmla="*/ 580 w 622"/>
                  <a:gd name="T17" fmla="*/ 404 h 833"/>
                  <a:gd name="T18" fmla="*/ 594 w 622"/>
                  <a:gd name="T19" fmla="*/ 428 h 833"/>
                  <a:gd name="T20" fmla="*/ 600 w 622"/>
                  <a:gd name="T21" fmla="*/ 440 h 833"/>
                  <a:gd name="T22" fmla="*/ 609 w 622"/>
                  <a:gd name="T23" fmla="*/ 468 h 833"/>
                  <a:gd name="T24" fmla="*/ 616 w 622"/>
                  <a:gd name="T25" fmla="*/ 500 h 833"/>
                  <a:gd name="T26" fmla="*/ 620 w 622"/>
                  <a:gd name="T27" fmla="*/ 532 h 833"/>
                  <a:gd name="T28" fmla="*/ 622 w 622"/>
                  <a:gd name="T29" fmla="*/ 568 h 833"/>
                  <a:gd name="T30" fmla="*/ 621 w 622"/>
                  <a:gd name="T31" fmla="*/ 586 h 833"/>
                  <a:gd name="T32" fmla="*/ 619 w 622"/>
                  <a:gd name="T33" fmla="*/ 620 h 833"/>
                  <a:gd name="T34" fmla="*/ 613 w 622"/>
                  <a:gd name="T35" fmla="*/ 653 h 833"/>
                  <a:gd name="T36" fmla="*/ 605 w 622"/>
                  <a:gd name="T37" fmla="*/ 682 h 833"/>
                  <a:gd name="T38" fmla="*/ 600 w 622"/>
                  <a:gd name="T39" fmla="*/ 695 h 833"/>
                  <a:gd name="T40" fmla="*/ 587 w 622"/>
                  <a:gd name="T41" fmla="*/ 720 h 833"/>
                  <a:gd name="T42" fmla="*/ 573 w 622"/>
                  <a:gd name="T43" fmla="*/ 742 h 833"/>
                  <a:gd name="T44" fmla="*/ 555 w 622"/>
                  <a:gd name="T45" fmla="*/ 761 h 833"/>
                  <a:gd name="T46" fmla="*/ 536 w 622"/>
                  <a:gd name="T47" fmla="*/ 779 h 833"/>
                  <a:gd name="T48" fmla="*/ 515 w 622"/>
                  <a:gd name="T49" fmla="*/ 792 h 833"/>
                  <a:gd name="T50" fmla="*/ 470 w 622"/>
                  <a:gd name="T51" fmla="*/ 813 h 833"/>
                  <a:gd name="T52" fmla="*/ 447 w 622"/>
                  <a:gd name="T53" fmla="*/ 820 h 833"/>
                  <a:gd name="T54" fmla="*/ 392 w 622"/>
                  <a:gd name="T55" fmla="*/ 830 h 833"/>
                  <a:gd name="T56" fmla="*/ 338 w 622"/>
                  <a:gd name="T57" fmla="*/ 833 h 833"/>
                  <a:gd name="T58" fmla="*/ 0 w 622"/>
                  <a:gd name="T59" fmla="*/ 0 h 833"/>
                  <a:gd name="T60" fmla="*/ 558 w 622"/>
                  <a:gd name="T61" fmla="*/ 187 h 833"/>
                  <a:gd name="T62" fmla="*/ 187 w 622"/>
                  <a:gd name="T63" fmla="*/ 302 h 833"/>
                  <a:gd name="T64" fmla="*/ 338 w 622"/>
                  <a:gd name="T65" fmla="*/ 661 h 833"/>
                  <a:gd name="T66" fmla="*/ 349 w 622"/>
                  <a:gd name="T67" fmla="*/ 660 h 833"/>
                  <a:gd name="T68" fmla="*/ 368 w 622"/>
                  <a:gd name="T69" fmla="*/ 658 h 833"/>
                  <a:gd name="T70" fmla="*/ 384 w 622"/>
                  <a:gd name="T71" fmla="*/ 652 h 833"/>
                  <a:gd name="T72" fmla="*/ 397 w 622"/>
                  <a:gd name="T73" fmla="*/ 644 h 833"/>
                  <a:gd name="T74" fmla="*/ 408 w 622"/>
                  <a:gd name="T75" fmla="*/ 634 h 833"/>
                  <a:gd name="T76" fmla="*/ 416 w 622"/>
                  <a:gd name="T77" fmla="*/ 620 h 833"/>
                  <a:gd name="T78" fmla="*/ 422 w 622"/>
                  <a:gd name="T79" fmla="*/ 604 h 833"/>
                  <a:gd name="T80" fmla="*/ 424 w 622"/>
                  <a:gd name="T81" fmla="*/ 586 h 833"/>
                  <a:gd name="T82" fmla="*/ 425 w 622"/>
                  <a:gd name="T83" fmla="*/ 575 h 833"/>
                  <a:gd name="T84" fmla="*/ 423 w 622"/>
                  <a:gd name="T85" fmla="*/ 556 h 833"/>
                  <a:gd name="T86" fmla="*/ 419 w 622"/>
                  <a:gd name="T87" fmla="*/ 539 h 833"/>
                  <a:gd name="T88" fmla="*/ 413 w 622"/>
                  <a:gd name="T89" fmla="*/ 524 h 833"/>
                  <a:gd name="T90" fmla="*/ 403 w 622"/>
                  <a:gd name="T91" fmla="*/ 512 h 833"/>
                  <a:gd name="T92" fmla="*/ 391 w 622"/>
                  <a:gd name="T93" fmla="*/ 503 h 833"/>
                  <a:gd name="T94" fmla="*/ 376 w 622"/>
                  <a:gd name="T95" fmla="*/ 497 h 833"/>
                  <a:gd name="T96" fmla="*/ 358 w 622"/>
                  <a:gd name="T97" fmla="*/ 493 h 833"/>
                  <a:gd name="T98" fmla="*/ 338 w 622"/>
                  <a:gd name="T99" fmla="*/ 491 h 833"/>
                  <a:gd name="T100" fmla="*/ 187 w 622"/>
                  <a:gd name="T101" fmla="*/ 661 h 8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622" h="833">
                    <a:moveTo>
                      <a:pt x="187" y="302"/>
                    </a:moveTo>
                    <a:lnTo>
                      <a:pt x="339" y="302"/>
                    </a:lnTo>
                    <a:lnTo>
                      <a:pt x="339" y="302"/>
                    </a:lnTo>
                    <a:lnTo>
                      <a:pt x="366" y="303"/>
                    </a:lnTo>
                    <a:lnTo>
                      <a:pt x="393" y="305"/>
                    </a:lnTo>
                    <a:lnTo>
                      <a:pt x="419" y="309"/>
                    </a:lnTo>
                    <a:lnTo>
                      <a:pt x="447" y="315"/>
                    </a:lnTo>
                    <a:lnTo>
                      <a:pt x="447" y="315"/>
                    </a:lnTo>
                    <a:lnTo>
                      <a:pt x="471" y="323"/>
                    </a:lnTo>
                    <a:lnTo>
                      <a:pt x="493" y="332"/>
                    </a:lnTo>
                    <a:lnTo>
                      <a:pt x="515" y="345"/>
                    </a:lnTo>
                    <a:lnTo>
                      <a:pt x="536" y="358"/>
                    </a:lnTo>
                    <a:lnTo>
                      <a:pt x="536" y="358"/>
                    </a:lnTo>
                    <a:lnTo>
                      <a:pt x="546" y="366"/>
                    </a:lnTo>
                    <a:lnTo>
                      <a:pt x="555" y="374"/>
                    </a:lnTo>
                    <a:lnTo>
                      <a:pt x="564" y="383"/>
                    </a:lnTo>
                    <a:lnTo>
                      <a:pt x="573" y="393"/>
                    </a:lnTo>
                    <a:lnTo>
                      <a:pt x="580" y="404"/>
                    </a:lnTo>
                    <a:lnTo>
                      <a:pt x="587" y="415"/>
                    </a:lnTo>
                    <a:lnTo>
                      <a:pt x="594" y="428"/>
                    </a:lnTo>
                    <a:lnTo>
                      <a:pt x="600" y="440"/>
                    </a:lnTo>
                    <a:lnTo>
                      <a:pt x="600" y="440"/>
                    </a:lnTo>
                    <a:lnTo>
                      <a:pt x="605" y="454"/>
                    </a:lnTo>
                    <a:lnTo>
                      <a:pt x="609" y="468"/>
                    </a:lnTo>
                    <a:lnTo>
                      <a:pt x="613" y="484"/>
                    </a:lnTo>
                    <a:lnTo>
                      <a:pt x="616" y="500"/>
                    </a:lnTo>
                    <a:lnTo>
                      <a:pt x="619" y="516"/>
                    </a:lnTo>
                    <a:lnTo>
                      <a:pt x="620" y="532"/>
                    </a:lnTo>
                    <a:lnTo>
                      <a:pt x="621" y="550"/>
                    </a:lnTo>
                    <a:lnTo>
                      <a:pt x="622" y="568"/>
                    </a:lnTo>
                    <a:lnTo>
                      <a:pt x="622" y="568"/>
                    </a:lnTo>
                    <a:lnTo>
                      <a:pt x="621" y="586"/>
                    </a:lnTo>
                    <a:lnTo>
                      <a:pt x="620" y="603"/>
                    </a:lnTo>
                    <a:lnTo>
                      <a:pt x="619" y="620"/>
                    </a:lnTo>
                    <a:lnTo>
                      <a:pt x="616" y="637"/>
                    </a:lnTo>
                    <a:lnTo>
                      <a:pt x="613" y="653"/>
                    </a:lnTo>
                    <a:lnTo>
                      <a:pt x="609" y="668"/>
                    </a:lnTo>
                    <a:lnTo>
                      <a:pt x="605" y="682"/>
                    </a:lnTo>
                    <a:lnTo>
                      <a:pt x="600" y="695"/>
                    </a:lnTo>
                    <a:lnTo>
                      <a:pt x="600" y="695"/>
                    </a:lnTo>
                    <a:lnTo>
                      <a:pt x="594" y="708"/>
                    </a:lnTo>
                    <a:lnTo>
                      <a:pt x="587" y="720"/>
                    </a:lnTo>
                    <a:lnTo>
                      <a:pt x="580" y="732"/>
                    </a:lnTo>
                    <a:lnTo>
                      <a:pt x="573" y="742"/>
                    </a:lnTo>
                    <a:lnTo>
                      <a:pt x="564" y="752"/>
                    </a:lnTo>
                    <a:lnTo>
                      <a:pt x="555" y="761"/>
                    </a:lnTo>
                    <a:lnTo>
                      <a:pt x="546" y="771"/>
                    </a:lnTo>
                    <a:lnTo>
                      <a:pt x="536" y="779"/>
                    </a:lnTo>
                    <a:lnTo>
                      <a:pt x="536" y="779"/>
                    </a:lnTo>
                    <a:lnTo>
                      <a:pt x="515" y="792"/>
                    </a:lnTo>
                    <a:lnTo>
                      <a:pt x="493" y="804"/>
                    </a:lnTo>
                    <a:lnTo>
                      <a:pt x="470" y="813"/>
                    </a:lnTo>
                    <a:lnTo>
                      <a:pt x="447" y="820"/>
                    </a:lnTo>
                    <a:lnTo>
                      <a:pt x="447" y="820"/>
                    </a:lnTo>
                    <a:lnTo>
                      <a:pt x="419" y="826"/>
                    </a:lnTo>
                    <a:lnTo>
                      <a:pt x="392" y="830"/>
                    </a:lnTo>
                    <a:lnTo>
                      <a:pt x="365" y="833"/>
                    </a:lnTo>
                    <a:lnTo>
                      <a:pt x="338" y="833"/>
                    </a:lnTo>
                    <a:lnTo>
                      <a:pt x="0" y="833"/>
                    </a:lnTo>
                    <a:lnTo>
                      <a:pt x="0" y="0"/>
                    </a:lnTo>
                    <a:lnTo>
                      <a:pt x="558" y="0"/>
                    </a:lnTo>
                    <a:lnTo>
                      <a:pt x="558" y="187"/>
                    </a:lnTo>
                    <a:lnTo>
                      <a:pt x="187" y="187"/>
                    </a:lnTo>
                    <a:lnTo>
                      <a:pt x="187" y="302"/>
                    </a:lnTo>
                    <a:close/>
                    <a:moveTo>
                      <a:pt x="187" y="661"/>
                    </a:moveTo>
                    <a:lnTo>
                      <a:pt x="338" y="661"/>
                    </a:lnTo>
                    <a:lnTo>
                      <a:pt x="338" y="661"/>
                    </a:lnTo>
                    <a:lnTo>
                      <a:pt x="349" y="660"/>
                    </a:lnTo>
                    <a:lnTo>
                      <a:pt x="358" y="659"/>
                    </a:lnTo>
                    <a:lnTo>
                      <a:pt x="368" y="658"/>
                    </a:lnTo>
                    <a:lnTo>
                      <a:pt x="376" y="655"/>
                    </a:lnTo>
                    <a:lnTo>
                      <a:pt x="384" y="652"/>
                    </a:lnTo>
                    <a:lnTo>
                      <a:pt x="391" y="649"/>
                    </a:lnTo>
                    <a:lnTo>
                      <a:pt x="397" y="644"/>
                    </a:lnTo>
                    <a:lnTo>
                      <a:pt x="403" y="640"/>
                    </a:lnTo>
                    <a:lnTo>
                      <a:pt x="408" y="634"/>
                    </a:lnTo>
                    <a:lnTo>
                      <a:pt x="413" y="628"/>
                    </a:lnTo>
                    <a:lnTo>
                      <a:pt x="416" y="620"/>
                    </a:lnTo>
                    <a:lnTo>
                      <a:pt x="419" y="612"/>
                    </a:lnTo>
                    <a:lnTo>
                      <a:pt x="422" y="604"/>
                    </a:lnTo>
                    <a:lnTo>
                      <a:pt x="423" y="595"/>
                    </a:lnTo>
                    <a:lnTo>
                      <a:pt x="424" y="586"/>
                    </a:lnTo>
                    <a:lnTo>
                      <a:pt x="425" y="575"/>
                    </a:lnTo>
                    <a:lnTo>
                      <a:pt x="425" y="575"/>
                    </a:lnTo>
                    <a:lnTo>
                      <a:pt x="424" y="565"/>
                    </a:lnTo>
                    <a:lnTo>
                      <a:pt x="423" y="556"/>
                    </a:lnTo>
                    <a:lnTo>
                      <a:pt x="422" y="547"/>
                    </a:lnTo>
                    <a:lnTo>
                      <a:pt x="419" y="539"/>
                    </a:lnTo>
                    <a:lnTo>
                      <a:pt x="416" y="531"/>
                    </a:lnTo>
                    <a:lnTo>
                      <a:pt x="413" y="524"/>
                    </a:lnTo>
                    <a:lnTo>
                      <a:pt x="408" y="518"/>
                    </a:lnTo>
                    <a:lnTo>
                      <a:pt x="403" y="512"/>
                    </a:lnTo>
                    <a:lnTo>
                      <a:pt x="397" y="507"/>
                    </a:lnTo>
                    <a:lnTo>
                      <a:pt x="391" y="503"/>
                    </a:lnTo>
                    <a:lnTo>
                      <a:pt x="384" y="500"/>
                    </a:lnTo>
                    <a:lnTo>
                      <a:pt x="376" y="497"/>
                    </a:lnTo>
                    <a:lnTo>
                      <a:pt x="368" y="494"/>
                    </a:lnTo>
                    <a:lnTo>
                      <a:pt x="358" y="493"/>
                    </a:lnTo>
                    <a:lnTo>
                      <a:pt x="349" y="492"/>
                    </a:lnTo>
                    <a:lnTo>
                      <a:pt x="338" y="491"/>
                    </a:lnTo>
                    <a:lnTo>
                      <a:pt x="187" y="491"/>
                    </a:lnTo>
                    <a:lnTo>
                      <a:pt x="187" y="66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53613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5123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ight Triangle 11">
            <a:extLst>
              <a:ext uri="{FF2B5EF4-FFF2-40B4-BE49-F238E27FC236}">
                <a16:creationId xmlns:a16="http://schemas.microsoft.com/office/drawing/2014/main" id="{E0D2C522-F60E-88AD-FB16-2E960CA2C071}"/>
              </a:ext>
            </a:extLst>
          </p:cNvPr>
          <p:cNvSpPr/>
          <p:nvPr userDrawn="1"/>
        </p:nvSpPr>
        <p:spPr>
          <a:xfrm flipH="1">
            <a:off x="7356763" y="2385409"/>
            <a:ext cx="4835235" cy="4472592"/>
          </a:xfrm>
          <a:prstGeom prst="rtTriangle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RU" sz="1200" dirty="0">
              <a:solidFill>
                <a:schemeClr val="tx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DB83A00-50A1-203D-B76D-B835B56785E3}"/>
              </a:ext>
            </a:extLst>
          </p:cNvPr>
          <p:cNvSpPr txBox="1"/>
          <p:nvPr userDrawn="1"/>
        </p:nvSpPr>
        <p:spPr>
          <a:xfrm>
            <a:off x="2196309" y="4866647"/>
            <a:ext cx="1393431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000" dirty="0">
                <a:solidFill>
                  <a:srgbClr val="C4C4CD"/>
                </a:solidFill>
                <a:latin typeface="+mn-lt"/>
              </a:rPr>
              <a:t>Written by</a:t>
            </a:r>
          </a:p>
        </p:txBody>
      </p:sp>
      <p:sp>
        <p:nvSpPr>
          <p:cNvPr id="14" name="Text Placeholder 16">
            <a:extLst>
              <a:ext uri="{FF2B5EF4-FFF2-40B4-BE49-F238E27FC236}">
                <a16:creationId xmlns:a16="http://schemas.microsoft.com/office/drawing/2014/main" id="{99183036-47C3-5376-ECF2-AAFFECBDC57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96309" y="5193556"/>
            <a:ext cx="4119033" cy="180000"/>
          </a:xfrm>
        </p:spPr>
        <p:txBody>
          <a:bodyPr/>
          <a:lstStyle>
            <a:lvl1pPr marL="0" indent="0">
              <a:buNone/>
              <a:defRPr sz="1200" b="0" i="0">
                <a:solidFill>
                  <a:srgbClr val="4AA851"/>
                </a:solidFill>
                <a:latin typeface="Montserrat Medium" pitchFamily="2" charset="77"/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5" name="Text Placeholder 16">
            <a:extLst>
              <a:ext uri="{FF2B5EF4-FFF2-40B4-BE49-F238E27FC236}">
                <a16:creationId xmlns:a16="http://schemas.microsoft.com/office/drawing/2014/main" id="{4E2E7423-32FF-407F-7D31-C4DEF7CDD6F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196309" y="5493080"/>
            <a:ext cx="4119033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Job Title</a:t>
            </a:r>
            <a:endParaRPr lang="en-GB" dirty="0"/>
          </a:p>
        </p:txBody>
      </p:sp>
      <p:sp>
        <p:nvSpPr>
          <p:cNvPr id="16" name="Picture Placeholder 19">
            <a:extLst>
              <a:ext uri="{FF2B5EF4-FFF2-40B4-BE49-F238E27FC236}">
                <a16:creationId xmlns:a16="http://schemas.microsoft.com/office/drawing/2014/main" id="{56851329-6CEE-11D9-693C-AC8AE5AD32C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157794" y="4903509"/>
            <a:ext cx="808712" cy="816824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676">
                <a:solidFill>
                  <a:schemeClr val="bg1"/>
                </a:solidFill>
                <a:latin typeface="Montserrat Light" panose="00000400000000000000" pitchFamily="2" charset="-52"/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pic>
        <p:nvPicPr>
          <p:cNvPr id="19" name="Рисунок 12">
            <a:extLst>
              <a:ext uri="{FF2B5EF4-FFF2-40B4-BE49-F238E27FC236}">
                <a16:creationId xmlns:a16="http://schemas.microsoft.com/office/drawing/2014/main" id="{3F78BD44-D32E-F49C-AA58-FE4D31D4A5F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2937606" y="4882257"/>
            <a:ext cx="164174" cy="151471"/>
          </a:xfrm>
          <a:prstGeom prst="rect">
            <a:avLst/>
          </a:prstGeom>
        </p:spPr>
      </p:pic>
      <p:sp>
        <p:nvSpPr>
          <p:cNvPr id="49" name="Title 1">
            <a:extLst>
              <a:ext uri="{FF2B5EF4-FFF2-40B4-BE49-F238E27FC236}">
                <a16:creationId xmlns:a16="http://schemas.microsoft.com/office/drawing/2014/main" id="{655E6B9A-3138-41CC-B48F-6A8390877AB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05345" y="2155923"/>
            <a:ext cx="7448353" cy="1273077"/>
          </a:xfrm>
        </p:spPr>
        <p:txBody>
          <a:bodyPr/>
          <a:lstStyle>
            <a:lvl1pPr>
              <a:lnSpc>
                <a:spcPts val="4000"/>
              </a:lnSpc>
              <a:defRPr sz="3200" b="1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GB" dirty="0"/>
              <a:t>TITLE CAPS</a:t>
            </a:r>
            <a:br>
              <a:rPr lang="en-GB" dirty="0"/>
            </a:br>
            <a:r>
              <a:rPr lang="en-GB" dirty="0"/>
              <a:t>(MONTSERRAT 32 POINT)</a:t>
            </a:r>
          </a:p>
        </p:txBody>
      </p:sp>
      <p:sp>
        <p:nvSpPr>
          <p:cNvPr id="50" name="Text Placeholder 73">
            <a:extLst>
              <a:ext uri="{FF2B5EF4-FFF2-40B4-BE49-F238E27FC236}">
                <a16:creationId xmlns:a16="http://schemas.microsoft.com/office/drawing/2014/main" id="{B197BDBC-3615-44EC-8DFC-3B3F376D8635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04913" y="3383279"/>
            <a:ext cx="5210175" cy="35964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Subtitle (Montserrat 20 point)</a:t>
            </a:r>
          </a:p>
        </p:txBody>
      </p:sp>
      <p:sp>
        <p:nvSpPr>
          <p:cNvPr id="51" name="Text Placeholder 77">
            <a:extLst>
              <a:ext uri="{FF2B5EF4-FFF2-40B4-BE49-F238E27FC236}">
                <a16:creationId xmlns:a16="http://schemas.microsoft.com/office/drawing/2014/main" id="{48811D59-B4CC-4EE5-8418-8F459E52D4DE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04913" y="3822733"/>
            <a:ext cx="5210175" cy="326348"/>
          </a:xfrm>
        </p:spPr>
        <p:txBody>
          <a:bodyPr/>
          <a:lstStyle>
            <a:lvl1pPr marL="0" indent="0">
              <a:buNone/>
              <a:defRPr sz="1600" b="0" i="0" u="none">
                <a:latin typeface="Montserrat Alternates SemiBold" panose="00000700000000000000" pitchFamily="50" charset="-52"/>
              </a:defRPr>
            </a:lvl1pPr>
          </a:lstStyle>
          <a:p>
            <a:pPr>
              <a:lnSpc>
                <a:spcPts val="2400"/>
              </a:lnSpc>
              <a:spcBef>
                <a:spcPts val="0"/>
              </a:spcBef>
              <a:spcAft>
                <a:spcPts val="600"/>
              </a:spcAft>
            </a:pPr>
            <a:r>
              <a:rPr lang="en-IN" b="1">
                <a:solidFill>
                  <a:schemeClr val="bg1"/>
                </a:solidFill>
                <a:latin typeface="Montserrat" pitchFamily="2" charset="77"/>
              </a:rPr>
              <a:t>XX Month 200X (Montserrat bold 16 point)</a:t>
            </a:r>
            <a:endParaRPr lang="en-IN" b="1" dirty="0">
              <a:solidFill>
                <a:schemeClr val="bg1"/>
              </a:solidFill>
              <a:latin typeface="Montserrat" pitchFamily="2" charset="77"/>
            </a:endParaRP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4FADA80B-48B6-4A9F-B706-9ED47F6C815B}"/>
              </a:ext>
            </a:extLst>
          </p:cNvPr>
          <p:cNvGrpSpPr/>
          <p:nvPr userDrawn="1"/>
        </p:nvGrpSpPr>
        <p:grpSpPr>
          <a:xfrm>
            <a:off x="10346853" y="658368"/>
            <a:ext cx="1319534" cy="970407"/>
            <a:chOff x="10332720" y="658368"/>
            <a:chExt cx="1319534" cy="970407"/>
          </a:xfrm>
        </p:grpSpPr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96AB4D2A-9779-4588-9367-CECC38C05C33}"/>
                </a:ext>
              </a:extLst>
            </p:cNvPr>
            <p:cNvGrpSpPr/>
            <p:nvPr userDrawn="1"/>
          </p:nvGrpSpPr>
          <p:grpSpPr>
            <a:xfrm>
              <a:off x="10344154" y="1376363"/>
              <a:ext cx="1308100" cy="252412"/>
              <a:chOff x="10344154" y="1376363"/>
              <a:chExt cx="1308100" cy="252412"/>
            </a:xfrm>
          </p:grpSpPr>
          <p:sp>
            <p:nvSpPr>
              <p:cNvPr id="48" name="Freeform 5">
                <a:extLst>
                  <a:ext uri="{FF2B5EF4-FFF2-40B4-BE49-F238E27FC236}">
                    <a16:creationId xmlns:a16="http://schemas.microsoft.com/office/drawing/2014/main" id="{62E113B9-139D-4F1E-8DB9-733352A0B1F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344154" y="1379538"/>
                <a:ext cx="85725" cy="90487"/>
              </a:xfrm>
              <a:custGeom>
                <a:avLst/>
                <a:gdLst>
                  <a:gd name="T0" fmla="*/ 109 w 109"/>
                  <a:gd name="T1" fmla="*/ 0 h 115"/>
                  <a:gd name="T2" fmla="*/ 109 w 109"/>
                  <a:gd name="T3" fmla="*/ 115 h 115"/>
                  <a:gd name="T4" fmla="*/ 77 w 109"/>
                  <a:gd name="T5" fmla="*/ 115 h 115"/>
                  <a:gd name="T6" fmla="*/ 77 w 109"/>
                  <a:gd name="T7" fmla="*/ 69 h 115"/>
                  <a:gd name="T8" fmla="*/ 32 w 109"/>
                  <a:gd name="T9" fmla="*/ 69 h 115"/>
                  <a:gd name="T10" fmla="*/ 32 w 109"/>
                  <a:gd name="T11" fmla="*/ 115 h 115"/>
                  <a:gd name="T12" fmla="*/ 0 w 109"/>
                  <a:gd name="T13" fmla="*/ 115 h 115"/>
                  <a:gd name="T14" fmla="*/ 0 w 109"/>
                  <a:gd name="T15" fmla="*/ 0 h 115"/>
                  <a:gd name="T16" fmla="*/ 32 w 109"/>
                  <a:gd name="T17" fmla="*/ 0 h 115"/>
                  <a:gd name="T18" fmla="*/ 32 w 109"/>
                  <a:gd name="T19" fmla="*/ 43 h 115"/>
                  <a:gd name="T20" fmla="*/ 77 w 109"/>
                  <a:gd name="T21" fmla="*/ 43 h 115"/>
                  <a:gd name="T22" fmla="*/ 77 w 109"/>
                  <a:gd name="T23" fmla="*/ 0 h 115"/>
                  <a:gd name="T24" fmla="*/ 109 w 109"/>
                  <a:gd name="T25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9" h="115">
                    <a:moveTo>
                      <a:pt x="109" y="0"/>
                    </a:moveTo>
                    <a:lnTo>
                      <a:pt x="109" y="115"/>
                    </a:lnTo>
                    <a:lnTo>
                      <a:pt x="77" y="115"/>
                    </a:lnTo>
                    <a:lnTo>
                      <a:pt x="77" y="69"/>
                    </a:lnTo>
                    <a:lnTo>
                      <a:pt x="32" y="69"/>
                    </a:lnTo>
                    <a:lnTo>
                      <a:pt x="3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2" y="0"/>
                    </a:lnTo>
                    <a:lnTo>
                      <a:pt x="32" y="43"/>
                    </a:lnTo>
                    <a:lnTo>
                      <a:pt x="77" y="43"/>
                    </a:lnTo>
                    <a:lnTo>
                      <a:pt x="77" y="0"/>
                    </a:lnTo>
                    <a:lnTo>
                      <a:pt x="109" y="0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6">
                <a:extLst>
                  <a:ext uri="{FF2B5EF4-FFF2-40B4-BE49-F238E27FC236}">
                    <a16:creationId xmlns:a16="http://schemas.microsoft.com/office/drawing/2014/main" id="{FA0C551F-0670-4033-8BAC-22A20E522B63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447341" y="1377950"/>
                <a:ext cx="101600" cy="93662"/>
              </a:xfrm>
              <a:custGeom>
                <a:avLst/>
                <a:gdLst>
                  <a:gd name="T0" fmla="*/ 31 w 128"/>
                  <a:gd name="T1" fmla="*/ 112 h 119"/>
                  <a:gd name="T2" fmla="*/ 21 w 128"/>
                  <a:gd name="T3" fmla="*/ 105 h 119"/>
                  <a:gd name="T4" fmla="*/ 6 w 128"/>
                  <a:gd name="T5" fmla="*/ 87 h 119"/>
                  <a:gd name="T6" fmla="*/ 0 w 128"/>
                  <a:gd name="T7" fmla="*/ 65 h 119"/>
                  <a:gd name="T8" fmla="*/ 2 w 128"/>
                  <a:gd name="T9" fmla="*/ 43 h 119"/>
                  <a:gd name="T10" fmla="*/ 6 w 128"/>
                  <a:gd name="T11" fmla="*/ 32 h 119"/>
                  <a:gd name="T12" fmla="*/ 11 w 128"/>
                  <a:gd name="T13" fmla="*/ 24 h 119"/>
                  <a:gd name="T14" fmla="*/ 23 w 128"/>
                  <a:gd name="T15" fmla="*/ 12 h 119"/>
                  <a:gd name="T16" fmla="*/ 31 w 128"/>
                  <a:gd name="T17" fmla="*/ 7 h 119"/>
                  <a:gd name="T18" fmla="*/ 46 w 128"/>
                  <a:gd name="T19" fmla="*/ 2 h 119"/>
                  <a:gd name="T20" fmla="*/ 64 w 128"/>
                  <a:gd name="T21" fmla="*/ 0 h 119"/>
                  <a:gd name="T22" fmla="*/ 81 w 128"/>
                  <a:gd name="T23" fmla="*/ 2 h 119"/>
                  <a:gd name="T24" fmla="*/ 97 w 128"/>
                  <a:gd name="T25" fmla="*/ 7 h 119"/>
                  <a:gd name="T26" fmla="*/ 102 w 128"/>
                  <a:gd name="T27" fmla="*/ 10 h 119"/>
                  <a:gd name="T28" fmla="*/ 115 w 128"/>
                  <a:gd name="T29" fmla="*/ 22 h 119"/>
                  <a:gd name="T30" fmla="*/ 125 w 128"/>
                  <a:gd name="T31" fmla="*/ 42 h 119"/>
                  <a:gd name="T32" fmla="*/ 128 w 128"/>
                  <a:gd name="T33" fmla="*/ 64 h 119"/>
                  <a:gd name="T34" fmla="*/ 124 w 128"/>
                  <a:gd name="T35" fmla="*/ 81 h 119"/>
                  <a:gd name="T36" fmla="*/ 121 w 128"/>
                  <a:gd name="T37" fmla="*/ 86 h 119"/>
                  <a:gd name="T38" fmla="*/ 111 w 128"/>
                  <a:gd name="T39" fmla="*/ 100 h 119"/>
                  <a:gd name="T40" fmla="*/ 97 w 128"/>
                  <a:gd name="T41" fmla="*/ 112 h 119"/>
                  <a:gd name="T42" fmla="*/ 89 w 128"/>
                  <a:gd name="T43" fmla="*/ 115 h 119"/>
                  <a:gd name="T44" fmla="*/ 72 w 128"/>
                  <a:gd name="T45" fmla="*/ 119 h 119"/>
                  <a:gd name="T46" fmla="*/ 55 w 128"/>
                  <a:gd name="T47" fmla="*/ 119 h 119"/>
                  <a:gd name="T48" fmla="*/ 38 w 128"/>
                  <a:gd name="T49" fmla="*/ 115 h 119"/>
                  <a:gd name="T50" fmla="*/ 31 w 128"/>
                  <a:gd name="T51" fmla="*/ 112 h 119"/>
                  <a:gd name="T52" fmla="*/ 80 w 128"/>
                  <a:gd name="T53" fmla="*/ 87 h 119"/>
                  <a:gd name="T54" fmla="*/ 91 w 128"/>
                  <a:gd name="T55" fmla="*/ 76 h 119"/>
                  <a:gd name="T56" fmla="*/ 94 w 128"/>
                  <a:gd name="T57" fmla="*/ 68 h 119"/>
                  <a:gd name="T58" fmla="*/ 94 w 128"/>
                  <a:gd name="T59" fmla="*/ 50 h 119"/>
                  <a:gd name="T60" fmla="*/ 91 w 128"/>
                  <a:gd name="T61" fmla="*/ 42 h 119"/>
                  <a:gd name="T62" fmla="*/ 80 w 128"/>
                  <a:gd name="T63" fmla="*/ 30 h 119"/>
                  <a:gd name="T64" fmla="*/ 72 w 128"/>
                  <a:gd name="T65" fmla="*/ 27 h 119"/>
                  <a:gd name="T66" fmla="*/ 55 w 128"/>
                  <a:gd name="T67" fmla="*/ 27 h 119"/>
                  <a:gd name="T68" fmla="*/ 47 w 128"/>
                  <a:gd name="T69" fmla="*/ 30 h 119"/>
                  <a:gd name="T70" fmla="*/ 36 w 128"/>
                  <a:gd name="T71" fmla="*/ 42 h 119"/>
                  <a:gd name="T72" fmla="*/ 33 w 128"/>
                  <a:gd name="T73" fmla="*/ 50 h 119"/>
                  <a:gd name="T74" fmla="*/ 33 w 128"/>
                  <a:gd name="T75" fmla="*/ 68 h 119"/>
                  <a:gd name="T76" fmla="*/ 36 w 128"/>
                  <a:gd name="T77" fmla="*/ 76 h 119"/>
                  <a:gd name="T78" fmla="*/ 47 w 128"/>
                  <a:gd name="T79" fmla="*/ 87 h 119"/>
                  <a:gd name="T80" fmla="*/ 55 w 128"/>
                  <a:gd name="T81" fmla="*/ 90 h 119"/>
                  <a:gd name="T82" fmla="*/ 72 w 128"/>
                  <a:gd name="T83" fmla="*/ 90 h 119"/>
                  <a:gd name="T84" fmla="*/ 80 w 128"/>
                  <a:gd name="T85" fmla="*/ 87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28" h="119">
                    <a:moveTo>
                      <a:pt x="31" y="112"/>
                    </a:moveTo>
                    <a:lnTo>
                      <a:pt x="31" y="112"/>
                    </a:lnTo>
                    <a:lnTo>
                      <a:pt x="25" y="109"/>
                    </a:lnTo>
                    <a:lnTo>
                      <a:pt x="21" y="105"/>
                    </a:lnTo>
                    <a:lnTo>
                      <a:pt x="13" y="96"/>
                    </a:lnTo>
                    <a:lnTo>
                      <a:pt x="6" y="87"/>
                    </a:lnTo>
                    <a:lnTo>
                      <a:pt x="2" y="76"/>
                    </a:lnTo>
                    <a:lnTo>
                      <a:pt x="0" y="65"/>
                    </a:lnTo>
                    <a:lnTo>
                      <a:pt x="0" y="54"/>
                    </a:lnTo>
                    <a:lnTo>
                      <a:pt x="2" y="43"/>
                    </a:lnTo>
                    <a:lnTo>
                      <a:pt x="4" y="37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11" y="24"/>
                    </a:lnTo>
                    <a:lnTo>
                      <a:pt x="16" y="18"/>
                    </a:lnTo>
                    <a:lnTo>
                      <a:pt x="23" y="12"/>
                    </a:lnTo>
                    <a:lnTo>
                      <a:pt x="31" y="7"/>
                    </a:lnTo>
                    <a:lnTo>
                      <a:pt x="31" y="7"/>
                    </a:lnTo>
                    <a:lnTo>
                      <a:pt x="38" y="4"/>
                    </a:lnTo>
                    <a:lnTo>
                      <a:pt x="46" y="2"/>
                    </a:lnTo>
                    <a:lnTo>
                      <a:pt x="55" y="0"/>
                    </a:lnTo>
                    <a:lnTo>
                      <a:pt x="64" y="0"/>
                    </a:lnTo>
                    <a:lnTo>
                      <a:pt x="72" y="0"/>
                    </a:lnTo>
                    <a:lnTo>
                      <a:pt x="81" y="2"/>
                    </a:lnTo>
                    <a:lnTo>
                      <a:pt x="89" y="4"/>
                    </a:lnTo>
                    <a:lnTo>
                      <a:pt x="97" y="7"/>
                    </a:lnTo>
                    <a:lnTo>
                      <a:pt x="97" y="7"/>
                    </a:lnTo>
                    <a:lnTo>
                      <a:pt x="102" y="10"/>
                    </a:lnTo>
                    <a:lnTo>
                      <a:pt x="106" y="14"/>
                    </a:lnTo>
                    <a:lnTo>
                      <a:pt x="115" y="22"/>
                    </a:lnTo>
                    <a:lnTo>
                      <a:pt x="121" y="31"/>
                    </a:lnTo>
                    <a:lnTo>
                      <a:pt x="125" y="42"/>
                    </a:lnTo>
                    <a:lnTo>
                      <a:pt x="127" y="53"/>
                    </a:lnTo>
                    <a:lnTo>
                      <a:pt x="128" y="64"/>
                    </a:lnTo>
                    <a:lnTo>
                      <a:pt x="125" y="75"/>
                    </a:lnTo>
                    <a:lnTo>
                      <a:pt x="124" y="81"/>
                    </a:lnTo>
                    <a:lnTo>
                      <a:pt x="121" y="86"/>
                    </a:lnTo>
                    <a:lnTo>
                      <a:pt x="121" y="86"/>
                    </a:lnTo>
                    <a:lnTo>
                      <a:pt x="116" y="94"/>
                    </a:lnTo>
                    <a:lnTo>
                      <a:pt x="111" y="100"/>
                    </a:lnTo>
                    <a:lnTo>
                      <a:pt x="104" y="107"/>
                    </a:lnTo>
                    <a:lnTo>
                      <a:pt x="97" y="112"/>
                    </a:lnTo>
                    <a:lnTo>
                      <a:pt x="97" y="112"/>
                    </a:lnTo>
                    <a:lnTo>
                      <a:pt x="89" y="115"/>
                    </a:lnTo>
                    <a:lnTo>
                      <a:pt x="81" y="117"/>
                    </a:lnTo>
                    <a:lnTo>
                      <a:pt x="72" y="119"/>
                    </a:lnTo>
                    <a:lnTo>
                      <a:pt x="64" y="119"/>
                    </a:lnTo>
                    <a:lnTo>
                      <a:pt x="55" y="119"/>
                    </a:lnTo>
                    <a:lnTo>
                      <a:pt x="46" y="117"/>
                    </a:lnTo>
                    <a:lnTo>
                      <a:pt x="38" y="115"/>
                    </a:lnTo>
                    <a:lnTo>
                      <a:pt x="31" y="112"/>
                    </a:lnTo>
                    <a:lnTo>
                      <a:pt x="31" y="112"/>
                    </a:lnTo>
                    <a:close/>
                    <a:moveTo>
                      <a:pt x="80" y="87"/>
                    </a:moveTo>
                    <a:lnTo>
                      <a:pt x="80" y="87"/>
                    </a:lnTo>
                    <a:lnTo>
                      <a:pt x="86" y="82"/>
                    </a:lnTo>
                    <a:lnTo>
                      <a:pt x="91" y="76"/>
                    </a:lnTo>
                    <a:lnTo>
                      <a:pt x="91" y="76"/>
                    </a:lnTo>
                    <a:lnTo>
                      <a:pt x="94" y="68"/>
                    </a:lnTo>
                    <a:lnTo>
                      <a:pt x="95" y="59"/>
                    </a:lnTo>
                    <a:lnTo>
                      <a:pt x="94" y="50"/>
                    </a:lnTo>
                    <a:lnTo>
                      <a:pt x="91" y="42"/>
                    </a:lnTo>
                    <a:lnTo>
                      <a:pt x="91" y="42"/>
                    </a:lnTo>
                    <a:lnTo>
                      <a:pt x="86" y="35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72" y="27"/>
                    </a:lnTo>
                    <a:lnTo>
                      <a:pt x="64" y="26"/>
                    </a:lnTo>
                    <a:lnTo>
                      <a:pt x="55" y="27"/>
                    </a:lnTo>
                    <a:lnTo>
                      <a:pt x="47" y="30"/>
                    </a:lnTo>
                    <a:lnTo>
                      <a:pt x="47" y="30"/>
                    </a:lnTo>
                    <a:lnTo>
                      <a:pt x="41" y="35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3" y="50"/>
                    </a:lnTo>
                    <a:lnTo>
                      <a:pt x="32" y="59"/>
                    </a:lnTo>
                    <a:lnTo>
                      <a:pt x="33" y="68"/>
                    </a:lnTo>
                    <a:lnTo>
                      <a:pt x="36" y="76"/>
                    </a:lnTo>
                    <a:lnTo>
                      <a:pt x="36" y="76"/>
                    </a:lnTo>
                    <a:lnTo>
                      <a:pt x="41" y="82"/>
                    </a:lnTo>
                    <a:lnTo>
                      <a:pt x="47" y="87"/>
                    </a:lnTo>
                    <a:lnTo>
                      <a:pt x="47" y="87"/>
                    </a:lnTo>
                    <a:lnTo>
                      <a:pt x="55" y="90"/>
                    </a:lnTo>
                    <a:lnTo>
                      <a:pt x="64" y="91"/>
                    </a:lnTo>
                    <a:lnTo>
                      <a:pt x="72" y="90"/>
                    </a:lnTo>
                    <a:lnTo>
                      <a:pt x="80" y="87"/>
                    </a:lnTo>
                    <a:lnTo>
                      <a:pt x="80" y="87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7">
                <a:extLst>
                  <a:ext uri="{FF2B5EF4-FFF2-40B4-BE49-F238E27FC236}">
                    <a16:creationId xmlns:a16="http://schemas.microsoft.com/office/drawing/2014/main" id="{3106E96E-E576-4141-83AC-CEC75FC8596A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564816" y="1379538"/>
                <a:ext cx="84138" cy="90487"/>
              </a:xfrm>
              <a:custGeom>
                <a:avLst/>
                <a:gdLst>
                  <a:gd name="T0" fmla="*/ 99 w 105"/>
                  <a:gd name="T1" fmla="*/ 64 h 115"/>
                  <a:gd name="T2" fmla="*/ 103 w 105"/>
                  <a:gd name="T3" fmla="*/ 72 h 115"/>
                  <a:gd name="T4" fmla="*/ 105 w 105"/>
                  <a:gd name="T5" fmla="*/ 81 h 115"/>
                  <a:gd name="T6" fmla="*/ 104 w 105"/>
                  <a:gd name="T7" fmla="*/ 88 h 115"/>
                  <a:gd name="T8" fmla="*/ 98 w 105"/>
                  <a:gd name="T9" fmla="*/ 101 h 115"/>
                  <a:gd name="T10" fmla="*/ 93 w 105"/>
                  <a:gd name="T11" fmla="*/ 106 h 115"/>
                  <a:gd name="T12" fmla="*/ 77 w 105"/>
                  <a:gd name="T13" fmla="*/ 113 h 115"/>
                  <a:gd name="T14" fmla="*/ 59 w 105"/>
                  <a:gd name="T15" fmla="*/ 115 h 115"/>
                  <a:gd name="T16" fmla="*/ 0 w 105"/>
                  <a:gd name="T17" fmla="*/ 0 h 115"/>
                  <a:gd name="T18" fmla="*/ 56 w 105"/>
                  <a:gd name="T19" fmla="*/ 0 h 115"/>
                  <a:gd name="T20" fmla="*/ 73 w 105"/>
                  <a:gd name="T21" fmla="*/ 2 h 115"/>
                  <a:gd name="T22" fmla="*/ 88 w 105"/>
                  <a:gd name="T23" fmla="*/ 8 h 115"/>
                  <a:gd name="T24" fmla="*/ 93 w 105"/>
                  <a:gd name="T25" fmla="*/ 12 h 115"/>
                  <a:gd name="T26" fmla="*/ 99 w 105"/>
                  <a:gd name="T27" fmla="*/ 23 h 115"/>
                  <a:gd name="T28" fmla="*/ 99 w 105"/>
                  <a:gd name="T29" fmla="*/ 30 h 115"/>
                  <a:gd name="T30" fmla="*/ 95 w 105"/>
                  <a:gd name="T31" fmla="*/ 45 h 115"/>
                  <a:gd name="T32" fmla="*/ 90 w 105"/>
                  <a:gd name="T33" fmla="*/ 50 h 115"/>
                  <a:gd name="T34" fmla="*/ 84 w 105"/>
                  <a:gd name="T35" fmla="*/ 54 h 115"/>
                  <a:gd name="T36" fmla="*/ 92 w 105"/>
                  <a:gd name="T37" fmla="*/ 58 h 115"/>
                  <a:gd name="T38" fmla="*/ 99 w 105"/>
                  <a:gd name="T39" fmla="*/ 64 h 115"/>
                  <a:gd name="T40" fmla="*/ 32 w 105"/>
                  <a:gd name="T41" fmla="*/ 46 h 115"/>
                  <a:gd name="T42" fmla="*/ 53 w 105"/>
                  <a:gd name="T43" fmla="*/ 46 h 115"/>
                  <a:gd name="T44" fmla="*/ 63 w 105"/>
                  <a:gd name="T45" fmla="*/ 43 h 115"/>
                  <a:gd name="T46" fmla="*/ 67 w 105"/>
                  <a:gd name="T47" fmla="*/ 34 h 115"/>
                  <a:gd name="T48" fmla="*/ 66 w 105"/>
                  <a:gd name="T49" fmla="*/ 29 h 115"/>
                  <a:gd name="T50" fmla="*/ 59 w 105"/>
                  <a:gd name="T51" fmla="*/ 24 h 115"/>
                  <a:gd name="T52" fmla="*/ 32 w 105"/>
                  <a:gd name="T53" fmla="*/ 23 h 115"/>
                  <a:gd name="T54" fmla="*/ 72 w 105"/>
                  <a:gd name="T55" fmla="*/ 79 h 115"/>
                  <a:gd name="T56" fmla="*/ 71 w 105"/>
                  <a:gd name="T57" fmla="*/ 74 h 115"/>
                  <a:gd name="T58" fmla="*/ 64 w 105"/>
                  <a:gd name="T59" fmla="*/ 68 h 115"/>
                  <a:gd name="T60" fmla="*/ 32 w 105"/>
                  <a:gd name="T61" fmla="*/ 67 h 115"/>
                  <a:gd name="T62" fmla="*/ 58 w 105"/>
                  <a:gd name="T63" fmla="*/ 91 h 115"/>
                  <a:gd name="T64" fmla="*/ 64 w 105"/>
                  <a:gd name="T65" fmla="*/ 90 h 115"/>
                  <a:gd name="T66" fmla="*/ 71 w 105"/>
                  <a:gd name="T67" fmla="*/ 84 h 115"/>
                  <a:gd name="T68" fmla="*/ 72 w 105"/>
                  <a:gd name="T69" fmla="*/ 79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5" h="115">
                    <a:moveTo>
                      <a:pt x="99" y="64"/>
                    </a:moveTo>
                    <a:lnTo>
                      <a:pt x="99" y="64"/>
                    </a:lnTo>
                    <a:lnTo>
                      <a:pt x="102" y="68"/>
                    </a:lnTo>
                    <a:lnTo>
                      <a:pt x="103" y="72"/>
                    </a:lnTo>
                    <a:lnTo>
                      <a:pt x="104" y="77"/>
                    </a:lnTo>
                    <a:lnTo>
                      <a:pt x="105" y="81"/>
                    </a:lnTo>
                    <a:lnTo>
                      <a:pt x="105" y="81"/>
                    </a:lnTo>
                    <a:lnTo>
                      <a:pt x="104" y="88"/>
                    </a:lnTo>
                    <a:lnTo>
                      <a:pt x="102" y="95"/>
                    </a:lnTo>
                    <a:lnTo>
                      <a:pt x="98" y="101"/>
                    </a:lnTo>
                    <a:lnTo>
                      <a:pt x="93" y="106"/>
                    </a:lnTo>
                    <a:lnTo>
                      <a:pt x="93" y="106"/>
                    </a:lnTo>
                    <a:lnTo>
                      <a:pt x="85" y="110"/>
                    </a:lnTo>
                    <a:lnTo>
                      <a:pt x="77" y="113"/>
                    </a:lnTo>
                    <a:lnTo>
                      <a:pt x="68" y="115"/>
                    </a:lnTo>
                    <a:lnTo>
                      <a:pt x="59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5" y="0"/>
                    </a:lnTo>
                    <a:lnTo>
                      <a:pt x="73" y="2"/>
                    </a:lnTo>
                    <a:lnTo>
                      <a:pt x="81" y="4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93" y="12"/>
                    </a:lnTo>
                    <a:lnTo>
                      <a:pt x="97" y="17"/>
                    </a:lnTo>
                    <a:lnTo>
                      <a:pt x="99" y="23"/>
                    </a:lnTo>
                    <a:lnTo>
                      <a:pt x="99" y="30"/>
                    </a:lnTo>
                    <a:lnTo>
                      <a:pt x="99" y="30"/>
                    </a:lnTo>
                    <a:lnTo>
                      <a:pt x="98" y="37"/>
                    </a:lnTo>
                    <a:lnTo>
                      <a:pt x="95" y="45"/>
                    </a:lnTo>
                    <a:lnTo>
                      <a:pt x="95" y="45"/>
                    </a:lnTo>
                    <a:lnTo>
                      <a:pt x="90" y="50"/>
                    </a:lnTo>
                    <a:lnTo>
                      <a:pt x="84" y="54"/>
                    </a:lnTo>
                    <a:lnTo>
                      <a:pt x="84" y="54"/>
                    </a:lnTo>
                    <a:lnTo>
                      <a:pt x="88" y="56"/>
                    </a:lnTo>
                    <a:lnTo>
                      <a:pt x="92" y="58"/>
                    </a:lnTo>
                    <a:lnTo>
                      <a:pt x="96" y="61"/>
                    </a:lnTo>
                    <a:lnTo>
                      <a:pt x="99" y="64"/>
                    </a:lnTo>
                    <a:lnTo>
                      <a:pt x="99" y="64"/>
                    </a:lnTo>
                    <a:close/>
                    <a:moveTo>
                      <a:pt x="32" y="46"/>
                    </a:moveTo>
                    <a:lnTo>
                      <a:pt x="53" y="46"/>
                    </a:lnTo>
                    <a:lnTo>
                      <a:pt x="53" y="46"/>
                    </a:lnTo>
                    <a:lnTo>
                      <a:pt x="59" y="45"/>
                    </a:lnTo>
                    <a:lnTo>
                      <a:pt x="63" y="43"/>
                    </a:lnTo>
                    <a:lnTo>
                      <a:pt x="66" y="39"/>
                    </a:lnTo>
                    <a:lnTo>
                      <a:pt x="67" y="34"/>
                    </a:lnTo>
                    <a:lnTo>
                      <a:pt x="67" y="34"/>
                    </a:lnTo>
                    <a:lnTo>
                      <a:pt x="66" y="29"/>
                    </a:lnTo>
                    <a:lnTo>
                      <a:pt x="63" y="26"/>
                    </a:lnTo>
                    <a:lnTo>
                      <a:pt x="59" y="24"/>
                    </a:lnTo>
                    <a:lnTo>
                      <a:pt x="53" y="23"/>
                    </a:lnTo>
                    <a:lnTo>
                      <a:pt x="32" y="23"/>
                    </a:lnTo>
                    <a:lnTo>
                      <a:pt x="32" y="46"/>
                    </a:lnTo>
                    <a:close/>
                    <a:moveTo>
                      <a:pt x="72" y="79"/>
                    </a:moveTo>
                    <a:lnTo>
                      <a:pt x="72" y="79"/>
                    </a:lnTo>
                    <a:lnTo>
                      <a:pt x="71" y="74"/>
                    </a:lnTo>
                    <a:lnTo>
                      <a:pt x="69" y="70"/>
                    </a:lnTo>
                    <a:lnTo>
                      <a:pt x="64" y="68"/>
                    </a:lnTo>
                    <a:lnTo>
                      <a:pt x="58" y="67"/>
                    </a:lnTo>
                    <a:lnTo>
                      <a:pt x="32" y="67"/>
                    </a:lnTo>
                    <a:lnTo>
                      <a:pt x="32" y="91"/>
                    </a:lnTo>
                    <a:lnTo>
                      <a:pt x="58" y="91"/>
                    </a:lnTo>
                    <a:lnTo>
                      <a:pt x="58" y="91"/>
                    </a:lnTo>
                    <a:lnTo>
                      <a:pt x="64" y="90"/>
                    </a:lnTo>
                    <a:lnTo>
                      <a:pt x="69" y="88"/>
                    </a:lnTo>
                    <a:lnTo>
                      <a:pt x="71" y="84"/>
                    </a:lnTo>
                    <a:lnTo>
                      <a:pt x="72" y="79"/>
                    </a:lnTo>
                    <a:lnTo>
                      <a:pt x="72" y="79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8">
                <a:extLst>
                  <a:ext uri="{FF2B5EF4-FFF2-40B4-BE49-F238E27FC236}">
                    <a16:creationId xmlns:a16="http://schemas.microsoft.com/office/drawing/2014/main" id="{4B3F25C8-D0D2-4FD1-BC18-F8BA2D10E23D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664829" y="1379538"/>
                <a:ext cx="115888" cy="90487"/>
              </a:xfrm>
              <a:custGeom>
                <a:avLst/>
                <a:gdLst>
                  <a:gd name="T0" fmla="*/ 92 w 147"/>
                  <a:gd name="T1" fmla="*/ 46 h 115"/>
                  <a:gd name="T2" fmla="*/ 92 w 147"/>
                  <a:gd name="T3" fmla="*/ 46 h 115"/>
                  <a:gd name="T4" fmla="*/ 97 w 147"/>
                  <a:gd name="T5" fmla="*/ 51 h 115"/>
                  <a:gd name="T6" fmla="*/ 101 w 147"/>
                  <a:gd name="T7" fmla="*/ 58 h 115"/>
                  <a:gd name="T8" fmla="*/ 103 w 147"/>
                  <a:gd name="T9" fmla="*/ 66 h 115"/>
                  <a:gd name="T10" fmla="*/ 103 w 147"/>
                  <a:gd name="T11" fmla="*/ 73 h 115"/>
                  <a:gd name="T12" fmla="*/ 103 w 147"/>
                  <a:gd name="T13" fmla="*/ 73 h 115"/>
                  <a:gd name="T14" fmla="*/ 103 w 147"/>
                  <a:gd name="T15" fmla="*/ 82 h 115"/>
                  <a:gd name="T16" fmla="*/ 100 w 147"/>
                  <a:gd name="T17" fmla="*/ 90 h 115"/>
                  <a:gd name="T18" fmla="*/ 96 w 147"/>
                  <a:gd name="T19" fmla="*/ 97 h 115"/>
                  <a:gd name="T20" fmla="*/ 90 w 147"/>
                  <a:gd name="T21" fmla="*/ 104 h 115"/>
                  <a:gd name="T22" fmla="*/ 90 w 147"/>
                  <a:gd name="T23" fmla="*/ 104 h 115"/>
                  <a:gd name="T24" fmla="*/ 82 w 147"/>
                  <a:gd name="T25" fmla="*/ 109 h 115"/>
                  <a:gd name="T26" fmla="*/ 74 w 147"/>
                  <a:gd name="T27" fmla="*/ 113 h 115"/>
                  <a:gd name="T28" fmla="*/ 65 w 147"/>
                  <a:gd name="T29" fmla="*/ 115 h 115"/>
                  <a:gd name="T30" fmla="*/ 55 w 147"/>
                  <a:gd name="T31" fmla="*/ 115 h 115"/>
                  <a:gd name="T32" fmla="*/ 0 w 147"/>
                  <a:gd name="T33" fmla="*/ 115 h 115"/>
                  <a:gd name="T34" fmla="*/ 0 w 147"/>
                  <a:gd name="T35" fmla="*/ 0 h 115"/>
                  <a:gd name="T36" fmla="*/ 32 w 147"/>
                  <a:gd name="T37" fmla="*/ 0 h 115"/>
                  <a:gd name="T38" fmla="*/ 32 w 147"/>
                  <a:gd name="T39" fmla="*/ 36 h 115"/>
                  <a:gd name="T40" fmla="*/ 59 w 147"/>
                  <a:gd name="T41" fmla="*/ 36 h 115"/>
                  <a:gd name="T42" fmla="*/ 59 w 147"/>
                  <a:gd name="T43" fmla="*/ 36 h 115"/>
                  <a:gd name="T44" fmla="*/ 68 w 147"/>
                  <a:gd name="T45" fmla="*/ 37 h 115"/>
                  <a:gd name="T46" fmla="*/ 76 w 147"/>
                  <a:gd name="T47" fmla="*/ 38 h 115"/>
                  <a:gd name="T48" fmla="*/ 84 w 147"/>
                  <a:gd name="T49" fmla="*/ 41 h 115"/>
                  <a:gd name="T50" fmla="*/ 92 w 147"/>
                  <a:gd name="T51" fmla="*/ 46 h 115"/>
                  <a:gd name="T52" fmla="*/ 92 w 147"/>
                  <a:gd name="T53" fmla="*/ 46 h 115"/>
                  <a:gd name="T54" fmla="*/ 66 w 147"/>
                  <a:gd name="T55" fmla="*/ 86 h 115"/>
                  <a:gd name="T56" fmla="*/ 66 w 147"/>
                  <a:gd name="T57" fmla="*/ 86 h 115"/>
                  <a:gd name="T58" fmla="*/ 68 w 147"/>
                  <a:gd name="T59" fmla="*/ 84 h 115"/>
                  <a:gd name="T60" fmla="*/ 70 w 147"/>
                  <a:gd name="T61" fmla="*/ 81 h 115"/>
                  <a:gd name="T62" fmla="*/ 71 w 147"/>
                  <a:gd name="T63" fmla="*/ 77 h 115"/>
                  <a:gd name="T64" fmla="*/ 71 w 147"/>
                  <a:gd name="T65" fmla="*/ 74 h 115"/>
                  <a:gd name="T66" fmla="*/ 71 w 147"/>
                  <a:gd name="T67" fmla="*/ 74 h 115"/>
                  <a:gd name="T68" fmla="*/ 71 w 147"/>
                  <a:gd name="T69" fmla="*/ 71 h 115"/>
                  <a:gd name="T70" fmla="*/ 70 w 147"/>
                  <a:gd name="T71" fmla="*/ 68 h 115"/>
                  <a:gd name="T72" fmla="*/ 68 w 147"/>
                  <a:gd name="T73" fmla="*/ 65 h 115"/>
                  <a:gd name="T74" fmla="*/ 67 w 147"/>
                  <a:gd name="T75" fmla="*/ 63 h 115"/>
                  <a:gd name="T76" fmla="*/ 64 w 147"/>
                  <a:gd name="T77" fmla="*/ 61 h 115"/>
                  <a:gd name="T78" fmla="*/ 61 w 147"/>
                  <a:gd name="T79" fmla="*/ 60 h 115"/>
                  <a:gd name="T80" fmla="*/ 53 w 147"/>
                  <a:gd name="T81" fmla="*/ 59 h 115"/>
                  <a:gd name="T82" fmla="*/ 32 w 147"/>
                  <a:gd name="T83" fmla="*/ 59 h 115"/>
                  <a:gd name="T84" fmla="*/ 32 w 147"/>
                  <a:gd name="T85" fmla="*/ 91 h 115"/>
                  <a:gd name="T86" fmla="*/ 53 w 147"/>
                  <a:gd name="T87" fmla="*/ 91 h 115"/>
                  <a:gd name="T88" fmla="*/ 53 w 147"/>
                  <a:gd name="T89" fmla="*/ 91 h 115"/>
                  <a:gd name="T90" fmla="*/ 57 w 147"/>
                  <a:gd name="T91" fmla="*/ 91 h 115"/>
                  <a:gd name="T92" fmla="*/ 60 w 147"/>
                  <a:gd name="T93" fmla="*/ 90 h 115"/>
                  <a:gd name="T94" fmla="*/ 63 w 147"/>
                  <a:gd name="T95" fmla="*/ 88 h 115"/>
                  <a:gd name="T96" fmla="*/ 66 w 147"/>
                  <a:gd name="T97" fmla="*/ 86 h 115"/>
                  <a:gd name="T98" fmla="*/ 66 w 147"/>
                  <a:gd name="T99" fmla="*/ 86 h 115"/>
                  <a:gd name="T100" fmla="*/ 116 w 147"/>
                  <a:gd name="T101" fmla="*/ 0 h 115"/>
                  <a:gd name="T102" fmla="*/ 147 w 147"/>
                  <a:gd name="T103" fmla="*/ 0 h 115"/>
                  <a:gd name="T104" fmla="*/ 147 w 147"/>
                  <a:gd name="T105" fmla="*/ 115 h 115"/>
                  <a:gd name="T106" fmla="*/ 116 w 147"/>
                  <a:gd name="T107" fmla="*/ 115 h 115"/>
                  <a:gd name="T108" fmla="*/ 116 w 147"/>
                  <a:gd name="T109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47" h="115">
                    <a:moveTo>
                      <a:pt x="92" y="46"/>
                    </a:moveTo>
                    <a:lnTo>
                      <a:pt x="92" y="46"/>
                    </a:lnTo>
                    <a:lnTo>
                      <a:pt x="97" y="51"/>
                    </a:lnTo>
                    <a:lnTo>
                      <a:pt x="101" y="58"/>
                    </a:lnTo>
                    <a:lnTo>
                      <a:pt x="103" y="66"/>
                    </a:lnTo>
                    <a:lnTo>
                      <a:pt x="103" y="73"/>
                    </a:lnTo>
                    <a:lnTo>
                      <a:pt x="103" y="73"/>
                    </a:lnTo>
                    <a:lnTo>
                      <a:pt x="103" y="82"/>
                    </a:lnTo>
                    <a:lnTo>
                      <a:pt x="100" y="90"/>
                    </a:lnTo>
                    <a:lnTo>
                      <a:pt x="96" y="97"/>
                    </a:lnTo>
                    <a:lnTo>
                      <a:pt x="90" y="104"/>
                    </a:lnTo>
                    <a:lnTo>
                      <a:pt x="90" y="104"/>
                    </a:lnTo>
                    <a:lnTo>
                      <a:pt x="82" y="109"/>
                    </a:lnTo>
                    <a:lnTo>
                      <a:pt x="74" y="113"/>
                    </a:lnTo>
                    <a:lnTo>
                      <a:pt x="65" y="115"/>
                    </a:lnTo>
                    <a:lnTo>
                      <a:pt x="55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2" y="0"/>
                    </a:lnTo>
                    <a:lnTo>
                      <a:pt x="32" y="36"/>
                    </a:lnTo>
                    <a:lnTo>
                      <a:pt x="59" y="36"/>
                    </a:lnTo>
                    <a:lnTo>
                      <a:pt x="59" y="36"/>
                    </a:lnTo>
                    <a:lnTo>
                      <a:pt x="68" y="37"/>
                    </a:lnTo>
                    <a:lnTo>
                      <a:pt x="76" y="38"/>
                    </a:lnTo>
                    <a:lnTo>
                      <a:pt x="84" y="41"/>
                    </a:lnTo>
                    <a:lnTo>
                      <a:pt x="92" y="46"/>
                    </a:lnTo>
                    <a:lnTo>
                      <a:pt x="92" y="46"/>
                    </a:lnTo>
                    <a:close/>
                    <a:moveTo>
                      <a:pt x="66" y="86"/>
                    </a:moveTo>
                    <a:lnTo>
                      <a:pt x="66" y="86"/>
                    </a:lnTo>
                    <a:lnTo>
                      <a:pt x="68" y="84"/>
                    </a:lnTo>
                    <a:lnTo>
                      <a:pt x="70" y="81"/>
                    </a:lnTo>
                    <a:lnTo>
                      <a:pt x="71" y="77"/>
                    </a:lnTo>
                    <a:lnTo>
                      <a:pt x="71" y="74"/>
                    </a:lnTo>
                    <a:lnTo>
                      <a:pt x="71" y="74"/>
                    </a:lnTo>
                    <a:lnTo>
                      <a:pt x="71" y="71"/>
                    </a:lnTo>
                    <a:lnTo>
                      <a:pt x="70" y="68"/>
                    </a:lnTo>
                    <a:lnTo>
                      <a:pt x="68" y="65"/>
                    </a:lnTo>
                    <a:lnTo>
                      <a:pt x="67" y="63"/>
                    </a:lnTo>
                    <a:lnTo>
                      <a:pt x="64" y="61"/>
                    </a:lnTo>
                    <a:lnTo>
                      <a:pt x="61" y="60"/>
                    </a:lnTo>
                    <a:lnTo>
                      <a:pt x="53" y="59"/>
                    </a:lnTo>
                    <a:lnTo>
                      <a:pt x="32" y="59"/>
                    </a:lnTo>
                    <a:lnTo>
                      <a:pt x="32" y="91"/>
                    </a:lnTo>
                    <a:lnTo>
                      <a:pt x="53" y="91"/>
                    </a:lnTo>
                    <a:lnTo>
                      <a:pt x="53" y="91"/>
                    </a:lnTo>
                    <a:lnTo>
                      <a:pt x="57" y="91"/>
                    </a:lnTo>
                    <a:lnTo>
                      <a:pt x="60" y="90"/>
                    </a:lnTo>
                    <a:lnTo>
                      <a:pt x="63" y="88"/>
                    </a:lnTo>
                    <a:lnTo>
                      <a:pt x="66" y="86"/>
                    </a:lnTo>
                    <a:lnTo>
                      <a:pt x="66" y="86"/>
                    </a:lnTo>
                    <a:close/>
                    <a:moveTo>
                      <a:pt x="116" y="0"/>
                    </a:moveTo>
                    <a:lnTo>
                      <a:pt x="147" y="0"/>
                    </a:lnTo>
                    <a:lnTo>
                      <a:pt x="147" y="115"/>
                    </a:lnTo>
                    <a:lnTo>
                      <a:pt x="116" y="115"/>
                    </a:lnTo>
                    <a:lnTo>
                      <a:pt x="116" y="0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9">
                <a:extLst>
                  <a:ext uri="{FF2B5EF4-FFF2-40B4-BE49-F238E27FC236}">
                    <a16:creationId xmlns:a16="http://schemas.microsoft.com/office/drawing/2014/main" id="{5584CF60-7FAE-4B88-A782-688B400321C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802941" y="1379538"/>
                <a:ext cx="74613" cy="90487"/>
              </a:xfrm>
              <a:custGeom>
                <a:avLst/>
                <a:gdLst>
                  <a:gd name="T0" fmla="*/ 92 w 92"/>
                  <a:gd name="T1" fmla="*/ 89 h 115"/>
                  <a:gd name="T2" fmla="*/ 92 w 92"/>
                  <a:gd name="T3" fmla="*/ 115 h 115"/>
                  <a:gd name="T4" fmla="*/ 0 w 92"/>
                  <a:gd name="T5" fmla="*/ 115 h 115"/>
                  <a:gd name="T6" fmla="*/ 0 w 92"/>
                  <a:gd name="T7" fmla="*/ 0 h 115"/>
                  <a:gd name="T8" fmla="*/ 90 w 92"/>
                  <a:gd name="T9" fmla="*/ 0 h 115"/>
                  <a:gd name="T10" fmla="*/ 90 w 92"/>
                  <a:gd name="T11" fmla="*/ 25 h 115"/>
                  <a:gd name="T12" fmla="*/ 32 w 92"/>
                  <a:gd name="T13" fmla="*/ 25 h 115"/>
                  <a:gd name="T14" fmla="*/ 32 w 92"/>
                  <a:gd name="T15" fmla="*/ 44 h 115"/>
                  <a:gd name="T16" fmla="*/ 83 w 92"/>
                  <a:gd name="T17" fmla="*/ 44 h 115"/>
                  <a:gd name="T18" fmla="*/ 83 w 92"/>
                  <a:gd name="T19" fmla="*/ 68 h 115"/>
                  <a:gd name="T20" fmla="*/ 32 w 92"/>
                  <a:gd name="T21" fmla="*/ 68 h 115"/>
                  <a:gd name="T22" fmla="*/ 32 w 92"/>
                  <a:gd name="T23" fmla="*/ 89 h 115"/>
                  <a:gd name="T24" fmla="*/ 92 w 92"/>
                  <a:gd name="T25" fmla="*/ 89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2" h="115">
                    <a:moveTo>
                      <a:pt x="92" y="89"/>
                    </a:moveTo>
                    <a:lnTo>
                      <a:pt x="9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25"/>
                    </a:lnTo>
                    <a:lnTo>
                      <a:pt x="32" y="25"/>
                    </a:lnTo>
                    <a:lnTo>
                      <a:pt x="32" y="44"/>
                    </a:lnTo>
                    <a:lnTo>
                      <a:pt x="83" y="44"/>
                    </a:lnTo>
                    <a:lnTo>
                      <a:pt x="83" y="68"/>
                    </a:lnTo>
                    <a:lnTo>
                      <a:pt x="32" y="68"/>
                    </a:lnTo>
                    <a:lnTo>
                      <a:pt x="32" y="89"/>
                    </a:lnTo>
                    <a:lnTo>
                      <a:pt x="92" y="89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10">
                <a:extLst>
                  <a:ext uri="{FF2B5EF4-FFF2-40B4-BE49-F238E27FC236}">
                    <a16:creationId xmlns:a16="http://schemas.microsoft.com/office/drawing/2014/main" id="{6C2459E5-F079-4B50-9FE4-EC0F22183234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934704" y="1379538"/>
                <a:ext cx="82550" cy="90487"/>
              </a:xfrm>
              <a:custGeom>
                <a:avLst/>
                <a:gdLst>
                  <a:gd name="T0" fmla="*/ 99 w 105"/>
                  <a:gd name="T1" fmla="*/ 64 h 115"/>
                  <a:gd name="T2" fmla="*/ 104 w 105"/>
                  <a:gd name="T3" fmla="*/ 72 h 115"/>
                  <a:gd name="T4" fmla="*/ 105 w 105"/>
                  <a:gd name="T5" fmla="*/ 81 h 115"/>
                  <a:gd name="T6" fmla="*/ 104 w 105"/>
                  <a:gd name="T7" fmla="*/ 88 h 115"/>
                  <a:gd name="T8" fmla="*/ 98 w 105"/>
                  <a:gd name="T9" fmla="*/ 101 h 115"/>
                  <a:gd name="T10" fmla="*/ 93 w 105"/>
                  <a:gd name="T11" fmla="*/ 106 h 115"/>
                  <a:gd name="T12" fmla="*/ 78 w 105"/>
                  <a:gd name="T13" fmla="*/ 113 h 115"/>
                  <a:gd name="T14" fmla="*/ 58 w 105"/>
                  <a:gd name="T15" fmla="*/ 115 h 115"/>
                  <a:gd name="T16" fmla="*/ 0 w 105"/>
                  <a:gd name="T17" fmla="*/ 0 h 115"/>
                  <a:gd name="T18" fmla="*/ 55 w 105"/>
                  <a:gd name="T19" fmla="*/ 0 h 115"/>
                  <a:gd name="T20" fmla="*/ 72 w 105"/>
                  <a:gd name="T21" fmla="*/ 2 h 115"/>
                  <a:gd name="T22" fmla="*/ 88 w 105"/>
                  <a:gd name="T23" fmla="*/ 8 h 115"/>
                  <a:gd name="T24" fmla="*/ 93 w 105"/>
                  <a:gd name="T25" fmla="*/ 12 h 115"/>
                  <a:gd name="T26" fmla="*/ 99 w 105"/>
                  <a:gd name="T27" fmla="*/ 23 h 115"/>
                  <a:gd name="T28" fmla="*/ 100 w 105"/>
                  <a:gd name="T29" fmla="*/ 30 h 115"/>
                  <a:gd name="T30" fmla="*/ 96 w 105"/>
                  <a:gd name="T31" fmla="*/ 45 h 115"/>
                  <a:gd name="T32" fmla="*/ 91 w 105"/>
                  <a:gd name="T33" fmla="*/ 50 h 115"/>
                  <a:gd name="T34" fmla="*/ 84 w 105"/>
                  <a:gd name="T35" fmla="*/ 54 h 115"/>
                  <a:gd name="T36" fmla="*/ 93 w 105"/>
                  <a:gd name="T37" fmla="*/ 58 h 115"/>
                  <a:gd name="T38" fmla="*/ 99 w 105"/>
                  <a:gd name="T39" fmla="*/ 64 h 115"/>
                  <a:gd name="T40" fmla="*/ 32 w 105"/>
                  <a:gd name="T41" fmla="*/ 46 h 115"/>
                  <a:gd name="T42" fmla="*/ 52 w 105"/>
                  <a:gd name="T43" fmla="*/ 46 h 115"/>
                  <a:gd name="T44" fmla="*/ 63 w 105"/>
                  <a:gd name="T45" fmla="*/ 43 h 115"/>
                  <a:gd name="T46" fmla="*/ 66 w 105"/>
                  <a:gd name="T47" fmla="*/ 34 h 115"/>
                  <a:gd name="T48" fmla="*/ 65 w 105"/>
                  <a:gd name="T49" fmla="*/ 29 h 115"/>
                  <a:gd name="T50" fmla="*/ 58 w 105"/>
                  <a:gd name="T51" fmla="*/ 24 h 115"/>
                  <a:gd name="T52" fmla="*/ 32 w 105"/>
                  <a:gd name="T53" fmla="*/ 23 h 115"/>
                  <a:gd name="T54" fmla="*/ 71 w 105"/>
                  <a:gd name="T55" fmla="*/ 79 h 115"/>
                  <a:gd name="T56" fmla="*/ 70 w 105"/>
                  <a:gd name="T57" fmla="*/ 74 h 115"/>
                  <a:gd name="T58" fmla="*/ 63 w 105"/>
                  <a:gd name="T59" fmla="*/ 68 h 115"/>
                  <a:gd name="T60" fmla="*/ 32 w 105"/>
                  <a:gd name="T61" fmla="*/ 67 h 115"/>
                  <a:gd name="T62" fmla="*/ 57 w 105"/>
                  <a:gd name="T63" fmla="*/ 91 h 115"/>
                  <a:gd name="T64" fmla="*/ 63 w 105"/>
                  <a:gd name="T65" fmla="*/ 90 h 115"/>
                  <a:gd name="T66" fmla="*/ 70 w 105"/>
                  <a:gd name="T67" fmla="*/ 84 h 115"/>
                  <a:gd name="T68" fmla="*/ 71 w 105"/>
                  <a:gd name="T69" fmla="*/ 79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5" h="115">
                    <a:moveTo>
                      <a:pt x="99" y="64"/>
                    </a:moveTo>
                    <a:lnTo>
                      <a:pt x="99" y="64"/>
                    </a:lnTo>
                    <a:lnTo>
                      <a:pt x="102" y="68"/>
                    </a:lnTo>
                    <a:lnTo>
                      <a:pt x="104" y="72"/>
                    </a:lnTo>
                    <a:lnTo>
                      <a:pt x="105" y="77"/>
                    </a:lnTo>
                    <a:lnTo>
                      <a:pt x="105" y="81"/>
                    </a:lnTo>
                    <a:lnTo>
                      <a:pt x="105" y="81"/>
                    </a:lnTo>
                    <a:lnTo>
                      <a:pt x="104" y="88"/>
                    </a:lnTo>
                    <a:lnTo>
                      <a:pt x="102" y="95"/>
                    </a:lnTo>
                    <a:lnTo>
                      <a:pt x="98" y="101"/>
                    </a:lnTo>
                    <a:lnTo>
                      <a:pt x="93" y="106"/>
                    </a:lnTo>
                    <a:lnTo>
                      <a:pt x="93" y="106"/>
                    </a:lnTo>
                    <a:lnTo>
                      <a:pt x="86" y="110"/>
                    </a:lnTo>
                    <a:lnTo>
                      <a:pt x="78" y="113"/>
                    </a:lnTo>
                    <a:lnTo>
                      <a:pt x="69" y="114"/>
                    </a:lnTo>
                    <a:lnTo>
                      <a:pt x="58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55" y="0"/>
                    </a:lnTo>
                    <a:lnTo>
                      <a:pt x="55" y="0"/>
                    </a:lnTo>
                    <a:lnTo>
                      <a:pt x="64" y="0"/>
                    </a:lnTo>
                    <a:lnTo>
                      <a:pt x="72" y="2"/>
                    </a:lnTo>
                    <a:lnTo>
                      <a:pt x="81" y="4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93" y="12"/>
                    </a:lnTo>
                    <a:lnTo>
                      <a:pt x="97" y="17"/>
                    </a:lnTo>
                    <a:lnTo>
                      <a:pt x="99" y="23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99" y="37"/>
                    </a:lnTo>
                    <a:lnTo>
                      <a:pt x="96" y="45"/>
                    </a:lnTo>
                    <a:lnTo>
                      <a:pt x="96" y="45"/>
                    </a:lnTo>
                    <a:lnTo>
                      <a:pt x="91" y="50"/>
                    </a:lnTo>
                    <a:lnTo>
                      <a:pt x="84" y="54"/>
                    </a:lnTo>
                    <a:lnTo>
                      <a:pt x="84" y="54"/>
                    </a:lnTo>
                    <a:lnTo>
                      <a:pt x="88" y="56"/>
                    </a:lnTo>
                    <a:lnTo>
                      <a:pt x="93" y="58"/>
                    </a:lnTo>
                    <a:lnTo>
                      <a:pt x="96" y="61"/>
                    </a:lnTo>
                    <a:lnTo>
                      <a:pt x="99" y="64"/>
                    </a:lnTo>
                    <a:lnTo>
                      <a:pt x="99" y="64"/>
                    </a:lnTo>
                    <a:close/>
                    <a:moveTo>
                      <a:pt x="32" y="46"/>
                    </a:moveTo>
                    <a:lnTo>
                      <a:pt x="52" y="46"/>
                    </a:lnTo>
                    <a:lnTo>
                      <a:pt x="52" y="46"/>
                    </a:lnTo>
                    <a:lnTo>
                      <a:pt x="58" y="45"/>
                    </a:lnTo>
                    <a:lnTo>
                      <a:pt x="63" y="43"/>
                    </a:lnTo>
                    <a:lnTo>
                      <a:pt x="65" y="39"/>
                    </a:lnTo>
                    <a:lnTo>
                      <a:pt x="66" y="34"/>
                    </a:lnTo>
                    <a:lnTo>
                      <a:pt x="66" y="34"/>
                    </a:lnTo>
                    <a:lnTo>
                      <a:pt x="65" y="29"/>
                    </a:lnTo>
                    <a:lnTo>
                      <a:pt x="63" y="26"/>
                    </a:lnTo>
                    <a:lnTo>
                      <a:pt x="58" y="24"/>
                    </a:lnTo>
                    <a:lnTo>
                      <a:pt x="52" y="23"/>
                    </a:lnTo>
                    <a:lnTo>
                      <a:pt x="32" y="23"/>
                    </a:lnTo>
                    <a:lnTo>
                      <a:pt x="32" y="46"/>
                    </a:lnTo>
                    <a:close/>
                    <a:moveTo>
                      <a:pt x="71" y="79"/>
                    </a:moveTo>
                    <a:lnTo>
                      <a:pt x="71" y="79"/>
                    </a:lnTo>
                    <a:lnTo>
                      <a:pt x="70" y="74"/>
                    </a:lnTo>
                    <a:lnTo>
                      <a:pt x="68" y="70"/>
                    </a:lnTo>
                    <a:lnTo>
                      <a:pt x="63" y="68"/>
                    </a:lnTo>
                    <a:lnTo>
                      <a:pt x="57" y="67"/>
                    </a:lnTo>
                    <a:lnTo>
                      <a:pt x="32" y="67"/>
                    </a:lnTo>
                    <a:lnTo>
                      <a:pt x="32" y="91"/>
                    </a:lnTo>
                    <a:lnTo>
                      <a:pt x="57" y="91"/>
                    </a:lnTo>
                    <a:lnTo>
                      <a:pt x="57" y="91"/>
                    </a:lnTo>
                    <a:lnTo>
                      <a:pt x="63" y="90"/>
                    </a:lnTo>
                    <a:lnTo>
                      <a:pt x="68" y="88"/>
                    </a:lnTo>
                    <a:lnTo>
                      <a:pt x="70" y="84"/>
                    </a:lnTo>
                    <a:lnTo>
                      <a:pt x="71" y="79"/>
                    </a:lnTo>
                    <a:lnTo>
                      <a:pt x="71" y="79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11">
                <a:extLst>
                  <a:ext uri="{FF2B5EF4-FFF2-40B4-BE49-F238E27FC236}">
                    <a16:creationId xmlns:a16="http://schemas.microsoft.com/office/drawing/2014/main" id="{3129C2DB-D034-473C-99C0-431266D465B1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1033129" y="1379538"/>
                <a:ext cx="119063" cy="90487"/>
              </a:xfrm>
              <a:custGeom>
                <a:avLst/>
                <a:gdLst>
                  <a:gd name="T0" fmla="*/ 92 w 148"/>
                  <a:gd name="T1" fmla="*/ 46 h 115"/>
                  <a:gd name="T2" fmla="*/ 92 w 148"/>
                  <a:gd name="T3" fmla="*/ 46 h 115"/>
                  <a:gd name="T4" fmla="*/ 97 w 148"/>
                  <a:gd name="T5" fmla="*/ 51 h 115"/>
                  <a:gd name="T6" fmla="*/ 101 w 148"/>
                  <a:gd name="T7" fmla="*/ 58 h 115"/>
                  <a:gd name="T8" fmla="*/ 103 w 148"/>
                  <a:gd name="T9" fmla="*/ 66 h 115"/>
                  <a:gd name="T10" fmla="*/ 103 w 148"/>
                  <a:gd name="T11" fmla="*/ 73 h 115"/>
                  <a:gd name="T12" fmla="*/ 103 w 148"/>
                  <a:gd name="T13" fmla="*/ 73 h 115"/>
                  <a:gd name="T14" fmla="*/ 103 w 148"/>
                  <a:gd name="T15" fmla="*/ 82 h 115"/>
                  <a:gd name="T16" fmla="*/ 100 w 148"/>
                  <a:gd name="T17" fmla="*/ 90 h 115"/>
                  <a:gd name="T18" fmla="*/ 96 w 148"/>
                  <a:gd name="T19" fmla="*/ 97 h 115"/>
                  <a:gd name="T20" fmla="*/ 91 w 148"/>
                  <a:gd name="T21" fmla="*/ 104 h 115"/>
                  <a:gd name="T22" fmla="*/ 91 w 148"/>
                  <a:gd name="T23" fmla="*/ 104 h 115"/>
                  <a:gd name="T24" fmla="*/ 83 w 148"/>
                  <a:gd name="T25" fmla="*/ 109 h 115"/>
                  <a:gd name="T26" fmla="*/ 73 w 148"/>
                  <a:gd name="T27" fmla="*/ 113 h 115"/>
                  <a:gd name="T28" fmla="*/ 64 w 148"/>
                  <a:gd name="T29" fmla="*/ 115 h 115"/>
                  <a:gd name="T30" fmla="*/ 54 w 148"/>
                  <a:gd name="T31" fmla="*/ 115 h 115"/>
                  <a:gd name="T32" fmla="*/ 0 w 148"/>
                  <a:gd name="T33" fmla="*/ 115 h 115"/>
                  <a:gd name="T34" fmla="*/ 0 w 148"/>
                  <a:gd name="T35" fmla="*/ 0 h 115"/>
                  <a:gd name="T36" fmla="*/ 32 w 148"/>
                  <a:gd name="T37" fmla="*/ 0 h 115"/>
                  <a:gd name="T38" fmla="*/ 32 w 148"/>
                  <a:gd name="T39" fmla="*/ 36 h 115"/>
                  <a:gd name="T40" fmla="*/ 59 w 148"/>
                  <a:gd name="T41" fmla="*/ 36 h 115"/>
                  <a:gd name="T42" fmla="*/ 59 w 148"/>
                  <a:gd name="T43" fmla="*/ 36 h 115"/>
                  <a:gd name="T44" fmla="*/ 67 w 148"/>
                  <a:gd name="T45" fmla="*/ 37 h 115"/>
                  <a:gd name="T46" fmla="*/ 76 w 148"/>
                  <a:gd name="T47" fmla="*/ 38 h 115"/>
                  <a:gd name="T48" fmla="*/ 85 w 148"/>
                  <a:gd name="T49" fmla="*/ 41 h 115"/>
                  <a:gd name="T50" fmla="*/ 92 w 148"/>
                  <a:gd name="T51" fmla="*/ 46 h 115"/>
                  <a:gd name="T52" fmla="*/ 92 w 148"/>
                  <a:gd name="T53" fmla="*/ 46 h 115"/>
                  <a:gd name="T54" fmla="*/ 65 w 148"/>
                  <a:gd name="T55" fmla="*/ 86 h 115"/>
                  <a:gd name="T56" fmla="*/ 65 w 148"/>
                  <a:gd name="T57" fmla="*/ 86 h 115"/>
                  <a:gd name="T58" fmla="*/ 67 w 148"/>
                  <a:gd name="T59" fmla="*/ 84 h 115"/>
                  <a:gd name="T60" fmla="*/ 69 w 148"/>
                  <a:gd name="T61" fmla="*/ 81 h 115"/>
                  <a:gd name="T62" fmla="*/ 70 w 148"/>
                  <a:gd name="T63" fmla="*/ 77 h 115"/>
                  <a:gd name="T64" fmla="*/ 70 w 148"/>
                  <a:gd name="T65" fmla="*/ 74 h 115"/>
                  <a:gd name="T66" fmla="*/ 70 w 148"/>
                  <a:gd name="T67" fmla="*/ 74 h 115"/>
                  <a:gd name="T68" fmla="*/ 70 w 148"/>
                  <a:gd name="T69" fmla="*/ 71 h 115"/>
                  <a:gd name="T70" fmla="*/ 69 w 148"/>
                  <a:gd name="T71" fmla="*/ 68 h 115"/>
                  <a:gd name="T72" fmla="*/ 68 w 148"/>
                  <a:gd name="T73" fmla="*/ 65 h 115"/>
                  <a:gd name="T74" fmla="*/ 66 w 148"/>
                  <a:gd name="T75" fmla="*/ 63 h 115"/>
                  <a:gd name="T76" fmla="*/ 63 w 148"/>
                  <a:gd name="T77" fmla="*/ 61 h 115"/>
                  <a:gd name="T78" fmla="*/ 60 w 148"/>
                  <a:gd name="T79" fmla="*/ 60 h 115"/>
                  <a:gd name="T80" fmla="*/ 52 w 148"/>
                  <a:gd name="T81" fmla="*/ 59 h 115"/>
                  <a:gd name="T82" fmla="*/ 33 w 148"/>
                  <a:gd name="T83" fmla="*/ 59 h 115"/>
                  <a:gd name="T84" fmla="*/ 33 w 148"/>
                  <a:gd name="T85" fmla="*/ 91 h 115"/>
                  <a:gd name="T86" fmla="*/ 52 w 148"/>
                  <a:gd name="T87" fmla="*/ 91 h 115"/>
                  <a:gd name="T88" fmla="*/ 52 w 148"/>
                  <a:gd name="T89" fmla="*/ 91 h 115"/>
                  <a:gd name="T90" fmla="*/ 56 w 148"/>
                  <a:gd name="T91" fmla="*/ 91 h 115"/>
                  <a:gd name="T92" fmla="*/ 59 w 148"/>
                  <a:gd name="T93" fmla="*/ 90 h 115"/>
                  <a:gd name="T94" fmla="*/ 62 w 148"/>
                  <a:gd name="T95" fmla="*/ 88 h 115"/>
                  <a:gd name="T96" fmla="*/ 65 w 148"/>
                  <a:gd name="T97" fmla="*/ 86 h 115"/>
                  <a:gd name="T98" fmla="*/ 65 w 148"/>
                  <a:gd name="T99" fmla="*/ 86 h 115"/>
                  <a:gd name="T100" fmla="*/ 116 w 148"/>
                  <a:gd name="T101" fmla="*/ 0 h 115"/>
                  <a:gd name="T102" fmla="*/ 148 w 148"/>
                  <a:gd name="T103" fmla="*/ 0 h 115"/>
                  <a:gd name="T104" fmla="*/ 148 w 148"/>
                  <a:gd name="T105" fmla="*/ 115 h 115"/>
                  <a:gd name="T106" fmla="*/ 116 w 148"/>
                  <a:gd name="T107" fmla="*/ 115 h 115"/>
                  <a:gd name="T108" fmla="*/ 116 w 148"/>
                  <a:gd name="T109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48" h="115">
                    <a:moveTo>
                      <a:pt x="92" y="46"/>
                    </a:moveTo>
                    <a:lnTo>
                      <a:pt x="92" y="46"/>
                    </a:lnTo>
                    <a:lnTo>
                      <a:pt x="97" y="51"/>
                    </a:lnTo>
                    <a:lnTo>
                      <a:pt x="101" y="58"/>
                    </a:lnTo>
                    <a:lnTo>
                      <a:pt x="103" y="66"/>
                    </a:lnTo>
                    <a:lnTo>
                      <a:pt x="103" y="73"/>
                    </a:lnTo>
                    <a:lnTo>
                      <a:pt x="103" y="73"/>
                    </a:lnTo>
                    <a:lnTo>
                      <a:pt x="103" y="82"/>
                    </a:lnTo>
                    <a:lnTo>
                      <a:pt x="100" y="90"/>
                    </a:lnTo>
                    <a:lnTo>
                      <a:pt x="96" y="97"/>
                    </a:lnTo>
                    <a:lnTo>
                      <a:pt x="91" y="104"/>
                    </a:lnTo>
                    <a:lnTo>
                      <a:pt x="91" y="104"/>
                    </a:lnTo>
                    <a:lnTo>
                      <a:pt x="83" y="109"/>
                    </a:lnTo>
                    <a:lnTo>
                      <a:pt x="73" y="113"/>
                    </a:lnTo>
                    <a:lnTo>
                      <a:pt x="64" y="115"/>
                    </a:lnTo>
                    <a:lnTo>
                      <a:pt x="54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2" y="0"/>
                    </a:lnTo>
                    <a:lnTo>
                      <a:pt x="32" y="36"/>
                    </a:lnTo>
                    <a:lnTo>
                      <a:pt x="59" y="36"/>
                    </a:lnTo>
                    <a:lnTo>
                      <a:pt x="59" y="36"/>
                    </a:lnTo>
                    <a:lnTo>
                      <a:pt x="67" y="37"/>
                    </a:lnTo>
                    <a:lnTo>
                      <a:pt x="76" y="38"/>
                    </a:lnTo>
                    <a:lnTo>
                      <a:pt x="85" y="41"/>
                    </a:lnTo>
                    <a:lnTo>
                      <a:pt x="92" y="46"/>
                    </a:lnTo>
                    <a:lnTo>
                      <a:pt x="92" y="46"/>
                    </a:lnTo>
                    <a:close/>
                    <a:moveTo>
                      <a:pt x="65" y="86"/>
                    </a:moveTo>
                    <a:lnTo>
                      <a:pt x="65" y="86"/>
                    </a:lnTo>
                    <a:lnTo>
                      <a:pt x="67" y="84"/>
                    </a:lnTo>
                    <a:lnTo>
                      <a:pt x="69" y="81"/>
                    </a:lnTo>
                    <a:lnTo>
                      <a:pt x="70" y="77"/>
                    </a:lnTo>
                    <a:lnTo>
                      <a:pt x="70" y="74"/>
                    </a:lnTo>
                    <a:lnTo>
                      <a:pt x="70" y="74"/>
                    </a:lnTo>
                    <a:lnTo>
                      <a:pt x="70" y="71"/>
                    </a:lnTo>
                    <a:lnTo>
                      <a:pt x="69" y="68"/>
                    </a:lnTo>
                    <a:lnTo>
                      <a:pt x="68" y="65"/>
                    </a:lnTo>
                    <a:lnTo>
                      <a:pt x="66" y="63"/>
                    </a:lnTo>
                    <a:lnTo>
                      <a:pt x="63" y="61"/>
                    </a:lnTo>
                    <a:lnTo>
                      <a:pt x="60" y="60"/>
                    </a:lnTo>
                    <a:lnTo>
                      <a:pt x="52" y="59"/>
                    </a:lnTo>
                    <a:lnTo>
                      <a:pt x="33" y="59"/>
                    </a:lnTo>
                    <a:lnTo>
                      <a:pt x="33" y="91"/>
                    </a:lnTo>
                    <a:lnTo>
                      <a:pt x="52" y="91"/>
                    </a:lnTo>
                    <a:lnTo>
                      <a:pt x="52" y="91"/>
                    </a:lnTo>
                    <a:lnTo>
                      <a:pt x="56" y="91"/>
                    </a:lnTo>
                    <a:lnTo>
                      <a:pt x="59" y="90"/>
                    </a:lnTo>
                    <a:lnTo>
                      <a:pt x="62" y="88"/>
                    </a:lnTo>
                    <a:lnTo>
                      <a:pt x="65" y="86"/>
                    </a:lnTo>
                    <a:lnTo>
                      <a:pt x="65" y="86"/>
                    </a:lnTo>
                    <a:close/>
                    <a:moveTo>
                      <a:pt x="116" y="0"/>
                    </a:moveTo>
                    <a:lnTo>
                      <a:pt x="148" y="0"/>
                    </a:lnTo>
                    <a:lnTo>
                      <a:pt x="148" y="115"/>
                    </a:lnTo>
                    <a:lnTo>
                      <a:pt x="116" y="115"/>
                    </a:lnTo>
                    <a:lnTo>
                      <a:pt x="116" y="0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12">
                <a:extLst>
                  <a:ext uri="{FF2B5EF4-FFF2-40B4-BE49-F238E27FC236}">
                    <a16:creationId xmlns:a16="http://schemas.microsoft.com/office/drawing/2014/main" id="{7A50962C-C315-4464-99F0-898CB56C8C9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166479" y="1376363"/>
                <a:ext cx="79375" cy="95250"/>
              </a:xfrm>
              <a:custGeom>
                <a:avLst/>
                <a:gdLst>
                  <a:gd name="T0" fmla="*/ 96 w 101"/>
                  <a:gd name="T1" fmla="*/ 68 h 120"/>
                  <a:gd name="T2" fmla="*/ 100 w 101"/>
                  <a:gd name="T3" fmla="*/ 76 h 120"/>
                  <a:gd name="T4" fmla="*/ 101 w 101"/>
                  <a:gd name="T5" fmla="*/ 85 h 120"/>
                  <a:gd name="T6" fmla="*/ 101 w 101"/>
                  <a:gd name="T7" fmla="*/ 90 h 120"/>
                  <a:gd name="T8" fmla="*/ 97 w 101"/>
                  <a:gd name="T9" fmla="*/ 99 h 120"/>
                  <a:gd name="T10" fmla="*/ 94 w 101"/>
                  <a:gd name="T11" fmla="*/ 104 h 120"/>
                  <a:gd name="T12" fmla="*/ 85 w 101"/>
                  <a:gd name="T13" fmla="*/ 111 h 120"/>
                  <a:gd name="T14" fmla="*/ 75 w 101"/>
                  <a:gd name="T15" fmla="*/ 116 h 120"/>
                  <a:gd name="T16" fmla="*/ 61 w 101"/>
                  <a:gd name="T17" fmla="*/ 119 h 120"/>
                  <a:gd name="T18" fmla="*/ 48 w 101"/>
                  <a:gd name="T19" fmla="*/ 120 h 120"/>
                  <a:gd name="T20" fmla="*/ 23 w 101"/>
                  <a:gd name="T21" fmla="*/ 118 h 120"/>
                  <a:gd name="T22" fmla="*/ 12 w 101"/>
                  <a:gd name="T23" fmla="*/ 114 h 120"/>
                  <a:gd name="T24" fmla="*/ 10 w 101"/>
                  <a:gd name="T25" fmla="*/ 86 h 120"/>
                  <a:gd name="T26" fmla="*/ 18 w 101"/>
                  <a:gd name="T27" fmla="*/ 89 h 120"/>
                  <a:gd name="T28" fmla="*/ 26 w 101"/>
                  <a:gd name="T29" fmla="*/ 92 h 120"/>
                  <a:gd name="T30" fmla="*/ 44 w 101"/>
                  <a:gd name="T31" fmla="*/ 94 h 120"/>
                  <a:gd name="T32" fmla="*/ 53 w 101"/>
                  <a:gd name="T33" fmla="*/ 93 h 120"/>
                  <a:gd name="T34" fmla="*/ 62 w 101"/>
                  <a:gd name="T35" fmla="*/ 90 h 120"/>
                  <a:gd name="T36" fmla="*/ 67 w 101"/>
                  <a:gd name="T37" fmla="*/ 86 h 120"/>
                  <a:gd name="T38" fmla="*/ 69 w 101"/>
                  <a:gd name="T39" fmla="*/ 80 h 120"/>
                  <a:gd name="T40" fmla="*/ 68 w 101"/>
                  <a:gd name="T41" fmla="*/ 78 h 120"/>
                  <a:gd name="T42" fmla="*/ 66 w 101"/>
                  <a:gd name="T43" fmla="*/ 74 h 120"/>
                  <a:gd name="T44" fmla="*/ 64 w 101"/>
                  <a:gd name="T45" fmla="*/ 73 h 120"/>
                  <a:gd name="T46" fmla="*/ 53 w 101"/>
                  <a:gd name="T47" fmla="*/ 70 h 120"/>
                  <a:gd name="T48" fmla="*/ 23 w 101"/>
                  <a:gd name="T49" fmla="*/ 47 h 120"/>
                  <a:gd name="T50" fmla="*/ 50 w 101"/>
                  <a:gd name="T51" fmla="*/ 47 h 120"/>
                  <a:gd name="T52" fmla="*/ 60 w 101"/>
                  <a:gd name="T53" fmla="*/ 44 h 120"/>
                  <a:gd name="T54" fmla="*/ 63 w 101"/>
                  <a:gd name="T55" fmla="*/ 41 h 120"/>
                  <a:gd name="T56" fmla="*/ 64 w 101"/>
                  <a:gd name="T57" fmla="*/ 37 h 120"/>
                  <a:gd name="T58" fmla="*/ 62 w 101"/>
                  <a:gd name="T59" fmla="*/ 32 h 120"/>
                  <a:gd name="T60" fmla="*/ 58 w 101"/>
                  <a:gd name="T61" fmla="*/ 29 h 120"/>
                  <a:gd name="T62" fmla="*/ 51 w 101"/>
                  <a:gd name="T63" fmla="*/ 26 h 120"/>
                  <a:gd name="T64" fmla="*/ 44 w 101"/>
                  <a:gd name="T65" fmla="*/ 26 h 120"/>
                  <a:gd name="T66" fmla="*/ 28 w 101"/>
                  <a:gd name="T67" fmla="*/ 28 h 120"/>
                  <a:gd name="T68" fmla="*/ 20 w 101"/>
                  <a:gd name="T69" fmla="*/ 30 h 120"/>
                  <a:gd name="T70" fmla="*/ 3 w 101"/>
                  <a:gd name="T71" fmla="*/ 9 h 120"/>
                  <a:gd name="T72" fmla="*/ 13 w 101"/>
                  <a:gd name="T73" fmla="*/ 5 h 120"/>
                  <a:gd name="T74" fmla="*/ 33 w 101"/>
                  <a:gd name="T75" fmla="*/ 1 h 120"/>
                  <a:gd name="T76" fmla="*/ 44 w 101"/>
                  <a:gd name="T77" fmla="*/ 0 h 120"/>
                  <a:gd name="T78" fmla="*/ 70 w 101"/>
                  <a:gd name="T79" fmla="*/ 4 h 120"/>
                  <a:gd name="T80" fmla="*/ 75 w 101"/>
                  <a:gd name="T81" fmla="*/ 6 h 120"/>
                  <a:gd name="T82" fmla="*/ 85 w 101"/>
                  <a:gd name="T83" fmla="*/ 12 h 120"/>
                  <a:gd name="T84" fmla="*/ 89 w 101"/>
                  <a:gd name="T85" fmla="*/ 16 h 120"/>
                  <a:gd name="T86" fmla="*/ 95 w 101"/>
                  <a:gd name="T87" fmla="*/ 24 h 120"/>
                  <a:gd name="T88" fmla="*/ 96 w 101"/>
                  <a:gd name="T89" fmla="*/ 34 h 120"/>
                  <a:gd name="T90" fmla="*/ 95 w 101"/>
                  <a:gd name="T91" fmla="*/ 41 h 120"/>
                  <a:gd name="T92" fmla="*/ 92 w 101"/>
                  <a:gd name="T93" fmla="*/ 48 h 120"/>
                  <a:gd name="T94" fmla="*/ 81 w 101"/>
                  <a:gd name="T95" fmla="*/ 58 h 120"/>
                  <a:gd name="T96" fmla="*/ 85 w 101"/>
                  <a:gd name="T97" fmla="*/ 59 h 120"/>
                  <a:gd name="T98" fmla="*/ 93 w 101"/>
                  <a:gd name="T99" fmla="*/ 65 h 120"/>
                  <a:gd name="T100" fmla="*/ 96 w 101"/>
                  <a:gd name="T101" fmla="*/ 68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01" h="120">
                    <a:moveTo>
                      <a:pt x="96" y="68"/>
                    </a:moveTo>
                    <a:lnTo>
                      <a:pt x="96" y="68"/>
                    </a:lnTo>
                    <a:lnTo>
                      <a:pt x="98" y="72"/>
                    </a:lnTo>
                    <a:lnTo>
                      <a:pt x="100" y="76"/>
                    </a:lnTo>
                    <a:lnTo>
                      <a:pt x="101" y="80"/>
                    </a:lnTo>
                    <a:lnTo>
                      <a:pt x="101" y="85"/>
                    </a:lnTo>
                    <a:lnTo>
                      <a:pt x="101" y="85"/>
                    </a:lnTo>
                    <a:lnTo>
                      <a:pt x="101" y="90"/>
                    </a:lnTo>
                    <a:lnTo>
                      <a:pt x="99" y="95"/>
                    </a:lnTo>
                    <a:lnTo>
                      <a:pt x="97" y="99"/>
                    </a:lnTo>
                    <a:lnTo>
                      <a:pt x="94" y="104"/>
                    </a:lnTo>
                    <a:lnTo>
                      <a:pt x="94" y="104"/>
                    </a:lnTo>
                    <a:lnTo>
                      <a:pt x="90" y="108"/>
                    </a:lnTo>
                    <a:lnTo>
                      <a:pt x="85" y="111"/>
                    </a:lnTo>
                    <a:lnTo>
                      <a:pt x="80" y="114"/>
                    </a:lnTo>
                    <a:lnTo>
                      <a:pt x="75" y="116"/>
                    </a:lnTo>
                    <a:lnTo>
                      <a:pt x="75" y="116"/>
                    </a:lnTo>
                    <a:lnTo>
                      <a:pt x="61" y="119"/>
                    </a:lnTo>
                    <a:lnTo>
                      <a:pt x="48" y="120"/>
                    </a:lnTo>
                    <a:lnTo>
                      <a:pt x="48" y="120"/>
                    </a:lnTo>
                    <a:lnTo>
                      <a:pt x="35" y="120"/>
                    </a:lnTo>
                    <a:lnTo>
                      <a:pt x="23" y="118"/>
                    </a:lnTo>
                    <a:lnTo>
                      <a:pt x="23" y="118"/>
                    </a:lnTo>
                    <a:lnTo>
                      <a:pt x="12" y="114"/>
                    </a:lnTo>
                    <a:lnTo>
                      <a:pt x="0" y="109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8" y="89"/>
                    </a:lnTo>
                    <a:lnTo>
                      <a:pt x="26" y="92"/>
                    </a:lnTo>
                    <a:lnTo>
                      <a:pt x="26" y="92"/>
                    </a:lnTo>
                    <a:lnTo>
                      <a:pt x="35" y="93"/>
                    </a:lnTo>
                    <a:lnTo>
                      <a:pt x="44" y="94"/>
                    </a:lnTo>
                    <a:lnTo>
                      <a:pt x="44" y="94"/>
                    </a:lnTo>
                    <a:lnTo>
                      <a:pt x="53" y="93"/>
                    </a:lnTo>
                    <a:lnTo>
                      <a:pt x="62" y="90"/>
                    </a:lnTo>
                    <a:lnTo>
                      <a:pt x="62" y="90"/>
                    </a:lnTo>
                    <a:lnTo>
                      <a:pt x="64" y="89"/>
                    </a:lnTo>
                    <a:lnTo>
                      <a:pt x="67" y="86"/>
                    </a:lnTo>
                    <a:lnTo>
                      <a:pt x="68" y="84"/>
                    </a:lnTo>
                    <a:lnTo>
                      <a:pt x="69" y="80"/>
                    </a:lnTo>
                    <a:lnTo>
                      <a:pt x="69" y="80"/>
                    </a:lnTo>
                    <a:lnTo>
                      <a:pt x="68" y="78"/>
                    </a:lnTo>
                    <a:lnTo>
                      <a:pt x="67" y="76"/>
                    </a:lnTo>
                    <a:lnTo>
                      <a:pt x="66" y="74"/>
                    </a:lnTo>
                    <a:lnTo>
                      <a:pt x="64" y="73"/>
                    </a:lnTo>
                    <a:lnTo>
                      <a:pt x="64" y="73"/>
                    </a:lnTo>
                    <a:lnTo>
                      <a:pt x="59" y="71"/>
                    </a:lnTo>
                    <a:lnTo>
                      <a:pt x="53" y="70"/>
                    </a:lnTo>
                    <a:lnTo>
                      <a:pt x="23" y="70"/>
                    </a:lnTo>
                    <a:lnTo>
                      <a:pt x="23" y="47"/>
                    </a:lnTo>
                    <a:lnTo>
                      <a:pt x="50" y="47"/>
                    </a:lnTo>
                    <a:lnTo>
                      <a:pt x="50" y="47"/>
                    </a:lnTo>
                    <a:lnTo>
                      <a:pt x="55" y="46"/>
                    </a:lnTo>
                    <a:lnTo>
                      <a:pt x="60" y="44"/>
                    </a:lnTo>
                    <a:lnTo>
                      <a:pt x="60" y="44"/>
                    </a:lnTo>
                    <a:lnTo>
                      <a:pt x="63" y="41"/>
                    </a:lnTo>
                    <a:lnTo>
                      <a:pt x="64" y="37"/>
                    </a:lnTo>
                    <a:lnTo>
                      <a:pt x="64" y="37"/>
                    </a:lnTo>
                    <a:lnTo>
                      <a:pt x="63" y="35"/>
                    </a:lnTo>
                    <a:lnTo>
                      <a:pt x="62" y="32"/>
                    </a:lnTo>
                    <a:lnTo>
                      <a:pt x="61" y="30"/>
                    </a:lnTo>
                    <a:lnTo>
                      <a:pt x="58" y="29"/>
                    </a:lnTo>
                    <a:lnTo>
                      <a:pt x="58" y="29"/>
                    </a:lnTo>
                    <a:lnTo>
                      <a:pt x="51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35" y="26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0" y="30"/>
                    </a:lnTo>
                    <a:lnTo>
                      <a:pt x="13" y="34"/>
                    </a:lnTo>
                    <a:lnTo>
                      <a:pt x="3" y="9"/>
                    </a:lnTo>
                    <a:lnTo>
                      <a:pt x="3" y="9"/>
                    </a:lnTo>
                    <a:lnTo>
                      <a:pt x="13" y="5"/>
                    </a:lnTo>
                    <a:lnTo>
                      <a:pt x="23" y="2"/>
                    </a:lnTo>
                    <a:lnTo>
                      <a:pt x="33" y="1"/>
                    </a:lnTo>
                    <a:lnTo>
                      <a:pt x="44" y="0"/>
                    </a:lnTo>
                    <a:lnTo>
                      <a:pt x="44" y="0"/>
                    </a:lnTo>
                    <a:lnTo>
                      <a:pt x="57" y="1"/>
                    </a:lnTo>
                    <a:lnTo>
                      <a:pt x="70" y="4"/>
                    </a:lnTo>
                    <a:lnTo>
                      <a:pt x="70" y="4"/>
                    </a:lnTo>
                    <a:lnTo>
                      <a:pt x="75" y="6"/>
                    </a:lnTo>
                    <a:lnTo>
                      <a:pt x="80" y="9"/>
                    </a:lnTo>
                    <a:lnTo>
                      <a:pt x="85" y="12"/>
                    </a:lnTo>
                    <a:lnTo>
                      <a:pt x="89" y="16"/>
                    </a:lnTo>
                    <a:lnTo>
                      <a:pt x="89" y="16"/>
                    </a:lnTo>
                    <a:lnTo>
                      <a:pt x="92" y="20"/>
                    </a:lnTo>
                    <a:lnTo>
                      <a:pt x="95" y="24"/>
                    </a:lnTo>
                    <a:lnTo>
                      <a:pt x="96" y="29"/>
                    </a:lnTo>
                    <a:lnTo>
                      <a:pt x="96" y="34"/>
                    </a:lnTo>
                    <a:lnTo>
                      <a:pt x="96" y="34"/>
                    </a:lnTo>
                    <a:lnTo>
                      <a:pt x="95" y="41"/>
                    </a:lnTo>
                    <a:lnTo>
                      <a:pt x="92" y="48"/>
                    </a:lnTo>
                    <a:lnTo>
                      <a:pt x="92" y="48"/>
                    </a:lnTo>
                    <a:lnTo>
                      <a:pt x="87" y="53"/>
                    </a:lnTo>
                    <a:lnTo>
                      <a:pt x="81" y="58"/>
                    </a:lnTo>
                    <a:lnTo>
                      <a:pt x="81" y="58"/>
                    </a:lnTo>
                    <a:lnTo>
                      <a:pt x="85" y="59"/>
                    </a:lnTo>
                    <a:lnTo>
                      <a:pt x="89" y="62"/>
                    </a:lnTo>
                    <a:lnTo>
                      <a:pt x="93" y="65"/>
                    </a:lnTo>
                    <a:lnTo>
                      <a:pt x="96" y="68"/>
                    </a:lnTo>
                    <a:lnTo>
                      <a:pt x="96" y="68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13">
                <a:extLst>
                  <a:ext uri="{FF2B5EF4-FFF2-40B4-BE49-F238E27FC236}">
                    <a16:creationId xmlns:a16="http://schemas.microsoft.com/office/drawing/2014/main" id="{01927647-8380-42D9-8B4E-AEAB36E2514F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1256966" y="1377950"/>
                <a:ext cx="101600" cy="93662"/>
              </a:xfrm>
              <a:custGeom>
                <a:avLst/>
                <a:gdLst>
                  <a:gd name="T0" fmla="*/ 31 w 128"/>
                  <a:gd name="T1" fmla="*/ 112 h 119"/>
                  <a:gd name="T2" fmla="*/ 21 w 128"/>
                  <a:gd name="T3" fmla="*/ 105 h 119"/>
                  <a:gd name="T4" fmla="*/ 7 w 128"/>
                  <a:gd name="T5" fmla="*/ 87 h 119"/>
                  <a:gd name="T6" fmla="*/ 0 w 128"/>
                  <a:gd name="T7" fmla="*/ 65 h 119"/>
                  <a:gd name="T8" fmla="*/ 2 w 128"/>
                  <a:gd name="T9" fmla="*/ 43 h 119"/>
                  <a:gd name="T10" fmla="*/ 7 w 128"/>
                  <a:gd name="T11" fmla="*/ 32 h 119"/>
                  <a:gd name="T12" fmla="*/ 11 w 128"/>
                  <a:gd name="T13" fmla="*/ 24 h 119"/>
                  <a:gd name="T14" fmla="*/ 24 w 128"/>
                  <a:gd name="T15" fmla="*/ 12 h 119"/>
                  <a:gd name="T16" fmla="*/ 31 w 128"/>
                  <a:gd name="T17" fmla="*/ 7 h 119"/>
                  <a:gd name="T18" fmla="*/ 47 w 128"/>
                  <a:gd name="T19" fmla="*/ 2 h 119"/>
                  <a:gd name="T20" fmla="*/ 65 w 128"/>
                  <a:gd name="T21" fmla="*/ 0 h 119"/>
                  <a:gd name="T22" fmla="*/ 81 w 128"/>
                  <a:gd name="T23" fmla="*/ 2 h 119"/>
                  <a:gd name="T24" fmla="*/ 97 w 128"/>
                  <a:gd name="T25" fmla="*/ 7 h 119"/>
                  <a:gd name="T26" fmla="*/ 102 w 128"/>
                  <a:gd name="T27" fmla="*/ 10 h 119"/>
                  <a:gd name="T28" fmla="*/ 115 w 128"/>
                  <a:gd name="T29" fmla="*/ 22 h 119"/>
                  <a:gd name="T30" fmla="*/ 126 w 128"/>
                  <a:gd name="T31" fmla="*/ 42 h 119"/>
                  <a:gd name="T32" fmla="*/ 128 w 128"/>
                  <a:gd name="T33" fmla="*/ 64 h 119"/>
                  <a:gd name="T34" fmla="*/ 124 w 128"/>
                  <a:gd name="T35" fmla="*/ 81 h 119"/>
                  <a:gd name="T36" fmla="*/ 122 w 128"/>
                  <a:gd name="T37" fmla="*/ 86 h 119"/>
                  <a:gd name="T38" fmla="*/ 111 w 128"/>
                  <a:gd name="T39" fmla="*/ 100 h 119"/>
                  <a:gd name="T40" fmla="*/ 97 w 128"/>
                  <a:gd name="T41" fmla="*/ 112 h 119"/>
                  <a:gd name="T42" fmla="*/ 89 w 128"/>
                  <a:gd name="T43" fmla="*/ 115 h 119"/>
                  <a:gd name="T44" fmla="*/ 73 w 128"/>
                  <a:gd name="T45" fmla="*/ 119 h 119"/>
                  <a:gd name="T46" fmla="*/ 56 w 128"/>
                  <a:gd name="T47" fmla="*/ 119 h 119"/>
                  <a:gd name="T48" fmla="*/ 39 w 128"/>
                  <a:gd name="T49" fmla="*/ 115 h 119"/>
                  <a:gd name="T50" fmla="*/ 31 w 128"/>
                  <a:gd name="T51" fmla="*/ 112 h 119"/>
                  <a:gd name="T52" fmla="*/ 80 w 128"/>
                  <a:gd name="T53" fmla="*/ 87 h 119"/>
                  <a:gd name="T54" fmla="*/ 91 w 128"/>
                  <a:gd name="T55" fmla="*/ 76 h 119"/>
                  <a:gd name="T56" fmla="*/ 94 w 128"/>
                  <a:gd name="T57" fmla="*/ 68 h 119"/>
                  <a:gd name="T58" fmla="*/ 94 w 128"/>
                  <a:gd name="T59" fmla="*/ 50 h 119"/>
                  <a:gd name="T60" fmla="*/ 91 w 128"/>
                  <a:gd name="T61" fmla="*/ 42 h 119"/>
                  <a:gd name="T62" fmla="*/ 80 w 128"/>
                  <a:gd name="T63" fmla="*/ 30 h 119"/>
                  <a:gd name="T64" fmla="*/ 73 w 128"/>
                  <a:gd name="T65" fmla="*/ 27 h 119"/>
                  <a:gd name="T66" fmla="*/ 57 w 128"/>
                  <a:gd name="T67" fmla="*/ 27 h 119"/>
                  <a:gd name="T68" fmla="*/ 48 w 128"/>
                  <a:gd name="T69" fmla="*/ 30 h 119"/>
                  <a:gd name="T70" fmla="*/ 37 w 128"/>
                  <a:gd name="T71" fmla="*/ 42 h 119"/>
                  <a:gd name="T72" fmla="*/ 34 w 128"/>
                  <a:gd name="T73" fmla="*/ 50 h 119"/>
                  <a:gd name="T74" fmla="*/ 34 w 128"/>
                  <a:gd name="T75" fmla="*/ 68 h 119"/>
                  <a:gd name="T76" fmla="*/ 37 w 128"/>
                  <a:gd name="T77" fmla="*/ 76 h 119"/>
                  <a:gd name="T78" fmla="*/ 48 w 128"/>
                  <a:gd name="T79" fmla="*/ 87 h 119"/>
                  <a:gd name="T80" fmla="*/ 57 w 128"/>
                  <a:gd name="T81" fmla="*/ 90 h 119"/>
                  <a:gd name="T82" fmla="*/ 73 w 128"/>
                  <a:gd name="T83" fmla="*/ 90 h 119"/>
                  <a:gd name="T84" fmla="*/ 80 w 128"/>
                  <a:gd name="T85" fmla="*/ 87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28" h="119">
                    <a:moveTo>
                      <a:pt x="31" y="112"/>
                    </a:moveTo>
                    <a:lnTo>
                      <a:pt x="31" y="112"/>
                    </a:lnTo>
                    <a:lnTo>
                      <a:pt x="26" y="109"/>
                    </a:lnTo>
                    <a:lnTo>
                      <a:pt x="21" y="105"/>
                    </a:lnTo>
                    <a:lnTo>
                      <a:pt x="13" y="96"/>
                    </a:lnTo>
                    <a:lnTo>
                      <a:pt x="7" y="87"/>
                    </a:lnTo>
                    <a:lnTo>
                      <a:pt x="3" y="76"/>
                    </a:lnTo>
                    <a:lnTo>
                      <a:pt x="0" y="65"/>
                    </a:lnTo>
                    <a:lnTo>
                      <a:pt x="0" y="54"/>
                    </a:lnTo>
                    <a:lnTo>
                      <a:pt x="2" y="43"/>
                    </a:lnTo>
                    <a:lnTo>
                      <a:pt x="4" y="37"/>
                    </a:lnTo>
                    <a:lnTo>
                      <a:pt x="7" y="32"/>
                    </a:lnTo>
                    <a:lnTo>
                      <a:pt x="7" y="32"/>
                    </a:lnTo>
                    <a:lnTo>
                      <a:pt x="11" y="24"/>
                    </a:lnTo>
                    <a:lnTo>
                      <a:pt x="17" y="18"/>
                    </a:lnTo>
                    <a:lnTo>
                      <a:pt x="24" y="12"/>
                    </a:lnTo>
                    <a:lnTo>
                      <a:pt x="31" y="7"/>
                    </a:lnTo>
                    <a:lnTo>
                      <a:pt x="31" y="7"/>
                    </a:lnTo>
                    <a:lnTo>
                      <a:pt x="39" y="4"/>
                    </a:lnTo>
                    <a:lnTo>
                      <a:pt x="47" y="2"/>
                    </a:lnTo>
                    <a:lnTo>
                      <a:pt x="56" y="0"/>
                    </a:lnTo>
                    <a:lnTo>
                      <a:pt x="65" y="0"/>
                    </a:lnTo>
                    <a:lnTo>
                      <a:pt x="73" y="0"/>
                    </a:lnTo>
                    <a:lnTo>
                      <a:pt x="81" y="2"/>
                    </a:lnTo>
                    <a:lnTo>
                      <a:pt x="89" y="4"/>
                    </a:lnTo>
                    <a:lnTo>
                      <a:pt x="97" y="7"/>
                    </a:lnTo>
                    <a:lnTo>
                      <a:pt x="97" y="7"/>
                    </a:lnTo>
                    <a:lnTo>
                      <a:pt x="102" y="10"/>
                    </a:lnTo>
                    <a:lnTo>
                      <a:pt x="107" y="14"/>
                    </a:lnTo>
                    <a:lnTo>
                      <a:pt x="115" y="22"/>
                    </a:lnTo>
                    <a:lnTo>
                      <a:pt x="121" y="31"/>
                    </a:lnTo>
                    <a:lnTo>
                      <a:pt x="126" y="42"/>
                    </a:lnTo>
                    <a:lnTo>
                      <a:pt x="128" y="53"/>
                    </a:lnTo>
                    <a:lnTo>
                      <a:pt x="128" y="64"/>
                    </a:lnTo>
                    <a:lnTo>
                      <a:pt x="126" y="75"/>
                    </a:lnTo>
                    <a:lnTo>
                      <a:pt x="124" y="81"/>
                    </a:lnTo>
                    <a:lnTo>
                      <a:pt x="122" y="86"/>
                    </a:lnTo>
                    <a:lnTo>
                      <a:pt x="122" y="86"/>
                    </a:lnTo>
                    <a:lnTo>
                      <a:pt x="117" y="94"/>
                    </a:lnTo>
                    <a:lnTo>
                      <a:pt x="111" y="100"/>
                    </a:lnTo>
                    <a:lnTo>
                      <a:pt x="105" y="107"/>
                    </a:lnTo>
                    <a:lnTo>
                      <a:pt x="97" y="112"/>
                    </a:lnTo>
                    <a:lnTo>
                      <a:pt x="97" y="112"/>
                    </a:lnTo>
                    <a:lnTo>
                      <a:pt x="89" y="115"/>
                    </a:lnTo>
                    <a:lnTo>
                      <a:pt x="81" y="117"/>
                    </a:lnTo>
                    <a:lnTo>
                      <a:pt x="73" y="119"/>
                    </a:lnTo>
                    <a:lnTo>
                      <a:pt x="65" y="119"/>
                    </a:lnTo>
                    <a:lnTo>
                      <a:pt x="56" y="119"/>
                    </a:lnTo>
                    <a:lnTo>
                      <a:pt x="47" y="117"/>
                    </a:lnTo>
                    <a:lnTo>
                      <a:pt x="39" y="115"/>
                    </a:lnTo>
                    <a:lnTo>
                      <a:pt x="31" y="112"/>
                    </a:lnTo>
                    <a:lnTo>
                      <a:pt x="31" y="112"/>
                    </a:lnTo>
                    <a:close/>
                    <a:moveTo>
                      <a:pt x="80" y="87"/>
                    </a:moveTo>
                    <a:lnTo>
                      <a:pt x="80" y="87"/>
                    </a:lnTo>
                    <a:lnTo>
                      <a:pt x="87" y="82"/>
                    </a:lnTo>
                    <a:lnTo>
                      <a:pt x="91" y="76"/>
                    </a:lnTo>
                    <a:lnTo>
                      <a:pt x="91" y="76"/>
                    </a:lnTo>
                    <a:lnTo>
                      <a:pt x="94" y="68"/>
                    </a:lnTo>
                    <a:lnTo>
                      <a:pt x="96" y="59"/>
                    </a:lnTo>
                    <a:lnTo>
                      <a:pt x="94" y="50"/>
                    </a:lnTo>
                    <a:lnTo>
                      <a:pt x="91" y="42"/>
                    </a:lnTo>
                    <a:lnTo>
                      <a:pt x="91" y="42"/>
                    </a:lnTo>
                    <a:lnTo>
                      <a:pt x="87" y="35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73" y="27"/>
                    </a:lnTo>
                    <a:lnTo>
                      <a:pt x="65" y="26"/>
                    </a:lnTo>
                    <a:lnTo>
                      <a:pt x="57" y="27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2" y="35"/>
                    </a:lnTo>
                    <a:lnTo>
                      <a:pt x="37" y="42"/>
                    </a:lnTo>
                    <a:lnTo>
                      <a:pt x="37" y="42"/>
                    </a:lnTo>
                    <a:lnTo>
                      <a:pt x="34" y="50"/>
                    </a:lnTo>
                    <a:lnTo>
                      <a:pt x="33" y="59"/>
                    </a:lnTo>
                    <a:lnTo>
                      <a:pt x="34" y="68"/>
                    </a:lnTo>
                    <a:lnTo>
                      <a:pt x="37" y="76"/>
                    </a:lnTo>
                    <a:lnTo>
                      <a:pt x="37" y="76"/>
                    </a:lnTo>
                    <a:lnTo>
                      <a:pt x="42" y="82"/>
                    </a:lnTo>
                    <a:lnTo>
                      <a:pt x="48" y="87"/>
                    </a:lnTo>
                    <a:lnTo>
                      <a:pt x="48" y="87"/>
                    </a:lnTo>
                    <a:lnTo>
                      <a:pt x="57" y="90"/>
                    </a:lnTo>
                    <a:lnTo>
                      <a:pt x="65" y="91"/>
                    </a:lnTo>
                    <a:lnTo>
                      <a:pt x="73" y="90"/>
                    </a:lnTo>
                    <a:lnTo>
                      <a:pt x="80" y="87"/>
                    </a:lnTo>
                    <a:lnTo>
                      <a:pt x="80" y="87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14">
                <a:extLst>
                  <a:ext uri="{FF2B5EF4-FFF2-40B4-BE49-F238E27FC236}">
                    <a16:creationId xmlns:a16="http://schemas.microsoft.com/office/drawing/2014/main" id="{D22595D4-56C2-43AF-8F28-66DBF6E2668A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1374441" y="1379538"/>
                <a:ext cx="82550" cy="90487"/>
              </a:xfrm>
              <a:custGeom>
                <a:avLst/>
                <a:gdLst>
                  <a:gd name="T0" fmla="*/ 99 w 104"/>
                  <a:gd name="T1" fmla="*/ 64 h 115"/>
                  <a:gd name="T2" fmla="*/ 103 w 104"/>
                  <a:gd name="T3" fmla="*/ 72 h 115"/>
                  <a:gd name="T4" fmla="*/ 104 w 104"/>
                  <a:gd name="T5" fmla="*/ 81 h 115"/>
                  <a:gd name="T6" fmla="*/ 104 w 104"/>
                  <a:gd name="T7" fmla="*/ 88 h 115"/>
                  <a:gd name="T8" fmla="*/ 98 w 104"/>
                  <a:gd name="T9" fmla="*/ 101 h 115"/>
                  <a:gd name="T10" fmla="*/ 92 w 104"/>
                  <a:gd name="T11" fmla="*/ 106 h 115"/>
                  <a:gd name="T12" fmla="*/ 78 w 104"/>
                  <a:gd name="T13" fmla="*/ 113 h 115"/>
                  <a:gd name="T14" fmla="*/ 59 w 104"/>
                  <a:gd name="T15" fmla="*/ 115 h 115"/>
                  <a:gd name="T16" fmla="*/ 0 w 104"/>
                  <a:gd name="T17" fmla="*/ 0 h 115"/>
                  <a:gd name="T18" fmla="*/ 56 w 104"/>
                  <a:gd name="T19" fmla="*/ 0 h 115"/>
                  <a:gd name="T20" fmla="*/ 72 w 104"/>
                  <a:gd name="T21" fmla="*/ 2 h 115"/>
                  <a:gd name="T22" fmla="*/ 88 w 104"/>
                  <a:gd name="T23" fmla="*/ 8 h 115"/>
                  <a:gd name="T24" fmla="*/ 93 w 104"/>
                  <a:gd name="T25" fmla="*/ 12 h 115"/>
                  <a:gd name="T26" fmla="*/ 99 w 104"/>
                  <a:gd name="T27" fmla="*/ 23 h 115"/>
                  <a:gd name="T28" fmla="*/ 99 w 104"/>
                  <a:gd name="T29" fmla="*/ 30 h 115"/>
                  <a:gd name="T30" fmla="*/ 95 w 104"/>
                  <a:gd name="T31" fmla="*/ 45 h 115"/>
                  <a:gd name="T32" fmla="*/ 90 w 104"/>
                  <a:gd name="T33" fmla="*/ 50 h 115"/>
                  <a:gd name="T34" fmla="*/ 84 w 104"/>
                  <a:gd name="T35" fmla="*/ 54 h 115"/>
                  <a:gd name="T36" fmla="*/ 92 w 104"/>
                  <a:gd name="T37" fmla="*/ 58 h 115"/>
                  <a:gd name="T38" fmla="*/ 99 w 104"/>
                  <a:gd name="T39" fmla="*/ 64 h 115"/>
                  <a:gd name="T40" fmla="*/ 31 w 104"/>
                  <a:gd name="T41" fmla="*/ 46 h 115"/>
                  <a:gd name="T42" fmla="*/ 53 w 104"/>
                  <a:gd name="T43" fmla="*/ 46 h 115"/>
                  <a:gd name="T44" fmla="*/ 63 w 104"/>
                  <a:gd name="T45" fmla="*/ 43 h 115"/>
                  <a:gd name="T46" fmla="*/ 67 w 104"/>
                  <a:gd name="T47" fmla="*/ 34 h 115"/>
                  <a:gd name="T48" fmla="*/ 66 w 104"/>
                  <a:gd name="T49" fmla="*/ 29 h 115"/>
                  <a:gd name="T50" fmla="*/ 59 w 104"/>
                  <a:gd name="T51" fmla="*/ 24 h 115"/>
                  <a:gd name="T52" fmla="*/ 31 w 104"/>
                  <a:gd name="T53" fmla="*/ 23 h 115"/>
                  <a:gd name="T54" fmla="*/ 72 w 104"/>
                  <a:gd name="T55" fmla="*/ 79 h 115"/>
                  <a:gd name="T56" fmla="*/ 71 w 104"/>
                  <a:gd name="T57" fmla="*/ 74 h 115"/>
                  <a:gd name="T58" fmla="*/ 64 w 104"/>
                  <a:gd name="T59" fmla="*/ 68 h 115"/>
                  <a:gd name="T60" fmla="*/ 32 w 104"/>
                  <a:gd name="T61" fmla="*/ 67 h 115"/>
                  <a:gd name="T62" fmla="*/ 58 w 104"/>
                  <a:gd name="T63" fmla="*/ 91 h 115"/>
                  <a:gd name="T64" fmla="*/ 64 w 104"/>
                  <a:gd name="T65" fmla="*/ 90 h 115"/>
                  <a:gd name="T66" fmla="*/ 71 w 104"/>
                  <a:gd name="T67" fmla="*/ 84 h 115"/>
                  <a:gd name="T68" fmla="*/ 72 w 104"/>
                  <a:gd name="T69" fmla="*/ 79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4" h="115">
                    <a:moveTo>
                      <a:pt x="99" y="64"/>
                    </a:moveTo>
                    <a:lnTo>
                      <a:pt x="99" y="64"/>
                    </a:lnTo>
                    <a:lnTo>
                      <a:pt x="101" y="68"/>
                    </a:lnTo>
                    <a:lnTo>
                      <a:pt x="103" y="72"/>
                    </a:lnTo>
                    <a:lnTo>
                      <a:pt x="104" y="77"/>
                    </a:lnTo>
                    <a:lnTo>
                      <a:pt x="104" y="81"/>
                    </a:lnTo>
                    <a:lnTo>
                      <a:pt x="104" y="81"/>
                    </a:lnTo>
                    <a:lnTo>
                      <a:pt x="104" y="88"/>
                    </a:lnTo>
                    <a:lnTo>
                      <a:pt x="101" y="95"/>
                    </a:lnTo>
                    <a:lnTo>
                      <a:pt x="98" y="101"/>
                    </a:lnTo>
                    <a:lnTo>
                      <a:pt x="92" y="106"/>
                    </a:lnTo>
                    <a:lnTo>
                      <a:pt x="92" y="106"/>
                    </a:lnTo>
                    <a:lnTo>
                      <a:pt x="86" y="110"/>
                    </a:lnTo>
                    <a:lnTo>
                      <a:pt x="78" y="113"/>
                    </a:lnTo>
                    <a:lnTo>
                      <a:pt x="69" y="114"/>
                    </a:lnTo>
                    <a:lnTo>
                      <a:pt x="59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4" y="0"/>
                    </a:lnTo>
                    <a:lnTo>
                      <a:pt x="72" y="2"/>
                    </a:lnTo>
                    <a:lnTo>
                      <a:pt x="80" y="4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93" y="12"/>
                    </a:lnTo>
                    <a:lnTo>
                      <a:pt x="96" y="17"/>
                    </a:lnTo>
                    <a:lnTo>
                      <a:pt x="99" y="23"/>
                    </a:lnTo>
                    <a:lnTo>
                      <a:pt x="99" y="30"/>
                    </a:lnTo>
                    <a:lnTo>
                      <a:pt x="99" y="30"/>
                    </a:lnTo>
                    <a:lnTo>
                      <a:pt x="98" y="37"/>
                    </a:lnTo>
                    <a:lnTo>
                      <a:pt x="95" y="45"/>
                    </a:lnTo>
                    <a:lnTo>
                      <a:pt x="95" y="45"/>
                    </a:lnTo>
                    <a:lnTo>
                      <a:pt x="90" y="50"/>
                    </a:lnTo>
                    <a:lnTo>
                      <a:pt x="84" y="54"/>
                    </a:lnTo>
                    <a:lnTo>
                      <a:pt x="84" y="54"/>
                    </a:lnTo>
                    <a:lnTo>
                      <a:pt x="88" y="56"/>
                    </a:lnTo>
                    <a:lnTo>
                      <a:pt x="92" y="58"/>
                    </a:lnTo>
                    <a:lnTo>
                      <a:pt x="96" y="61"/>
                    </a:lnTo>
                    <a:lnTo>
                      <a:pt x="99" y="64"/>
                    </a:lnTo>
                    <a:lnTo>
                      <a:pt x="99" y="64"/>
                    </a:lnTo>
                    <a:close/>
                    <a:moveTo>
                      <a:pt x="31" y="46"/>
                    </a:moveTo>
                    <a:lnTo>
                      <a:pt x="53" y="46"/>
                    </a:lnTo>
                    <a:lnTo>
                      <a:pt x="53" y="46"/>
                    </a:lnTo>
                    <a:lnTo>
                      <a:pt x="59" y="45"/>
                    </a:lnTo>
                    <a:lnTo>
                      <a:pt x="63" y="43"/>
                    </a:lnTo>
                    <a:lnTo>
                      <a:pt x="66" y="39"/>
                    </a:lnTo>
                    <a:lnTo>
                      <a:pt x="67" y="34"/>
                    </a:lnTo>
                    <a:lnTo>
                      <a:pt x="67" y="34"/>
                    </a:lnTo>
                    <a:lnTo>
                      <a:pt x="66" y="29"/>
                    </a:lnTo>
                    <a:lnTo>
                      <a:pt x="63" y="26"/>
                    </a:lnTo>
                    <a:lnTo>
                      <a:pt x="59" y="24"/>
                    </a:lnTo>
                    <a:lnTo>
                      <a:pt x="53" y="23"/>
                    </a:lnTo>
                    <a:lnTo>
                      <a:pt x="31" y="23"/>
                    </a:lnTo>
                    <a:lnTo>
                      <a:pt x="31" y="46"/>
                    </a:lnTo>
                    <a:close/>
                    <a:moveTo>
                      <a:pt x="72" y="79"/>
                    </a:moveTo>
                    <a:lnTo>
                      <a:pt x="72" y="79"/>
                    </a:lnTo>
                    <a:lnTo>
                      <a:pt x="71" y="74"/>
                    </a:lnTo>
                    <a:lnTo>
                      <a:pt x="68" y="70"/>
                    </a:lnTo>
                    <a:lnTo>
                      <a:pt x="64" y="68"/>
                    </a:lnTo>
                    <a:lnTo>
                      <a:pt x="58" y="67"/>
                    </a:lnTo>
                    <a:lnTo>
                      <a:pt x="32" y="67"/>
                    </a:lnTo>
                    <a:lnTo>
                      <a:pt x="32" y="91"/>
                    </a:lnTo>
                    <a:lnTo>
                      <a:pt x="58" y="91"/>
                    </a:lnTo>
                    <a:lnTo>
                      <a:pt x="58" y="91"/>
                    </a:lnTo>
                    <a:lnTo>
                      <a:pt x="64" y="90"/>
                    </a:lnTo>
                    <a:lnTo>
                      <a:pt x="68" y="88"/>
                    </a:lnTo>
                    <a:lnTo>
                      <a:pt x="71" y="84"/>
                    </a:lnTo>
                    <a:lnTo>
                      <a:pt x="72" y="79"/>
                    </a:lnTo>
                    <a:lnTo>
                      <a:pt x="72" y="79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15">
                <a:extLst>
                  <a:ext uri="{FF2B5EF4-FFF2-40B4-BE49-F238E27FC236}">
                    <a16:creationId xmlns:a16="http://schemas.microsoft.com/office/drawing/2014/main" id="{CDE51344-5E8F-4DC7-9BDC-D1DF8D2D6E68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1474454" y="1379538"/>
                <a:ext cx="115888" cy="90487"/>
              </a:xfrm>
              <a:custGeom>
                <a:avLst/>
                <a:gdLst>
                  <a:gd name="T0" fmla="*/ 91 w 147"/>
                  <a:gd name="T1" fmla="*/ 46 h 115"/>
                  <a:gd name="T2" fmla="*/ 91 w 147"/>
                  <a:gd name="T3" fmla="*/ 46 h 115"/>
                  <a:gd name="T4" fmla="*/ 97 w 147"/>
                  <a:gd name="T5" fmla="*/ 51 h 115"/>
                  <a:gd name="T6" fmla="*/ 100 w 147"/>
                  <a:gd name="T7" fmla="*/ 58 h 115"/>
                  <a:gd name="T8" fmla="*/ 103 w 147"/>
                  <a:gd name="T9" fmla="*/ 66 h 115"/>
                  <a:gd name="T10" fmla="*/ 103 w 147"/>
                  <a:gd name="T11" fmla="*/ 73 h 115"/>
                  <a:gd name="T12" fmla="*/ 103 w 147"/>
                  <a:gd name="T13" fmla="*/ 73 h 115"/>
                  <a:gd name="T14" fmla="*/ 102 w 147"/>
                  <a:gd name="T15" fmla="*/ 82 h 115"/>
                  <a:gd name="T16" fmla="*/ 100 w 147"/>
                  <a:gd name="T17" fmla="*/ 90 h 115"/>
                  <a:gd name="T18" fmla="*/ 96 w 147"/>
                  <a:gd name="T19" fmla="*/ 97 h 115"/>
                  <a:gd name="T20" fmla="*/ 90 w 147"/>
                  <a:gd name="T21" fmla="*/ 104 h 115"/>
                  <a:gd name="T22" fmla="*/ 90 w 147"/>
                  <a:gd name="T23" fmla="*/ 104 h 115"/>
                  <a:gd name="T24" fmla="*/ 82 w 147"/>
                  <a:gd name="T25" fmla="*/ 109 h 115"/>
                  <a:gd name="T26" fmla="*/ 73 w 147"/>
                  <a:gd name="T27" fmla="*/ 113 h 115"/>
                  <a:gd name="T28" fmla="*/ 64 w 147"/>
                  <a:gd name="T29" fmla="*/ 115 h 115"/>
                  <a:gd name="T30" fmla="*/ 55 w 147"/>
                  <a:gd name="T31" fmla="*/ 115 h 115"/>
                  <a:gd name="T32" fmla="*/ 0 w 147"/>
                  <a:gd name="T33" fmla="*/ 115 h 115"/>
                  <a:gd name="T34" fmla="*/ 0 w 147"/>
                  <a:gd name="T35" fmla="*/ 0 h 115"/>
                  <a:gd name="T36" fmla="*/ 32 w 147"/>
                  <a:gd name="T37" fmla="*/ 0 h 115"/>
                  <a:gd name="T38" fmla="*/ 32 w 147"/>
                  <a:gd name="T39" fmla="*/ 36 h 115"/>
                  <a:gd name="T40" fmla="*/ 59 w 147"/>
                  <a:gd name="T41" fmla="*/ 36 h 115"/>
                  <a:gd name="T42" fmla="*/ 59 w 147"/>
                  <a:gd name="T43" fmla="*/ 36 h 115"/>
                  <a:gd name="T44" fmla="*/ 68 w 147"/>
                  <a:gd name="T45" fmla="*/ 37 h 115"/>
                  <a:gd name="T46" fmla="*/ 76 w 147"/>
                  <a:gd name="T47" fmla="*/ 38 h 115"/>
                  <a:gd name="T48" fmla="*/ 84 w 147"/>
                  <a:gd name="T49" fmla="*/ 41 h 115"/>
                  <a:gd name="T50" fmla="*/ 91 w 147"/>
                  <a:gd name="T51" fmla="*/ 46 h 115"/>
                  <a:gd name="T52" fmla="*/ 91 w 147"/>
                  <a:gd name="T53" fmla="*/ 46 h 115"/>
                  <a:gd name="T54" fmla="*/ 66 w 147"/>
                  <a:gd name="T55" fmla="*/ 86 h 115"/>
                  <a:gd name="T56" fmla="*/ 66 w 147"/>
                  <a:gd name="T57" fmla="*/ 86 h 115"/>
                  <a:gd name="T58" fmla="*/ 68 w 147"/>
                  <a:gd name="T59" fmla="*/ 84 h 115"/>
                  <a:gd name="T60" fmla="*/ 69 w 147"/>
                  <a:gd name="T61" fmla="*/ 81 h 115"/>
                  <a:gd name="T62" fmla="*/ 70 w 147"/>
                  <a:gd name="T63" fmla="*/ 77 h 115"/>
                  <a:gd name="T64" fmla="*/ 71 w 147"/>
                  <a:gd name="T65" fmla="*/ 74 h 115"/>
                  <a:gd name="T66" fmla="*/ 71 w 147"/>
                  <a:gd name="T67" fmla="*/ 74 h 115"/>
                  <a:gd name="T68" fmla="*/ 70 w 147"/>
                  <a:gd name="T69" fmla="*/ 71 h 115"/>
                  <a:gd name="T70" fmla="*/ 70 w 147"/>
                  <a:gd name="T71" fmla="*/ 68 h 115"/>
                  <a:gd name="T72" fmla="*/ 68 w 147"/>
                  <a:gd name="T73" fmla="*/ 65 h 115"/>
                  <a:gd name="T74" fmla="*/ 66 w 147"/>
                  <a:gd name="T75" fmla="*/ 63 h 115"/>
                  <a:gd name="T76" fmla="*/ 64 w 147"/>
                  <a:gd name="T77" fmla="*/ 61 h 115"/>
                  <a:gd name="T78" fmla="*/ 61 w 147"/>
                  <a:gd name="T79" fmla="*/ 60 h 115"/>
                  <a:gd name="T80" fmla="*/ 53 w 147"/>
                  <a:gd name="T81" fmla="*/ 59 h 115"/>
                  <a:gd name="T82" fmla="*/ 32 w 147"/>
                  <a:gd name="T83" fmla="*/ 59 h 115"/>
                  <a:gd name="T84" fmla="*/ 32 w 147"/>
                  <a:gd name="T85" fmla="*/ 91 h 115"/>
                  <a:gd name="T86" fmla="*/ 53 w 147"/>
                  <a:gd name="T87" fmla="*/ 91 h 115"/>
                  <a:gd name="T88" fmla="*/ 53 w 147"/>
                  <a:gd name="T89" fmla="*/ 91 h 115"/>
                  <a:gd name="T90" fmla="*/ 56 w 147"/>
                  <a:gd name="T91" fmla="*/ 91 h 115"/>
                  <a:gd name="T92" fmla="*/ 60 w 147"/>
                  <a:gd name="T93" fmla="*/ 90 h 115"/>
                  <a:gd name="T94" fmla="*/ 63 w 147"/>
                  <a:gd name="T95" fmla="*/ 88 h 115"/>
                  <a:gd name="T96" fmla="*/ 66 w 147"/>
                  <a:gd name="T97" fmla="*/ 86 h 115"/>
                  <a:gd name="T98" fmla="*/ 66 w 147"/>
                  <a:gd name="T99" fmla="*/ 86 h 115"/>
                  <a:gd name="T100" fmla="*/ 115 w 147"/>
                  <a:gd name="T101" fmla="*/ 0 h 115"/>
                  <a:gd name="T102" fmla="*/ 147 w 147"/>
                  <a:gd name="T103" fmla="*/ 0 h 115"/>
                  <a:gd name="T104" fmla="*/ 147 w 147"/>
                  <a:gd name="T105" fmla="*/ 115 h 115"/>
                  <a:gd name="T106" fmla="*/ 115 w 147"/>
                  <a:gd name="T107" fmla="*/ 115 h 115"/>
                  <a:gd name="T108" fmla="*/ 115 w 147"/>
                  <a:gd name="T109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47" h="115">
                    <a:moveTo>
                      <a:pt x="91" y="46"/>
                    </a:moveTo>
                    <a:lnTo>
                      <a:pt x="91" y="46"/>
                    </a:lnTo>
                    <a:lnTo>
                      <a:pt x="97" y="51"/>
                    </a:lnTo>
                    <a:lnTo>
                      <a:pt x="100" y="58"/>
                    </a:lnTo>
                    <a:lnTo>
                      <a:pt x="103" y="66"/>
                    </a:lnTo>
                    <a:lnTo>
                      <a:pt x="103" y="73"/>
                    </a:lnTo>
                    <a:lnTo>
                      <a:pt x="103" y="73"/>
                    </a:lnTo>
                    <a:lnTo>
                      <a:pt x="102" y="82"/>
                    </a:lnTo>
                    <a:lnTo>
                      <a:pt x="100" y="90"/>
                    </a:lnTo>
                    <a:lnTo>
                      <a:pt x="96" y="97"/>
                    </a:lnTo>
                    <a:lnTo>
                      <a:pt x="90" y="104"/>
                    </a:lnTo>
                    <a:lnTo>
                      <a:pt x="90" y="104"/>
                    </a:lnTo>
                    <a:lnTo>
                      <a:pt x="82" y="109"/>
                    </a:lnTo>
                    <a:lnTo>
                      <a:pt x="73" y="113"/>
                    </a:lnTo>
                    <a:lnTo>
                      <a:pt x="64" y="115"/>
                    </a:lnTo>
                    <a:lnTo>
                      <a:pt x="55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2" y="0"/>
                    </a:lnTo>
                    <a:lnTo>
                      <a:pt x="32" y="36"/>
                    </a:lnTo>
                    <a:lnTo>
                      <a:pt x="59" y="36"/>
                    </a:lnTo>
                    <a:lnTo>
                      <a:pt x="59" y="36"/>
                    </a:lnTo>
                    <a:lnTo>
                      <a:pt x="68" y="37"/>
                    </a:lnTo>
                    <a:lnTo>
                      <a:pt x="76" y="38"/>
                    </a:lnTo>
                    <a:lnTo>
                      <a:pt x="84" y="41"/>
                    </a:lnTo>
                    <a:lnTo>
                      <a:pt x="91" y="46"/>
                    </a:lnTo>
                    <a:lnTo>
                      <a:pt x="91" y="46"/>
                    </a:lnTo>
                    <a:close/>
                    <a:moveTo>
                      <a:pt x="66" y="86"/>
                    </a:moveTo>
                    <a:lnTo>
                      <a:pt x="66" y="86"/>
                    </a:lnTo>
                    <a:lnTo>
                      <a:pt x="68" y="84"/>
                    </a:lnTo>
                    <a:lnTo>
                      <a:pt x="69" y="81"/>
                    </a:lnTo>
                    <a:lnTo>
                      <a:pt x="70" y="77"/>
                    </a:lnTo>
                    <a:lnTo>
                      <a:pt x="71" y="74"/>
                    </a:lnTo>
                    <a:lnTo>
                      <a:pt x="71" y="74"/>
                    </a:lnTo>
                    <a:lnTo>
                      <a:pt x="70" y="71"/>
                    </a:lnTo>
                    <a:lnTo>
                      <a:pt x="70" y="68"/>
                    </a:lnTo>
                    <a:lnTo>
                      <a:pt x="68" y="65"/>
                    </a:lnTo>
                    <a:lnTo>
                      <a:pt x="66" y="63"/>
                    </a:lnTo>
                    <a:lnTo>
                      <a:pt x="64" y="61"/>
                    </a:lnTo>
                    <a:lnTo>
                      <a:pt x="61" y="60"/>
                    </a:lnTo>
                    <a:lnTo>
                      <a:pt x="53" y="59"/>
                    </a:lnTo>
                    <a:lnTo>
                      <a:pt x="32" y="59"/>
                    </a:lnTo>
                    <a:lnTo>
                      <a:pt x="32" y="91"/>
                    </a:lnTo>
                    <a:lnTo>
                      <a:pt x="53" y="91"/>
                    </a:lnTo>
                    <a:lnTo>
                      <a:pt x="53" y="91"/>
                    </a:lnTo>
                    <a:lnTo>
                      <a:pt x="56" y="91"/>
                    </a:lnTo>
                    <a:lnTo>
                      <a:pt x="60" y="90"/>
                    </a:lnTo>
                    <a:lnTo>
                      <a:pt x="63" y="88"/>
                    </a:lnTo>
                    <a:lnTo>
                      <a:pt x="66" y="86"/>
                    </a:lnTo>
                    <a:lnTo>
                      <a:pt x="66" y="86"/>
                    </a:lnTo>
                    <a:close/>
                    <a:moveTo>
                      <a:pt x="115" y="0"/>
                    </a:moveTo>
                    <a:lnTo>
                      <a:pt x="147" y="0"/>
                    </a:lnTo>
                    <a:lnTo>
                      <a:pt x="147" y="115"/>
                    </a:lnTo>
                    <a:lnTo>
                      <a:pt x="115" y="115"/>
                    </a:lnTo>
                    <a:lnTo>
                      <a:pt x="115" y="0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16">
                <a:extLst>
                  <a:ext uri="{FF2B5EF4-FFF2-40B4-BE49-F238E27FC236}">
                    <a16:creationId xmlns:a16="http://schemas.microsoft.com/office/drawing/2014/main" id="{4795BB64-1FAF-4928-A132-C060F44D533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344154" y="1535113"/>
                <a:ext cx="85725" cy="90487"/>
              </a:xfrm>
              <a:custGeom>
                <a:avLst/>
                <a:gdLst>
                  <a:gd name="T0" fmla="*/ 109 w 109"/>
                  <a:gd name="T1" fmla="*/ 0 h 115"/>
                  <a:gd name="T2" fmla="*/ 109 w 109"/>
                  <a:gd name="T3" fmla="*/ 115 h 115"/>
                  <a:gd name="T4" fmla="*/ 77 w 109"/>
                  <a:gd name="T5" fmla="*/ 115 h 115"/>
                  <a:gd name="T6" fmla="*/ 77 w 109"/>
                  <a:gd name="T7" fmla="*/ 71 h 115"/>
                  <a:gd name="T8" fmla="*/ 32 w 109"/>
                  <a:gd name="T9" fmla="*/ 71 h 115"/>
                  <a:gd name="T10" fmla="*/ 32 w 109"/>
                  <a:gd name="T11" fmla="*/ 115 h 115"/>
                  <a:gd name="T12" fmla="*/ 0 w 109"/>
                  <a:gd name="T13" fmla="*/ 115 h 115"/>
                  <a:gd name="T14" fmla="*/ 0 w 109"/>
                  <a:gd name="T15" fmla="*/ 0 h 115"/>
                  <a:gd name="T16" fmla="*/ 32 w 109"/>
                  <a:gd name="T17" fmla="*/ 0 h 115"/>
                  <a:gd name="T18" fmla="*/ 32 w 109"/>
                  <a:gd name="T19" fmla="*/ 43 h 115"/>
                  <a:gd name="T20" fmla="*/ 77 w 109"/>
                  <a:gd name="T21" fmla="*/ 43 h 115"/>
                  <a:gd name="T22" fmla="*/ 77 w 109"/>
                  <a:gd name="T23" fmla="*/ 0 h 115"/>
                  <a:gd name="T24" fmla="*/ 109 w 109"/>
                  <a:gd name="T25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9" h="115">
                    <a:moveTo>
                      <a:pt x="109" y="0"/>
                    </a:moveTo>
                    <a:lnTo>
                      <a:pt x="109" y="115"/>
                    </a:lnTo>
                    <a:lnTo>
                      <a:pt x="77" y="115"/>
                    </a:lnTo>
                    <a:lnTo>
                      <a:pt x="77" y="71"/>
                    </a:lnTo>
                    <a:lnTo>
                      <a:pt x="32" y="71"/>
                    </a:lnTo>
                    <a:lnTo>
                      <a:pt x="3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2" y="0"/>
                    </a:lnTo>
                    <a:lnTo>
                      <a:pt x="32" y="43"/>
                    </a:lnTo>
                    <a:lnTo>
                      <a:pt x="77" y="43"/>
                    </a:lnTo>
                    <a:lnTo>
                      <a:pt x="77" y="0"/>
                    </a:lnTo>
                    <a:lnTo>
                      <a:pt x="109" y="0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17">
                <a:extLst>
                  <a:ext uri="{FF2B5EF4-FFF2-40B4-BE49-F238E27FC236}">
                    <a16:creationId xmlns:a16="http://schemas.microsoft.com/office/drawing/2014/main" id="{8B2C2F09-CBB4-4646-AF73-A6E9D1E08744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447341" y="1533525"/>
                <a:ext cx="101600" cy="95250"/>
              </a:xfrm>
              <a:custGeom>
                <a:avLst/>
                <a:gdLst>
                  <a:gd name="T0" fmla="*/ 31 w 128"/>
                  <a:gd name="T1" fmla="*/ 112 h 120"/>
                  <a:gd name="T2" fmla="*/ 21 w 128"/>
                  <a:gd name="T3" fmla="*/ 105 h 120"/>
                  <a:gd name="T4" fmla="*/ 6 w 128"/>
                  <a:gd name="T5" fmla="*/ 88 h 120"/>
                  <a:gd name="T6" fmla="*/ 0 w 128"/>
                  <a:gd name="T7" fmla="*/ 67 h 120"/>
                  <a:gd name="T8" fmla="*/ 2 w 128"/>
                  <a:gd name="T9" fmla="*/ 43 h 120"/>
                  <a:gd name="T10" fmla="*/ 6 w 128"/>
                  <a:gd name="T11" fmla="*/ 32 h 120"/>
                  <a:gd name="T12" fmla="*/ 11 w 128"/>
                  <a:gd name="T13" fmla="*/ 25 h 120"/>
                  <a:gd name="T14" fmla="*/ 23 w 128"/>
                  <a:gd name="T15" fmla="*/ 12 h 120"/>
                  <a:gd name="T16" fmla="*/ 31 w 128"/>
                  <a:gd name="T17" fmla="*/ 8 h 120"/>
                  <a:gd name="T18" fmla="*/ 46 w 128"/>
                  <a:gd name="T19" fmla="*/ 2 h 120"/>
                  <a:gd name="T20" fmla="*/ 64 w 128"/>
                  <a:gd name="T21" fmla="*/ 0 h 120"/>
                  <a:gd name="T22" fmla="*/ 81 w 128"/>
                  <a:gd name="T23" fmla="*/ 2 h 120"/>
                  <a:gd name="T24" fmla="*/ 97 w 128"/>
                  <a:gd name="T25" fmla="*/ 8 h 120"/>
                  <a:gd name="T26" fmla="*/ 102 w 128"/>
                  <a:gd name="T27" fmla="*/ 11 h 120"/>
                  <a:gd name="T28" fmla="*/ 115 w 128"/>
                  <a:gd name="T29" fmla="*/ 22 h 120"/>
                  <a:gd name="T30" fmla="*/ 125 w 128"/>
                  <a:gd name="T31" fmla="*/ 42 h 120"/>
                  <a:gd name="T32" fmla="*/ 128 w 128"/>
                  <a:gd name="T33" fmla="*/ 65 h 120"/>
                  <a:gd name="T34" fmla="*/ 124 w 128"/>
                  <a:gd name="T35" fmla="*/ 82 h 120"/>
                  <a:gd name="T36" fmla="*/ 121 w 128"/>
                  <a:gd name="T37" fmla="*/ 87 h 120"/>
                  <a:gd name="T38" fmla="*/ 111 w 128"/>
                  <a:gd name="T39" fmla="*/ 101 h 120"/>
                  <a:gd name="T40" fmla="*/ 97 w 128"/>
                  <a:gd name="T41" fmla="*/ 112 h 120"/>
                  <a:gd name="T42" fmla="*/ 89 w 128"/>
                  <a:gd name="T43" fmla="*/ 115 h 120"/>
                  <a:gd name="T44" fmla="*/ 72 w 128"/>
                  <a:gd name="T45" fmla="*/ 119 h 120"/>
                  <a:gd name="T46" fmla="*/ 55 w 128"/>
                  <a:gd name="T47" fmla="*/ 119 h 120"/>
                  <a:gd name="T48" fmla="*/ 38 w 128"/>
                  <a:gd name="T49" fmla="*/ 115 h 120"/>
                  <a:gd name="T50" fmla="*/ 31 w 128"/>
                  <a:gd name="T51" fmla="*/ 112 h 120"/>
                  <a:gd name="T52" fmla="*/ 80 w 128"/>
                  <a:gd name="T53" fmla="*/ 89 h 120"/>
                  <a:gd name="T54" fmla="*/ 91 w 128"/>
                  <a:gd name="T55" fmla="*/ 77 h 120"/>
                  <a:gd name="T56" fmla="*/ 94 w 128"/>
                  <a:gd name="T57" fmla="*/ 69 h 120"/>
                  <a:gd name="T58" fmla="*/ 94 w 128"/>
                  <a:gd name="T59" fmla="*/ 52 h 120"/>
                  <a:gd name="T60" fmla="*/ 91 w 128"/>
                  <a:gd name="T61" fmla="*/ 42 h 120"/>
                  <a:gd name="T62" fmla="*/ 80 w 128"/>
                  <a:gd name="T63" fmla="*/ 31 h 120"/>
                  <a:gd name="T64" fmla="*/ 72 w 128"/>
                  <a:gd name="T65" fmla="*/ 28 h 120"/>
                  <a:gd name="T66" fmla="*/ 55 w 128"/>
                  <a:gd name="T67" fmla="*/ 28 h 120"/>
                  <a:gd name="T68" fmla="*/ 47 w 128"/>
                  <a:gd name="T69" fmla="*/ 31 h 120"/>
                  <a:gd name="T70" fmla="*/ 36 w 128"/>
                  <a:gd name="T71" fmla="*/ 42 h 120"/>
                  <a:gd name="T72" fmla="*/ 33 w 128"/>
                  <a:gd name="T73" fmla="*/ 52 h 120"/>
                  <a:gd name="T74" fmla="*/ 33 w 128"/>
                  <a:gd name="T75" fmla="*/ 69 h 120"/>
                  <a:gd name="T76" fmla="*/ 36 w 128"/>
                  <a:gd name="T77" fmla="*/ 77 h 120"/>
                  <a:gd name="T78" fmla="*/ 47 w 128"/>
                  <a:gd name="T79" fmla="*/ 89 h 120"/>
                  <a:gd name="T80" fmla="*/ 55 w 128"/>
                  <a:gd name="T81" fmla="*/ 92 h 120"/>
                  <a:gd name="T82" fmla="*/ 72 w 128"/>
                  <a:gd name="T83" fmla="*/ 92 h 120"/>
                  <a:gd name="T84" fmla="*/ 80 w 128"/>
                  <a:gd name="T85" fmla="*/ 89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28" h="120">
                    <a:moveTo>
                      <a:pt x="31" y="112"/>
                    </a:moveTo>
                    <a:lnTo>
                      <a:pt x="31" y="112"/>
                    </a:lnTo>
                    <a:lnTo>
                      <a:pt x="25" y="109"/>
                    </a:lnTo>
                    <a:lnTo>
                      <a:pt x="21" y="105"/>
                    </a:lnTo>
                    <a:lnTo>
                      <a:pt x="13" y="97"/>
                    </a:lnTo>
                    <a:lnTo>
                      <a:pt x="6" y="88"/>
                    </a:lnTo>
                    <a:lnTo>
                      <a:pt x="2" y="78"/>
                    </a:lnTo>
                    <a:lnTo>
                      <a:pt x="0" y="67"/>
                    </a:lnTo>
                    <a:lnTo>
                      <a:pt x="0" y="55"/>
                    </a:lnTo>
                    <a:lnTo>
                      <a:pt x="2" y="43"/>
                    </a:lnTo>
                    <a:lnTo>
                      <a:pt x="4" y="38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11" y="25"/>
                    </a:lnTo>
                    <a:lnTo>
                      <a:pt x="16" y="18"/>
                    </a:lnTo>
                    <a:lnTo>
                      <a:pt x="23" y="12"/>
                    </a:lnTo>
                    <a:lnTo>
                      <a:pt x="31" y="8"/>
                    </a:lnTo>
                    <a:lnTo>
                      <a:pt x="31" y="8"/>
                    </a:lnTo>
                    <a:lnTo>
                      <a:pt x="38" y="4"/>
                    </a:lnTo>
                    <a:lnTo>
                      <a:pt x="46" y="2"/>
                    </a:lnTo>
                    <a:lnTo>
                      <a:pt x="55" y="0"/>
                    </a:lnTo>
                    <a:lnTo>
                      <a:pt x="64" y="0"/>
                    </a:lnTo>
                    <a:lnTo>
                      <a:pt x="72" y="0"/>
                    </a:lnTo>
                    <a:lnTo>
                      <a:pt x="81" y="2"/>
                    </a:lnTo>
                    <a:lnTo>
                      <a:pt x="89" y="4"/>
                    </a:lnTo>
                    <a:lnTo>
                      <a:pt x="97" y="8"/>
                    </a:lnTo>
                    <a:lnTo>
                      <a:pt x="97" y="8"/>
                    </a:lnTo>
                    <a:lnTo>
                      <a:pt x="102" y="11"/>
                    </a:lnTo>
                    <a:lnTo>
                      <a:pt x="106" y="14"/>
                    </a:lnTo>
                    <a:lnTo>
                      <a:pt x="115" y="22"/>
                    </a:lnTo>
                    <a:lnTo>
                      <a:pt x="121" y="32"/>
                    </a:lnTo>
                    <a:lnTo>
                      <a:pt x="125" y="42"/>
                    </a:lnTo>
                    <a:lnTo>
                      <a:pt x="127" y="54"/>
                    </a:lnTo>
                    <a:lnTo>
                      <a:pt x="128" y="65"/>
                    </a:lnTo>
                    <a:lnTo>
                      <a:pt x="126" y="76"/>
                    </a:lnTo>
                    <a:lnTo>
                      <a:pt x="124" y="82"/>
                    </a:lnTo>
                    <a:lnTo>
                      <a:pt x="121" y="87"/>
                    </a:lnTo>
                    <a:lnTo>
                      <a:pt x="121" y="87"/>
                    </a:lnTo>
                    <a:lnTo>
                      <a:pt x="116" y="95"/>
                    </a:lnTo>
                    <a:lnTo>
                      <a:pt x="111" y="101"/>
                    </a:lnTo>
                    <a:lnTo>
                      <a:pt x="104" y="107"/>
                    </a:lnTo>
                    <a:lnTo>
                      <a:pt x="97" y="112"/>
                    </a:lnTo>
                    <a:lnTo>
                      <a:pt x="97" y="112"/>
                    </a:lnTo>
                    <a:lnTo>
                      <a:pt x="89" y="115"/>
                    </a:lnTo>
                    <a:lnTo>
                      <a:pt x="81" y="118"/>
                    </a:lnTo>
                    <a:lnTo>
                      <a:pt x="72" y="119"/>
                    </a:lnTo>
                    <a:lnTo>
                      <a:pt x="64" y="120"/>
                    </a:lnTo>
                    <a:lnTo>
                      <a:pt x="55" y="119"/>
                    </a:lnTo>
                    <a:lnTo>
                      <a:pt x="46" y="118"/>
                    </a:lnTo>
                    <a:lnTo>
                      <a:pt x="38" y="115"/>
                    </a:lnTo>
                    <a:lnTo>
                      <a:pt x="31" y="112"/>
                    </a:lnTo>
                    <a:lnTo>
                      <a:pt x="31" y="112"/>
                    </a:lnTo>
                    <a:close/>
                    <a:moveTo>
                      <a:pt x="80" y="89"/>
                    </a:moveTo>
                    <a:lnTo>
                      <a:pt x="80" y="89"/>
                    </a:lnTo>
                    <a:lnTo>
                      <a:pt x="86" y="84"/>
                    </a:lnTo>
                    <a:lnTo>
                      <a:pt x="91" y="77"/>
                    </a:lnTo>
                    <a:lnTo>
                      <a:pt x="91" y="77"/>
                    </a:lnTo>
                    <a:lnTo>
                      <a:pt x="94" y="69"/>
                    </a:lnTo>
                    <a:lnTo>
                      <a:pt x="95" y="60"/>
                    </a:lnTo>
                    <a:lnTo>
                      <a:pt x="94" y="52"/>
                    </a:lnTo>
                    <a:lnTo>
                      <a:pt x="91" y="42"/>
                    </a:lnTo>
                    <a:lnTo>
                      <a:pt x="91" y="42"/>
                    </a:lnTo>
                    <a:lnTo>
                      <a:pt x="86" y="36"/>
                    </a:lnTo>
                    <a:lnTo>
                      <a:pt x="80" y="31"/>
                    </a:lnTo>
                    <a:lnTo>
                      <a:pt x="80" y="31"/>
                    </a:lnTo>
                    <a:lnTo>
                      <a:pt x="72" y="28"/>
                    </a:lnTo>
                    <a:lnTo>
                      <a:pt x="64" y="27"/>
                    </a:lnTo>
                    <a:lnTo>
                      <a:pt x="55" y="28"/>
                    </a:lnTo>
                    <a:lnTo>
                      <a:pt x="47" y="31"/>
                    </a:lnTo>
                    <a:lnTo>
                      <a:pt x="47" y="31"/>
                    </a:lnTo>
                    <a:lnTo>
                      <a:pt x="41" y="36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3" y="52"/>
                    </a:lnTo>
                    <a:lnTo>
                      <a:pt x="32" y="60"/>
                    </a:lnTo>
                    <a:lnTo>
                      <a:pt x="33" y="69"/>
                    </a:lnTo>
                    <a:lnTo>
                      <a:pt x="36" y="77"/>
                    </a:lnTo>
                    <a:lnTo>
                      <a:pt x="36" y="77"/>
                    </a:lnTo>
                    <a:lnTo>
                      <a:pt x="41" y="84"/>
                    </a:lnTo>
                    <a:lnTo>
                      <a:pt x="47" y="89"/>
                    </a:lnTo>
                    <a:lnTo>
                      <a:pt x="47" y="89"/>
                    </a:lnTo>
                    <a:lnTo>
                      <a:pt x="55" y="92"/>
                    </a:lnTo>
                    <a:lnTo>
                      <a:pt x="64" y="93"/>
                    </a:lnTo>
                    <a:lnTo>
                      <a:pt x="72" y="92"/>
                    </a:lnTo>
                    <a:lnTo>
                      <a:pt x="80" y="89"/>
                    </a:lnTo>
                    <a:lnTo>
                      <a:pt x="80" y="89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18">
                <a:extLst>
                  <a:ext uri="{FF2B5EF4-FFF2-40B4-BE49-F238E27FC236}">
                    <a16:creationId xmlns:a16="http://schemas.microsoft.com/office/drawing/2014/main" id="{3E2B1613-BD94-4893-854D-C66A00AAF4C1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564816" y="1535113"/>
                <a:ext cx="84138" cy="90487"/>
              </a:xfrm>
              <a:custGeom>
                <a:avLst/>
                <a:gdLst>
                  <a:gd name="T0" fmla="*/ 99 w 105"/>
                  <a:gd name="T1" fmla="*/ 66 h 115"/>
                  <a:gd name="T2" fmla="*/ 103 w 105"/>
                  <a:gd name="T3" fmla="*/ 74 h 115"/>
                  <a:gd name="T4" fmla="*/ 105 w 105"/>
                  <a:gd name="T5" fmla="*/ 83 h 115"/>
                  <a:gd name="T6" fmla="*/ 104 w 105"/>
                  <a:gd name="T7" fmla="*/ 90 h 115"/>
                  <a:gd name="T8" fmla="*/ 98 w 105"/>
                  <a:gd name="T9" fmla="*/ 102 h 115"/>
                  <a:gd name="T10" fmla="*/ 93 w 105"/>
                  <a:gd name="T11" fmla="*/ 107 h 115"/>
                  <a:gd name="T12" fmla="*/ 77 w 105"/>
                  <a:gd name="T13" fmla="*/ 114 h 115"/>
                  <a:gd name="T14" fmla="*/ 59 w 105"/>
                  <a:gd name="T15" fmla="*/ 115 h 115"/>
                  <a:gd name="T16" fmla="*/ 0 w 105"/>
                  <a:gd name="T17" fmla="*/ 0 h 115"/>
                  <a:gd name="T18" fmla="*/ 56 w 105"/>
                  <a:gd name="T19" fmla="*/ 0 h 115"/>
                  <a:gd name="T20" fmla="*/ 73 w 105"/>
                  <a:gd name="T21" fmla="*/ 2 h 115"/>
                  <a:gd name="T22" fmla="*/ 88 w 105"/>
                  <a:gd name="T23" fmla="*/ 8 h 115"/>
                  <a:gd name="T24" fmla="*/ 93 w 105"/>
                  <a:gd name="T25" fmla="*/ 12 h 115"/>
                  <a:gd name="T26" fmla="*/ 99 w 105"/>
                  <a:gd name="T27" fmla="*/ 24 h 115"/>
                  <a:gd name="T28" fmla="*/ 99 w 105"/>
                  <a:gd name="T29" fmla="*/ 30 h 115"/>
                  <a:gd name="T30" fmla="*/ 95 w 105"/>
                  <a:gd name="T31" fmla="*/ 45 h 115"/>
                  <a:gd name="T32" fmla="*/ 90 w 105"/>
                  <a:gd name="T33" fmla="*/ 52 h 115"/>
                  <a:gd name="T34" fmla="*/ 84 w 105"/>
                  <a:gd name="T35" fmla="*/ 56 h 115"/>
                  <a:gd name="T36" fmla="*/ 92 w 105"/>
                  <a:gd name="T37" fmla="*/ 60 h 115"/>
                  <a:gd name="T38" fmla="*/ 99 w 105"/>
                  <a:gd name="T39" fmla="*/ 66 h 115"/>
                  <a:gd name="T40" fmla="*/ 32 w 105"/>
                  <a:gd name="T41" fmla="*/ 46 h 115"/>
                  <a:gd name="T42" fmla="*/ 53 w 105"/>
                  <a:gd name="T43" fmla="*/ 46 h 115"/>
                  <a:gd name="T44" fmla="*/ 63 w 105"/>
                  <a:gd name="T45" fmla="*/ 43 h 115"/>
                  <a:gd name="T46" fmla="*/ 67 w 105"/>
                  <a:gd name="T47" fmla="*/ 35 h 115"/>
                  <a:gd name="T48" fmla="*/ 66 w 105"/>
                  <a:gd name="T49" fmla="*/ 30 h 115"/>
                  <a:gd name="T50" fmla="*/ 59 w 105"/>
                  <a:gd name="T51" fmla="*/ 24 h 115"/>
                  <a:gd name="T52" fmla="*/ 32 w 105"/>
                  <a:gd name="T53" fmla="*/ 23 h 115"/>
                  <a:gd name="T54" fmla="*/ 72 w 105"/>
                  <a:gd name="T55" fmla="*/ 80 h 115"/>
                  <a:gd name="T56" fmla="*/ 71 w 105"/>
                  <a:gd name="T57" fmla="*/ 75 h 115"/>
                  <a:gd name="T58" fmla="*/ 64 w 105"/>
                  <a:gd name="T59" fmla="*/ 69 h 115"/>
                  <a:gd name="T60" fmla="*/ 32 w 105"/>
                  <a:gd name="T61" fmla="*/ 69 h 115"/>
                  <a:gd name="T62" fmla="*/ 58 w 105"/>
                  <a:gd name="T63" fmla="*/ 92 h 115"/>
                  <a:gd name="T64" fmla="*/ 64 w 105"/>
                  <a:gd name="T65" fmla="*/ 91 h 115"/>
                  <a:gd name="T66" fmla="*/ 71 w 105"/>
                  <a:gd name="T67" fmla="*/ 85 h 115"/>
                  <a:gd name="T68" fmla="*/ 72 w 105"/>
                  <a:gd name="T69" fmla="*/ 8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5" h="115">
                    <a:moveTo>
                      <a:pt x="99" y="66"/>
                    </a:moveTo>
                    <a:lnTo>
                      <a:pt x="99" y="66"/>
                    </a:lnTo>
                    <a:lnTo>
                      <a:pt x="102" y="70"/>
                    </a:lnTo>
                    <a:lnTo>
                      <a:pt x="103" y="74"/>
                    </a:lnTo>
                    <a:lnTo>
                      <a:pt x="104" y="78"/>
                    </a:lnTo>
                    <a:lnTo>
                      <a:pt x="105" y="83"/>
                    </a:lnTo>
                    <a:lnTo>
                      <a:pt x="105" y="83"/>
                    </a:lnTo>
                    <a:lnTo>
                      <a:pt x="104" y="90"/>
                    </a:lnTo>
                    <a:lnTo>
                      <a:pt x="102" y="96"/>
                    </a:lnTo>
                    <a:lnTo>
                      <a:pt x="98" y="102"/>
                    </a:lnTo>
                    <a:lnTo>
                      <a:pt x="93" y="107"/>
                    </a:lnTo>
                    <a:lnTo>
                      <a:pt x="93" y="107"/>
                    </a:lnTo>
                    <a:lnTo>
                      <a:pt x="85" y="111"/>
                    </a:lnTo>
                    <a:lnTo>
                      <a:pt x="77" y="114"/>
                    </a:lnTo>
                    <a:lnTo>
                      <a:pt x="68" y="115"/>
                    </a:lnTo>
                    <a:lnTo>
                      <a:pt x="59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5" y="1"/>
                    </a:lnTo>
                    <a:lnTo>
                      <a:pt x="73" y="2"/>
                    </a:lnTo>
                    <a:lnTo>
                      <a:pt x="81" y="4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93" y="12"/>
                    </a:lnTo>
                    <a:lnTo>
                      <a:pt x="97" y="18"/>
                    </a:lnTo>
                    <a:lnTo>
                      <a:pt x="99" y="24"/>
                    </a:lnTo>
                    <a:lnTo>
                      <a:pt x="99" y="30"/>
                    </a:lnTo>
                    <a:lnTo>
                      <a:pt x="99" y="30"/>
                    </a:lnTo>
                    <a:lnTo>
                      <a:pt x="98" y="38"/>
                    </a:lnTo>
                    <a:lnTo>
                      <a:pt x="95" y="45"/>
                    </a:lnTo>
                    <a:lnTo>
                      <a:pt x="95" y="45"/>
                    </a:lnTo>
                    <a:lnTo>
                      <a:pt x="90" y="52"/>
                    </a:lnTo>
                    <a:lnTo>
                      <a:pt x="84" y="56"/>
                    </a:lnTo>
                    <a:lnTo>
                      <a:pt x="84" y="56"/>
                    </a:lnTo>
                    <a:lnTo>
                      <a:pt x="88" y="57"/>
                    </a:lnTo>
                    <a:lnTo>
                      <a:pt x="92" y="60"/>
                    </a:lnTo>
                    <a:lnTo>
                      <a:pt x="96" y="62"/>
                    </a:lnTo>
                    <a:lnTo>
                      <a:pt x="99" y="66"/>
                    </a:lnTo>
                    <a:lnTo>
                      <a:pt x="99" y="66"/>
                    </a:lnTo>
                    <a:close/>
                    <a:moveTo>
                      <a:pt x="32" y="46"/>
                    </a:moveTo>
                    <a:lnTo>
                      <a:pt x="53" y="46"/>
                    </a:lnTo>
                    <a:lnTo>
                      <a:pt x="53" y="46"/>
                    </a:lnTo>
                    <a:lnTo>
                      <a:pt x="59" y="45"/>
                    </a:lnTo>
                    <a:lnTo>
                      <a:pt x="63" y="43"/>
                    </a:lnTo>
                    <a:lnTo>
                      <a:pt x="66" y="40"/>
                    </a:lnTo>
                    <a:lnTo>
                      <a:pt x="67" y="35"/>
                    </a:lnTo>
                    <a:lnTo>
                      <a:pt x="67" y="35"/>
                    </a:lnTo>
                    <a:lnTo>
                      <a:pt x="66" y="30"/>
                    </a:lnTo>
                    <a:lnTo>
                      <a:pt x="63" y="26"/>
                    </a:lnTo>
                    <a:lnTo>
                      <a:pt x="59" y="24"/>
                    </a:lnTo>
                    <a:lnTo>
                      <a:pt x="53" y="23"/>
                    </a:lnTo>
                    <a:lnTo>
                      <a:pt x="32" y="23"/>
                    </a:lnTo>
                    <a:lnTo>
                      <a:pt x="32" y="46"/>
                    </a:lnTo>
                    <a:close/>
                    <a:moveTo>
                      <a:pt x="72" y="80"/>
                    </a:moveTo>
                    <a:lnTo>
                      <a:pt x="72" y="80"/>
                    </a:lnTo>
                    <a:lnTo>
                      <a:pt x="71" y="75"/>
                    </a:lnTo>
                    <a:lnTo>
                      <a:pt x="69" y="72"/>
                    </a:lnTo>
                    <a:lnTo>
                      <a:pt x="64" y="69"/>
                    </a:lnTo>
                    <a:lnTo>
                      <a:pt x="58" y="69"/>
                    </a:lnTo>
                    <a:lnTo>
                      <a:pt x="32" y="69"/>
                    </a:lnTo>
                    <a:lnTo>
                      <a:pt x="32" y="92"/>
                    </a:lnTo>
                    <a:lnTo>
                      <a:pt x="58" y="92"/>
                    </a:lnTo>
                    <a:lnTo>
                      <a:pt x="58" y="92"/>
                    </a:lnTo>
                    <a:lnTo>
                      <a:pt x="64" y="91"/>
                    </a:lnTo>
                    <a:lnTo>
                      <a:pt x="69" y="89"/>
                    </a:lnTo>
                    <a:lnTo>
                      <a:pt x="71" y="85"/>
                    </a:lnTo>
                    <a:lnTo>
                      <a:pt x="72" y="80"/>
                    </a:lnTo>
                    <a:lnTo>
                      <a:pt x="72" y="80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19">
                <a:extLst>
                  <a:ext uri="{FF2B5EF4-FFF2-40B4-BE49-F238E27FC236}">
                    <a16:creationId xmlns:a16="http://schemas.microsoft.com/office/drawing/2014/main" id="{6FECE374-1763-4567-82A2-D94833C95EA9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664829" y="1535113"/>
                <a:ext cx="115888" cy="90487"/>
              </a:xfrm>
              <a:custGeom>
                <a:avLst/>
                <a:gdLst>
                  <a:gd name="T0" fmla="*/ 92 w 147"/>
                  <a:gd name="T1" fmla="*/ 46 h 115"/>
                  <a:gd name="T2" fmla="*/ 92 w 147"/>
                  <a:gd name="T3" fmla="*/ 46 h 115"/>
                  <a:gd name="T4" fmla="*/ 97 w 147"/>
                  <a:gd name="T5" fmla="*/ 53 h 115"/>
                  <a:gd name="T6" fmla="*/ 101 w 147"/>
                  <a:gd name="T7" fmla="*/ 60 h 115"/>
                  <a:gd name="T8" fmla="*/ 103 w 147"/>
                  <a:gd name="T9" fmla="*/ 67 h 115"/>
                  <a:gd name="T10" fmla="*/ 103 w 147"/>
                  <a:gd name="T11" fmla="*/ 75 h 115"/>
                  <a:gd name="T12" fmla="*/ 103 w 147"/>
                  <a:gd name="T13" fmla="*/ 75 h 115"/>
                  <a:gd name="T14" fmla="*/ 103 w 147"/>
                  <a:gd name="T15" fmla="*/ 83 h 115"/>
                  <a:gd name="T16" fmla="*/ 100 w 147"/>
                  <a:gd name="T17" fmla="*/ 91 h 115"/>
                  <a:gd name="T18" fmla="*/ 96 w 147"/>
                  <a:gd name="T19" fmla="*/ 99 h 115"/>
                  <a:gd name="T20" fmla="*/ 90 w 147"/>
                  <a:gd name="T21" fmla="*/ 105 h 115"/>
                  <a:gd name="T22" fmla="*/ 90 w 147"/>
                  <a:gd name="T23" fmla="*/ 105 h 115"/>
                  <a:gd name="T24" fmla="*/ 82 w 147"/>
                  <a:gd name="T25" fmla="*/ 110 h 115"/>
                  <a:gd name="T26" fmla="*/ 74 w 147"/>
                  <a:gd name="T27" fmla="*/ 113 h 115"/>
                  <a:gd name="T28" fmla="*/ 65 w 147"/>
                  <a:gd name="T29" fmla="*/ 115 h 115"/>
                  <a:gd name="T30" fmla="*/ 55 w 147"/>
                  <a:gd name="T31" fmla="*/ 115 h 115"/>
                  <a:gd name="T32" fmla="*/ 0 w 147"/>
                  <a:gd name="T33" fmla="*/ 115 h 115"/>
                  <a:gd name="T34" fmla="*/ 0 w 147"/>
                  <a:gd name="T35" fmla="*/ 1 h 115"/>
                  <a:gd name="T36" fmla="*/ 32 w 147"/>
                  <a:gd name="T37" fmla="*/ 1 h 115"/>
                  <a:gd name="T38" fmla="*/ 32 w 147"/>
                  <a:gd name="T39" fmla="*/ 37 h 115"/>
                  <a:gd name="T40" fmla="*/ 59 w 147"/>
                  <a:gd name="T41" fmla="*/ 37 h 115"/>
                  <a:gd name="T42" fmla="*/ 59 w 147"/>
                  <a:gd name="T43" fmla="*/ 37 h 115"/>
                  <a:gd name="T44" fmla="*/ 68 w 147"/>
                  <a:gd name="T45" fmla="*/ 37 h 115"/>
                  <a:gd name="T46" fmla="*/ 76 w 147"/>
                  <a:gd name="T47" fmla="*/ 39 h 115"/>
                  <a:gd name="T48" fmla="*/ 84 w 147"/>
                  <a:gd name="T49" fmla="*/ 42 h 115"/>
                  <a:gd name="T50" fmla="*/ 92 w 147"/>
                  <a:gd name="T51" fmla="*/ 46 h 115"/>
                  <a:gd name="T52" fmla="*/ 92 w 147"/>
                  <a:gd name="T53" fmla="*/ 46 h 115"/>
                  <a:gd name="T54" fmla="*/ 66 w 147"/>
                  <a:gd name="T55" fmla="*/ 88 h 115"/>
                  <a:gd name="T56" fmla="*/ 66 w 147"/>
                  <a:gd name="T57" fmla="*/ 88 h 115"/>
                  <a:gd name="T58" fmla="*/ 68 w 147"/>
                  <a:gd name="T59" fmla="*/ 85 h 115"/>
                  <a:gd name="T60" fmla="*/ 70 w 147"/>
                  <a:gd name="T61" fmla="*/ 82 h 115"/>
                  <a:gd name="T62" fmla="*/ 71 w 147"/>
                  <a:gd name="T63" fmla="*/ 79 h 115"/>
                  <a:gd name="T64" fmla="*/ 71 w 147"/>
                  <a:gd name="T65" fmla="*/ 76 h 115"/>
                  <a:gd name="T66" fmla="*/ 71 w 147"/>
                  <a:gd name="T67" fmla="*/ 76 h 115"/>
                  <a:gd name="T68" fmla="*/ 71 w 147"/>
                  <a:gd name="T69" fmla="*/ 72 h 115"/>
                  <a:gd name="T70" fmla="*/ 70 w 147"/>
                  <a:gd name="T71" fmla="*/ 69 h 115"/>
                  <a:gd name="T72" fmla="*/ 68 w 147"/>
                  <a:gd name="T73" fmla="*/ 67 h 115"/>
                  <a:gd name="T74" fmla="*/ 66 w 147"/>
                  <a:gd name="T75" fmla="*/ 64 h 115"/>
                  <a:gd name="T76" fmla="*/ 64 w 147"/>
                  <a:gd name="T77" fmla="*/ 63 h 115"/>
                  <a:gd name="T78" fmla="*/ 61 w 147"/>
                  <a:gd name="T79" fmla="*/ 62 h 115"/>
                  <a:gd name="T80" fmla="*/ 53 w 147"/>
                  <a:gd name="T81" fmla="*/ 61 h 115"/>
                  <a:gd name="T82" fmla="*/ 32 w 147"/>
                  <a:gd name="T83" fmla="*/ 61 h 115"/>
                  <a:gd name="T84" fmla="*/ 32 w 147"/>
                  <a:gd name="T85" fmla="*/ 92 h 115"/>
                  <a:gd name="T86" fmla="*/ 53 w 147"/>
                  <a:gd name="T87" fmla="*/ 92 h 115"/>
                  <a:gd name="T88" fmla="*/ 53 w 147"/>
                  <a:gd name="T89" fmla="*/ 92 h 115"/>
                  <a:gd name="T90" fmla="*/ 57 w 147"/>
                  <a:gd name="T91" fmla="*/ 92 h 115"/>
                  <a:gd name="T92" fmla="*/ 60 w 147"/>
                  <a:gd name="T93" fmla="*/ 91 h 115"/>
                  <a:gd name="T94" fmla="*/ 63 w 147"/>
                  <a:gd name="T95" fmla="*/ 90 h 115"/>
                  <a:gd name="T96" fmla="*/ 66 w 147"/>
                  <a:gd name="T97" fmla="*/ 88 h 115"/>
                  <a:gd name="T98" fmla="*/ 66 w 147"/>
                  <a:gd name="T99" fmla="*/ 88 h 115"/>
                  <a:gd name="T100" fmla="*/ 116 w 147"/>
                  <a:gd name="T101" fmla="*/ 0 h 115"/>
                  <a:gd name="T102" fmla="*/ 147 w 147"/>
                  <a:gd name="T103" fmla="*/ 0 h 115"/>
                  <a:gd name="T104" fmla="*/ 147 w 147"/>
                  <a:gd name="T105" fmla="*/ 115 h 115"/>
                  <a:gd name="T106" fmla="*/ 116 w 147"/>
                  <a:gd name="T107" fmla="*/ 115 h 115"/>
                  <a:gd name="T108" fmla="*/ 116 w 147"/>
                  <a:gd name="T109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47" h="115">
                    <a:moveTo>
                      <a:pt x="92" y="46"/>
                    </a:moveTo>
                    <a:lnTo>
                      <a:pt x="92" y="46"/>
                    </a:lnTo>
                    <a:lnTo>
                      <a:pt x="97" y="53"/>
                    </a:lnTo>
                    <a:lnTo>
                      <a:pt x="101" y="60"/>
                    </a:lnTo>
                    <a:lnTo>
                      <a:pt x="103" y="67"/>
                    </a:lnTo>
                    <a:lnTo>
                      <a:pt x="103" y="75"/>
                    </a:lnTo>
                    <a:lnTo>
                      <a:pt x="103" y="75"/>
                    </a:lnTo>
                    <a:lnTo>
                      <a:pt x="103" y="83"/>
                    </a:lnTo>
                    <a:lnTo>
                      <a:pt x="100" y="91"/>
                    </a:lnTo>
                    <a:lnTo>
                      <a:pt x="96" y="99"/>
                    </a:lnTo>
                    <a:lnTo>
                      <a:pt x="90" y="105"/>
                    </a:lnTo>
                    <a:lnTo>
                      <a:pt x="90" y="105"/>
                    </a:lnTo>
                    <a:lnTo>
                      <a:pt x="82" y="110"/>
                    </a:lnTo>
                    <a:lnTo>
                      <a:pt x="74" y="113"/>
                    </a:lnTo>
                    <a:lnTo>
                      <a:pt x="65" y="115"/>
                    </a:lnTo>
                    <a:lnTo>
                      <a:pt x="55" y="115"/>
                    </a:lnTo>
                    <a:lnTo>
                      <a:pt x="0" y="115"/>
                    </a:lnTo>
                    <a:lnTo>
                      <a:pt x="0" y="1"/>
                    </a:lnTo>
                    <a:lnTo>
                      <a:pt x="32" y="1"/>
                    </a:lnTo>
                    <a:lnTo>
                      <a:pt x="32" y="37"/>
                    </a:lnTo>
                    <a:lnTo>
                      <a:pt x="59" y="37"/>
                    </a:lnTo>
                    <a:lnTo>
                      <a:pt x="59" y="37"/>
                    </a:lnTo>
                    <a:lnTo>
                      <a:pt x="68" y="37"/>
                    </a:lnTo>
                    <a:lnTo>
                      <a:pt x="76" y="39"/>
                    </a:lnTo>
                    <a:lnTo>
                      <a:pt x="84" y="42"/>
                    </a:lnTo>
                    <a:lnTo>
                      <a:pt x="92" y="46"/>
                    </a:lnTo>
                    <a:lnTo>
                      <a:pt x="92" y="46"/>
                    </a:lnTo>
                    <a:close/>
                    <a:moveTo>
                      <a:pt x="66" y="88"/>
                    </a:moveTo>
                    <a:lnTo>
                      <a:pt x="66" y="88"/>
                    </a:lnTo>
                    <a:lnTo>
                      <a:pt x="68" y="85"/>
                    </a:lnTo>
                    <a:lnTo>
                      <a:pt x="70" y="82"/>
                    </a:lnTo>
                    <a:lnTo>
                      <a:pt x="71" y="79"/>
                    </a:lnTo>
                    <a:lnTo>
                      <a:pt x="71" y="76"/>
                    </a:lnTo>
                    <a:lnTo>
                      <a:pt x="71" y="76"/>
                    </a:lnTo>
                    <a:lnTo>
                      <a:pt x="71" y="72"/>
                    </a:lnTo>
                    <a:lnTo>
                      <a:pt x="70" y="69"/>
                    </a:lnTo>
                    <a:lnTo>
                      <a:pt x="68" y="67"/>
                    </a:lnTo>
                    <a:lnTo>
                      <a:pt x="66" y="64"/>
                    </a:lnTo>
                    <a:lnTo>
                      <a:pt x="64" y="63"/>
                    </a:lnTo>
                    <a:lnTo>
                      <a:pt x="61" y="62"/>
                    </a:lnTo>
                    <a:lnTo>
                      <a:pt x="53" y="61"/>
                    </a:lnTo>
                    <a:lnTo>
                      <a:pt x="32" y="61"/>
                    </a:lnTo>
                    <a:lnTo>
                      <a:pt x="32" y="92"/>
                    </a:lnTo>
                    <a:lnTo>
                      <a:pt x="53" y="92"/>
                    </a:lnTo>
                    <a:lnTo>
                      <a:pt x="53" y="92"/>
                    </a:lnTo>
                    <a:lnTo>
                      <a:pt x="57" y="92"/>
                    </a:lnTo>
                    <a:lnTo>
                      <a:pt x="60" y="91"/>
                    </a:lnTo>
                    <a:lnTo>
                      <a:pt x="63" y="90"/>
                    </a:lnTo>
                    <a:lnTo>
                      <a:pt x="66" y="88"/>
                    </a:lnTo>
                    <a:lnTo>
                      <a:pt x="66" y="88"/>
                    </a:lnTo>
                    <a:close/>
                    <a:moveTo>
                      <a:pt x="116" y="0"/>
                    </a:moveTo>
                    <a:lnTo>
                      <a:pt x="147" y="0"/>
                    </a:lnTo>
                    <a:lnTo>
                      <a:pt x="147" y="115"/>
                    </a:lnTo>
                    <a:lnTo>
                      <a:pt x="116" y="115"/>
                    </a:lnTo>
                    <a:lnTo>
                      <a:pt x="116" y="0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20">
                <a:extLst>
                  <a:ext uri="{FF2B5EF4-FFF2-40B4-BE49-F238E27FC236}">
                    <a16:creationId xmlns:a16="http://schemas.microsoft.com/office/drawing/2014/main" id="{4B98F737-6B67-487C-9A40-1FBF2837FC0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802941" y="1535113"/>
                <a:ext cx="74613" cy="90487"/>
              </a:xfrm>
              <a:custGeom>
                <a:avLst/>
                <a:gdLst>
                  <a:gd name="T0" fmla="*/ 92 w 92"/>
                  <a:gd name="T1" fmla="*/ 90 h 115"/>
                  <a:gd name="T2" fmla="*/ 92 w 92"/>
                  <a:gd name="T3" fmla="*/ 115 h 115"/>
                  <a:gd name="T4" fmla="*/ 0 w 92"/>
                  <a:gd name="T5" fmla="*/ 115 h 115"/>
                  <a:gd name="T6" fmla="*/ 0 w 92"/>
                  <a:gd name="T7" fmla="*/ 0 h 115"/>
                  <a:gd name="T8" fmla="*/ 90 w 92"/>
                  <a:gd name="T9" fmla="*/ 0 h 115"/>
                  <a:gd name="T10" fmla="*/ 90 w 92"/>
                  <a:gd name="T11" fmla="*/ 25 h 115"/>
                  <a:gd name="T12" fmla="*/ 32 w 92"/>
                  <a:gd name="T13" fmla="*/ 25 h 115"/>
                  <a:gd name="T14" fmla="*/ 32 w 92"/>
                  <a:gd name="T15" fmla="*/ 44 h 115"/>
                  <a:gd name="T16" fmla="*/ 83 w 92"/>
                  <a:gd name="T17" fmla="*/ 44 h 115"/>
                  <a:gd name="T18" fmla="*/ 83 w 92"/>
                  <a:gd name="T19" fmla="*/ 69 h 115"/>
                  <a:gd name="T20" fmla="*/ 32 w 92"/>
                  <a:gd name="T21" fmla="*/ 69 h 115"/>
                  <a:gd name="T22" fmla="*/ 32 w 92"/>
                  <a:gd name="T23" fmla="*/ 90 h 115"/>
                  <a:gd name="T24" fmla="*/ 92 w 92"/>
                  <a:gd name="T25" fmla="*/ 9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2" h="115">
                    <a:moveTo>
                      <a:pt x="92" y="90"/>
                    </a:moveTo>
                    <a:lnTo>
                      <a:pt x="9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25"/>
                    </a:lnTo>
                    <a:lnTo>
                      <a:pt x="32" y="25"/>
                    </a:lnTo>
                    <a:lnTo>
                      <a:pt x="32" y="44"/>
                    </a:lnTo>
                    <a:lnTo>
                      <a:pt x="83" y="44"/>
                    </a:lnTo>
                    <a:lnTo>
                      <a:pt x="83" y="69"/>
                    </a:lnTo>
                    <a:lnTo>
                      <a:pt x="32" y="69"/>
                    </a:lnTo>
                    <a:lnTo>
                      <a:pt x="32" y="90"/>
                    </a:lnTo>
                    <a:lnTo>
                      <a:pt x="92" y="90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21">
                <a:extLst>
                  <a:ext uri="{FF2B5EF4-FFF2-40B4-BE49-F238E27FC236}">
                    <a16:creationId xmlns:a16="http://schemas.microsoft.com/office/drawing/2014/main" id="{825E5BB3-8C27-4D6F-B6B4-2973A8E0208D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934704" y="1535113"/>
                <a:ext cx="82550" cy="90487"/>
              </a:xfrm>
              <a:custGeom>
                <a:avLst/>
                <a:gdLst>
                  <a:gd name="T0" fmla="*/ 79 w 104"/>
                  <a:gd name="T1" fmla="*/ 5 h 115"/>
                  <a:gd name="T2" fmla="*/ 79 w 104"/>
                  <a:gd name="T3" fmla="*/ 5 h 115"/>
                  <a:gd name="T4" fmla="*/ 85 w 104"/>
                  <a:gd name="T5" fmla="*/ 8 h 115"/>
                  <a:gd name="T6" fmla="*/ 90 w 104"/>
                  <a:gd name="T7" fmla="*/ 12 h 115"/>
                  <a:gd name="T8" fmla="*/ 94 w 104"/>
                  <a:gd name="T9" fmla="*/ 16 h 115"/>
                  <a:gd name="T10" fmla="*/ 98 w 104"/>
                  <a:gd name="T11" fmla="*/ 20 h 115"/>
                  <a:gd name="T12" fmla="*/ 98 w 104"/>
                  <a:gd name="T13" fmla="*/ 20 h 115"/>
                  <a:gd name="T14" fmla="*/ 101 w 104"/>
                  <a:gd name="T15" fmla="*/ 27 h 115"/>
                  <a:gd name="T16" fmla="*/ 104 w 104"/>
                  <a:gd name="T17" fmla="*/ 35 h 115"/>
                  <a:gd name="T18" fmla="*/ 104 w 104"/>
                  <a:gd name="T19" fmla="*/ 43 h 115"/>
                  <a:gd name="T20" fmla="*/ 104 w 104"/>
                  <a:gd name="T21" fmla="*/ 51 h 115"/>
                  <a:gd name="T22" fmla="*/ 102 w 104"/>
                  <a:gd name="T23" fmla="*/ 59 h 115"/>
                  <a:gd name="T24" fmla="*/ 98 w 104"/>
                  <a:gd name="T25" fmla="*/ 66 h 115"/>
                  <a:gd name="T26" fmla="*/ 93 w 104"/>
                  <a:gd name="T27" fmla="*/ 72 h 115"/>
                  <a:gd name="T28" fmla="*/ 87 w 104"/>
                  <a:gd name="T29" fmla="*/ 77 h 115"/>
                  <a:gd name="T30" fmla="*/ 87 w 104"/>
                  <a:gd name="T31" fmla="*/ 77 h 115"/>
                  <a:gd name="T32" fmla="*/ 79 w 104"/>
                  <a:gd name="T33" fmla="*/ 81 h 115"/>
                  <a:gd name="T34" fmla="*/ 79 w 104"/>
                  <a:gd name="T35" fmla="*/ 81 h 115"/>
                  <a:gd name="T36" fmla="*/ 72 w 104"/>
                  <a:gd name="T37" fmla="*/ 83 h 115"/>
                  <a:gd name="T38" fmla="*/ 66 w 104"/>
                  <a:gd name="T39" fmla="*/ 85 h 115"/>
                  <a:gd name="T40" fmla="*/ 59 w 104"/>
                  <a:gd name="T41" fmla="*/ 85 h 115"/>
                  <a:gd name="T42" fmla="*/ 52 w 104"/>
                  <a:gd name="T43" fmla="*/ 86 h 115"/>
                  <a:gd name="T44" fmla="*/ 32 w 104"/>
                  <a:gd name="T45" fmla="*/ 86 h 115"/>
                  <a:gd name="T46" fmla="*/ 32 w 104"/>
                  <a:gd name="T47" fmla="*/ 115 h 115"/>
                  <a:gd name="T48" fmla="*/ 0 w 104"/>
                  <a:gd name="T49" fmla="*/ 115 h 115"/>
                  <a:gd name="T50" fmla="*/ 0 w 104"/>
                  <a:gd name="T51" fmla="*/ 0 h 115"/>
                  <a:gd name="T52" fmla="*/ 52 w 104"/>
                  <a:gd name="T53" fmla="*/ 0 h 115"/>
                  <a:gd name="T54" fmla="*/ 52 w 104"/>
                  <a:gd name="T55" fmla="*/ 0 h 115"/>
                  <a:gd name="T56" fmla="*/ 59 w 104"/>
                  <a:gd name="T57" fmla="*/ 1 h 115"/>
                  <a:gd name="T58" fmla="*/ 66 w 104"/>
                  <a:gd name="T59" fmla="*/ 2 h 115"/>
                  <a:gd name="T60" fmla="*/ 73 w 104"/>
                  <a:gd name="T61" fmla="*/ 3 h 115"/>
                  <a:gd name="T62" fmla="*/ 79 w 104"/>
                  <a:gd name="T63" fmla="*/ 5 h 115"/>
                  <a:gd name="T64" fmla="*/ 79 w 104"/>
                  <a:gd name="T65" fmla="*/ 5 h 115"/>
                  <a:gd name="T66" fmla="*/ 65 w 104"/>
                  <a:gd name="T67" fmla="*/ 56 h 115"/>
                  <a:gd name="T68" fmla="*/ 65 w 104"/>
                  <a:gd name="T69" fmla="*/ 56 h 115"/>
                  <a:gd name="T70" fmla="*/ 67 w 104"/>
                  <a:gd name="T71" fmla="*/ 53 h 115"/>
                  <a:gd name="T72" fmla="*/ 69 w 104"/>
                  <a:gd name="T73" fmla="*/ 50 h 115"/>
                  <a:gd name="T74" fmla="*/ 70 w 104"/>
                  <a:gd name="T75" fmla="*/ 46 h 115"/>
                  <a:gd name="T76" fmla="*/ 70 w 104"/>
                  <a:gd name="T77" fmla="*/ 43 h 115"/>
                  <a:gd name="T78" fmla="*/ 70 w 104"/>
                  <a:gd name="T79" fmla="*/ 43 h 115"/>
                  <a:gd name="T80" fmla="*/ 70 w 104"/>
                  <a:gd name="T81" fmla="*/ 39 h 115"/>
                  <a:gd name="T82" fmla="*/ 69 w 104"/>
                  <a:gd name="T83" fmla="*/ 36 h 115"/>
                  <a:gd name="T84" fmla="*/ 67 w 104"/>
                  <a:gd name="T85" fmla="*/ 33 h 115"/>
                  <a:gd name="T86" fmla="*/ 65 w 104"/>
                  <a:gd name="T87" fmla="*/ 30 h 115"/>
                  <a:gd name="T88" fmla="*/ 65 w 104"/>
                  <a:gd name="T89" fmla="*/ 30 h 115"/>
                  <a:gd name="T90" fmla="*/ 62 w 104"/>
                  <a:gd name="T91" fmla="*/ 28 h 115"/>
                  <a:gd name="T92" fmla="*/ 58 w 104"/>
                  <a:gd name="T93" fmla="*/ 27 h 115"/>
                  <a:gd name="T94" fmla="*/ 54 w 104"/>
                  <a:gd name="T95" fmla="*/ 26 h 115"/>
                  <a:gd name="T96" fmla="*/ 50 w 104"/>
                  <a:gd name="T97" fmla="*/ 26 h 115"/>
                  <a:gd name="T98" fmla="*/ 32 w 104"/>
                  <a:gd name="T99" fmla="*/ 26 h 115"/>
                  <a:gd name="T100" fmla="*/ 32 w 104"/>
                  <a:gd name="T101" fmla="*/ 60 h 115"/>
                  <a:gd name="T102" fmla="*/ 50 w 104"/>
                  <a:gd name="T103" fmla="*/ 60 h 115"/>
                  <a:gd name="T104" fmla="*/ 50 w 104"/>
                  <a:gd name="T105" fmla="*/ 60 h 115"/>
                  <a:gd name="T106" fmla="*/ 54 w 104"/>
                  <a:gd name="T107" fmla="*/ 60 h 115"/>
                  <a:gd name="T108" fmla="*/ 58 w 104"/>
                  <a:gd name="T109" fmla="*/ 59 h 115"/>
                  <a:gd name="T110" fmla="*/ 62 w 104"/>
                  <a:gd name="T111" fmla="*/ 58 h 115"/>
                  <a:gd name="T112" fmla="*/ 65 w 104"/>
                  <a:gd name="T113" fmla="*/ 56 h 115"/>
                  <a:gd name="T114" fmla="*/ 65 w 104"/>
                  <a:gd name="T115" fmla="*/ 56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04" h="115">
                    <a:moveTo>
                      <a:pt x="79" y="5"/>
                    </a:moveTo>
                    <a:lnTo>
                      <a:pt x="79" y="5"/>
                    </a:lnTo>
                    <a:lnTo>
                      <a:pt x="85" y="8"/>
                    </a:lnTo>
                    <a:lnTo>
                      <a:pt x="90" y="12"/>
                    </a:lnTo>
                    <a:lnTo>
                      <a:pt x="94" y="16"/>
                    </a:lnTo>
                    <a:lnTo>
                      <a:pt x="98" y="20"/>
                    </a:lnTo>
                    <a:lnTo>
                      <a:pt x="98" y="20"/>
                    </a:lnTo>
                    <a:lnTo>
                      <a:pt x="101" y="27"/>
                    </a:lnTo>
                    <a:lnTo>
                      <a:pt x="104" y="35"/>
                    </a:lnTo>
                    <a:lnTo>
                      <a:pt x="104" y="43"/>
                    </a:lnTo>
                    <a:lnTo>
                      <a:pt x="104" y="51"/>
                    </a:lnTo>
                    <a:lnTo>
                      <a:pt x="102" y="59"/>
                    </a:lnTo>
                    <a:lnTo>
                      <a:pt x="98" y="66"/>
                    </a:lnTo>
                    <a:lnTo>
                      <a:pt x="93" y="72"/>
                    </a:lnTo>
                    <a:lnTo>
                      <a:pt x="87" y="77"/>
                    </a:lnTo>
                    <a:lnTo>
                      <a:pt x="87" y="77"/>
                    </a:lnTo>
                    <a:lnTo>
                      <a:pt x="79" y="81"/>
                    </a:lnTo>
                    <a:lnTo>
                      <a:pt x="79" y="81"/>
                    </a:lnTo>
                    <a:lnTo>
                      <a:pt x="72" y="83"/>
                    </a:lnTo>
                    <a:lnTo>
                      <a:pt x="66" y="85"/>
                    </a:lnTo>
                    <a:lnTo>
                      <a:pt x="59" y="85"/>
                    </a:lnTo>
                    <a:lnTo>
                      <a:pt x="52" y="86"/>
                    </a:lnTo>
                    <a:lnTo>
                      <a:pt x="32" y="86"/>
                    </a:lnTo>
                    <a:lnTo>
                      <a:pt x="3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52" y="0"/>
                    </a:lnTo>
                    <a:lnTo>
                      <a:pt x="52" y="0"/>
                    </a:lnTo>
                    <a:lnTo>
                      <a:pt x="59" y="1"/>
                    </a:lnTo>
                    <a:lnTo>
                      <a:pt x="66" y="2"/>
                    </a:lnTo>
                    <a:lnTo>
                      <a:pt x="73" y="3"/>
                    </a:lnTo>
                    <a:lnTo>
                      <a:pt x="79" y="5"/>
                    </a:lnTo>
                    <a:lnTo>
                      <a:pt x="79" y="5"/>
                    </a:lnTo>
                    <a:close/>
                    <a:moveTo>
                      <a:pt x="65" y="56"/>
                    </a:moveTo>
                    <a:lnTo>
                      <a:pt x="65" y="56"/>
                    </a:lnTo>
                    <a:lnTo>
                      <a:pt x="67" y="53"/>
                    </a:lnTo>
                    <a:lnTo>
                      <a:pt x="69" y="50"/>
                    </a:lnTo>
                    <a:lnTo>
                      <a:pt x="70" y="46"/>
                    </a:lnTo>
                    <a:lnTo>
                      <a:pt x="70" y="43"/>
                    </a:lnTo>
                    <a:lnTo>
                      <a:pt x="70" y="43"/>
                    </a:lnTo>
                    <a:lnTo>
                      <a:pt x="70" y="39"/>
                    </a:lnTo>
                    <a:lnTo>
                      <a:pt x="69" y="36"/>
                    </a:lnTo>
                    <a:lnTo>
                      <a:pt x="67" y="33"/>
                    </a:lnTo>
                    <a:lnTo>
                      <a:pt x="65" y="30"/>
                    </a:lnTo>
                    <a:lnTo>
                      <a:pt x="65" y="30"/>
                    </a:lnTo>
                    <a:lnTo>
                      <a:pt x="62" y="28"/>
                    </a:lnTo>
                    <a:lnTo>
                      <a:pt x="58" y="27"/>
                    </a:lnTo>
                    <a:lnTo>
                      <a:pt x="54" y="26"/>
                    </a:lnTo>
                    <a:lnTo>
                      <a:pt x="50" y="26"/>
                    </a:lnTo>
                    <a:lnTo>
                      <a:pt x="32" y="26"/>
                    </a:lnTo>
                    <a:lnTo>
                      <a:pt x="32" y="60"/>
                    </a:lnTo>
                    <a:lnTo>
                      <a:pt x="50" y="60"/>
                    </a:lnTo>
                    <a:lnTo>
                      <a:pt x="50" y="60"/>
                    </a:lnTo>
                    <a:lnTo>
                      <a:pt x="54" y="60"/>
                    </a:lnTo>
                    <a:lnTo>
                      <a:pt x="58" y="59"/>
                    </a:lnTo>
                    <a:lnTo>
                      <a:pt x="62" y="58"/>
                    </a:lnTo>
                    <a:lnTo>
                      <a:pt x="65" y="56"/>
                    </a:lnTo>
                    <a:lnTo>
                      <a:pt x="65" y="56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22">
                <a:extLst>
                  <a:ext uri="{FF2B5EF4-FFF2-40B4-BE49-F238E27FC236}">
                    <a16:creationId xmlns:a16="http://schemas.microsoft.com/office/drawing/2014/main" id="{7B008886-E4E7-4E9C-98D0-8D38AB422CB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029954" y="1535113"/>
                <a:ext cx="74613" cy="90487"/>
              </a:xfrm>
              <a:custGeom>
                <a:avLst/>
                <a:gdLst>
                  <a:gd name="T0" fmla="*/ 93 w 93"/>
                  <a:gd name="T1" fmla="*/ 90 h 115"/>
                  <a:gd name="T2" fmla="*/ 93 w 93"/>
                  <a:gd name="T3" fmla="*/ 115 h 115"/>
                  <a:gd name="T4" fmla="*/ 0 w 93"/>
                  <a:gd name="T5" fmla="*/ 115 h 115"/>
                  <a:gd name="T6" fmla="*/ 0 w 93"/>
                  <a:gd name="T7" fmla="*/ 0 h 115"/>
                  <a:gd name="T8" fmla="*/ 91 w 93"/>
                  <a:gd name="T9" fmla="*/ 0 h 115"/>
                  <a:gd name="T10" fmla="*/ 91 w 93"/>
                  <a:gd name="T11" fmla="*/ 25 h 115"/>
                  <a:gd name="T12" fmla="*/ 32 w 93"/>
                  <a:gd name="T13" fmla="*/ 25 h 115"/>
                  <a:gd name="T14" fmla="*/ 32 w 93"/>
                  <a:gd name="T15" fmla="*/ 44 h 115"/>
                  <a:gd name="T16" fmla="*/ 83 w 93"/>
                  <a:gd name="T17" fmla="*/ 44 h 115"/>
                  <a:gd name="T18" fmla="*/ 83 w 93"/>
                  <a:gd name="T19" fmla="*/ 69 h 115"/>
                  <a:gd name="T20" fmla="*/ 32 w 93"/>
                  <a:gd name="T21" fmla="*/ 69 h 115"/>
                  <a:gd name="T22" fmla="*/ 32 w 93"/>
                  <a:gd name="T23" fmla="*/ 90 h 115"/>
                  <a:gd name="T24" fmla="*/ 93 w 93"/>
                  <a:gd name="T25" fmla="*/ 9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3" h="115">
                    <a:moveTo>
                      <a:pt x="93" y="90"/>
                    </a:moveTo>
                    <a:lnTo>
                      <a:pt x="93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91" y="0"/>
                    </a:lnTo>
                    <a:lnTo>
                      <a:pt x="91" y="25"/>
                    </a:lnTo>
                    <a:lnTo>
                      <a:pt x="32" y="25"/>
                    </a:lnTo>
                    <a:lnTo>
                      <a:pt x="32" y="44"/>
                    </a:lnTo>
                    <a:lnTo>
                      <a:pt x="83" y="44"/>
                    </a:lnTo>
                    <a:lnTo>
                      <a:pt x="83" y="69"/>
                    </a:lnTo>
                    <a:lnTo>
                      <a:pt x="32" y="69"/>
                    </a:lnTo>
                    <a:lnTo>
                      <a:pt x="32" y="90"/>
                    </a:lnTo>
                    <a:lnTo>
                      <a:pt x="93" y="90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23">
                <a:extLst>
                  <a:ext uri="{FF2B5EF4-FFF2-40B4-BE49-F238E27FC236}">
                    <a16:creationId xmlns:a16="http://schemas.microsoft.com/office/drawing/2014/main" id="{1AAF9238-C7B5-49D2-A2F6-1D0835B3980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122029" y="1535113"/>
                <a:ext cx="122238" cy="90487"/>
              </a:xfrm>
              <a:custGeom>
                <a:avLst/>
                <a:gdLst>
                  <a:gd name="T0" fmla="*/ 155 w 155"/>
                  <a:gd name="T1" fmla="*/ 0 h 115"/>
                  <a:gd name="T2" fmla="*/ 155 w 155"/>
                  <a:gd name="T3" fmla="*/ 115 h 115"/>
                  <a:gd name="T4" fmla="*/ 0 w 155"/>
                  <a:gd name="T5" fmla="*/ 115 h 115"/>
                  <a:gd name="T6" fmla="*/ 0 w 155"/>
                  <a:gd name="T7" fmla="*/ 0 h 115"/>
                  <a:gd name="T8" fmla="*/ 31 w 155"/>
                  <a:gd name="T9" fmla="*/ 0 h 115"/>
                  <a:gd name="T10" fmla="*/ 31 w 155"/>
                  <a:gd name="T11" fmla="*/ 90 h 115"/>
                  <a:gd name="T12" fmla="*/ 61 w 155"/>
                  <a:gd name="T13" fmla="*/ 90 h 115"/>
                  <a:gd name="T14" fmla="*/ 61 w 155"/>
                  <a:gd name="T15" fmla="*/ 0 h 115"/>
                  <a:gd name="T16" fmla="*/ 93 w 155"/>
                  <a:gd name="T17" fmla="*/ 0 h 115"/>
                  <a:gd name="T18" fmla="*/ 93 w 155"/>
                  <a:gd name="T19" fmla="*/ 90 h 115"/>
                  <a:gd name="T20" fmla="*/ 123 w 155"/>
                  <a:gd name="T21" fmla="*/ 90 h 115"/>
                  <a:gd name="T22" fmla="*/ 123 w 155"/>
                  <a:gd name="T23" fmla="*/ 0 h 115"/>
                  <a:gd name="T24" fmla="*/ 155 w 155"/>
                  <a:gd name="T25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5" h="115">
                    <a:moveTo>
                      <a:pt x="155" y="0"/>
                    </a:moveTo>
                    <a:lnTo>
                      <a:pt x="155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1" y="0"/>
                    </a:lnTo>
                    <a:lnTo>
                      <a:pt x="31" y="90"/>
                    </a:lnTo>
                    <a:lnTo>
                      <a:pt x="61" y="90"/>
                    </a:lnTo>
                    <a:lnTo>
                      <a:pt x="61" y="0"/>
                    </a:lnTo>
                    <a:lnTo>
                      <a:pt x="93" y="0"/>
                    </a:lnTo>
                    <a:lnTo>
                      <a:pt x="93" y="90"/>
                    </a:lnTo>
                    <a:lnTo>
                      <a:pt x="123" y="90"/>
                    </a:lnTo>
                    <a:lnTo>
                      <a:pt x="123" y="0"/>
                    </a:lnTo>
                    <a:lnTo>
                      <a:pt x="155" y="0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24">
                <a:extLst>
                  <a:ext uri="{FF2B5EF4-FFF2-40B4-BE49-F238E27FC236}">
                    <a16:creationId xmlns:a16="http://schemas.microsoft.com/office/drawing/2014/main" id="{62406783-AB35-4A87-8656-05C86DC4ACD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268079" y="1535113"/>
                <a:ext cx="71438" cy="90487"/>
              </a:xfrm>
              <a:custGeom>
                <a:avLst/>
                <a:gdLst>
                  <a:gd name="T0" fmla="*/ 92 w 92"/>
                  <a:gd name="T1" fmla="*/ 90 h 115"/>
                  <a:gd name="T2" fmla="*/ 92 w 92"/>
                  <a:gd name="T3" fmla="*/ 115 h 115"/>
                  <a:gd name="T4" fmla="*/ 0 w 92"/>
                  <a:gd name="T5" fmla="*/ 115 h 115"/>
                  <a:gd name="T6" fmla="*/ 0 w 92"/>
                  <a:gd name="T7" fmla="*/ 0 h 115"/>
                  <a:gd name="T8" fmla="*/ 90 w 92"/>
                  <a:gd name="T9" fmla="*/ 0 h 115"/>
                  <a:gd name="T10" fmla="*/ 90 w 92"/>
                  <a:gd name="T11" fmla="*/ 25 h 115"/>
                  <a:gd name="T12" fmla="*/ 32 w 92"/>
                  <a:gd name="T13" fmla="*/ 25 h 115"/>
                  <a:gd name="T14" fmla="*/ 32 w 92"/>
                  <a:gd name="T15" fmla="*/ 44 h 115"/>
                  <a:gd name="T16" fmla="*/ 83 w 92"/>
                  <a:gd name="T17" fmla="*/ 44 h 115"/>
                  <a:gd name="T18" fmla="*/ 83 w 92"/>
                  <a:gd name="T19" fmla="*/ 69 h 115"/>
                  <a:gd name="T20" fmla="*/ 32 w 92"/>
                  <a:gd name="T21" fmla="*/ 69 h 115"/>
                  <a:gd name="T22" fmla="*/ 32 w 92"/>
                  <a:gd name="T23" fmla="*/ 90 h 115"/>
                  <a:gd name="T24" fmla="*/ 92 w 92"/>
                  <a:gd name="T25" fmla="*/ 9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2" h="115">
                    <a:moveTo>
                      <a:pt x="92" y="90"/>
                    </a:moveTo>
                    <a:lnTo>
                      <a:pt x="9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25"/>
                    </a:lnTo>
                    <a:lnTo>
                      <a:pt x="32" y="25"/>
                    </a:lnTo>
                    <a:lnTo>
                      <a:pt x="32" y="44"/>
                    </a:lnTo>
                    <a:lnTo>
                      <a:pt x="83" y="44"/>
                    </a:lnTo>
                    <a:lnTo>
                      <a:pt x="83" y="69"/>
                    </a:lnTo>
                    <a:lnTo>
                      <a:pt x="32" y="69"/>
                    </a:lnTo>
                    <a:lnTo>
                      <a:pt x="32" y="90"/>
                    </a:lnTo>
                    <a:lnTo>
                      <a:pt x="92" y="90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25">
                <a:extLst>
                  <a:ext uri="{FF2B5EF4-FFF2-40B4-BE49-F238E27FC236}">
                    <a16:creationId xmlns:a16="http://schemas.microsoft.com/office/drawing/2014/main" id="{276A8043-3850-45AD-9955-2A951D795A2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358566" y="1535113"/>
                <a:ext cx="85725" cy="90487"/>
              </a:xfrm>
              <a:custGeom>
                <a:avLst/>
                <a:gdLst>
                  <a:gd name="T0" fmla="*/ 109 w 109"/>
                  <a:gd name="T1" fmla="*/ 0 h 115"/>
                  <a:gd name="T2" fmla="*/ 109 w 109"/>
                  <a:gd name="T3" fmla="*/ 115 h 115"/>
                  <a:gd name="T4" fmla="*/ 77 w 109"/>
                  <a:gd name="T5" fmla="*/ 115 h 115"/>
                  <a:gd name="T6" fmla="*/ 77 w 109"/>
                  <a:gd name="T7" fmla="*/ 71 h 115"/>
                  <a:gd name="T8" fmla="*/ 32 w 109"/>
                  <a:gd name="T9" fmla="*/ 71 h 115"/>
                  <a:gd name="T10" fmla="*/ 32 w 109"/>
                  <a:gd name="T11" fmla="*/ 115 h 115"/>
                  <a:gd name="T12" fmla="*/ 0 w 109"/>
                  <a:gd name="T13" fmla="*/ 115 h 115"/>
                  <a:gd name="T14" fmla="*/ 0 w 109"/>
                  <a:gd name="T15" fmla="*/ 0 h 115"/>
                  <a:gd name="T16" fmla="*/ 32 w 109"/>
                  <a:gd name="T17" fmla="*/ 0 h 115"/>
                  <a:gd name="T18" fmla="*/ 32 w 109"/>
                  <a:gd name="T19" fmla="*/ 43 h 115"/>
                  <a:gd name="T20" fmla="*/ 77 w 109"/>
                  <a:gd name="T21" fmla="*/ 43 h 115"/>
                  <a:gd name="T22" fmla="*/ 77 w 109"/>
                  <a:gd name="T23" fmla="*/ 0 h 115"/>
                  <a:gd name="T24" fmla="*/ 109 w 109"/>
                  <a:gd name="T25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9" h="115">
                    <a:moveTo>
                      <a:pt x="109" y="0"/>
                    </a:moveTo>
                    <a:lnTo>
                      <a:pt x="109" y="115"/>
                    </a:lnTo>
                    <a:lnTo>
                      <a:pt x="77" y="115"/>
                    </a:lnTo>
                    <a:lnTo>
                      <a:pt x="77" y="71"/>
                    </a:lnTo>
                    <a:lnTo>
                      <a:pt x="32" y="71"/>
                    </a:lnTo>
                    <a:lnTo>
                      <a:pt x="3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2" y="0"/>
                    </a:lnTo>
                    <a:lnTo>
                      <a:pt x="32" y="43"/>
                    </a:lnTo>
                    <a:lnTo>
                      <a:pt x="77" y="43"/>
                    </a:lnTo>
                    <a:lnTo>
                      <a:pt x="77" y="0"/>
                    </a:lnTo>
                    <a:lnTo>
                      <a:pt x="109" y="0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26">
                <a:extLst>
                  <a:ext uri="{FF2B5EF4-FFF2-40B4-BE49-F238E27FC236}">
                    <a16:creationId xmlns:a16="http://schemas.microsoft.com/office/drawing/2014/main" id="{6DC802FC-C871-4D42-96C1-761184999B5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466516" y="1535113"/>
                <a:ext cx="87313" cy="90487"/>
              </a:xfrm>
              <a:custGeom>
                <a:avLst/>
                <a:gdLst>
                  <a:gd name="T0" fmla="*/ 0 w 110"/>
                  <a:gd name="T1" fmla="*/ 0 h 115"/>
                  <a:gd name="T2" fmla="*/ 32 w 110"/>
                  <a:gd name="T3" fmla="*/ 0 h 115"/>
                  <a:gd name="T4" fmla="*/ 32 w 110"/>
                  <a:gd name="T5" fmla="*/ 68 h 115"/>
                  <a:gd name="T6" fmla="*/ 80 w 110"/>
                  <a:gd name="T7" fmla="*/ 0 h 115"/>
                  <a:gd name="T8" fmla="*/ 110 w 110"/>
                  <a:gd name="T9" fmla="*/ 0 h 115"/>
                  <a:gd name="T10" fmla="*/ 110 w 110"/>
                  <a:gd name="T11" fmla="*/ 115 h 115"/>
                  <a:gd name="T12" fmla="*/ 78 w 110"/>
                  <a:gd name="T13" fmla="*/ 115 h 115"/>
                  <a:gd name="T14" fmla="*/ 78 w 110"/>
                  <a:gd name="T15" fmla="*/ 48 h 115"/>
                  <a:gd name="T16" fmla="*/ 30 w 110"/>
                  <a:gd name="T17" fmla="*/ 115 h 115"/>
                  <a:gd name="T18" fmla="*/ 0 w 110"/>
                  <a:gd name="T19" fmla="*/ 115 h 115"/>
                  <a:gd name="T20" fmla="*/ 0 w 110"/>
                  <a:gd name="T21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0" h="115">
                    <a:moveTo>
                      <a:pt x="0" y="0"/>
                    </a:moveTo>
                    <a:lnTo>
                      <a:pt x="32" y="0"/>
                    </a:lnTo>
                    <a:lnTo>
                      <a:pt x="32" y="68"/>
                    </a:lnTo>
                    <a:lnTo>
                      <a:pt x="80" y="0"/>
                    </a:lnTo>
                    <a:lnTo>
                      <a:pt x="110" y="0"/>
                    </a:lnTo>
                    <a:lnTo>
                      <a:pt x="110" y="115"/>
                    </a:lnTo>
                    <a:lnTo>
                      <a:pt x="78" y="115"/>
                    </a:lnTo>
                    <a:lnTo>
                      <a:pt x="78" y="48"/>
                    </a:lnTo>
                    <a:lnTo>
                      <a:pt x="30" y="115"/>
                    </a:lnTo>
                    <a:lnTo>
                      <a:pt x="0" y="11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27">
                <a:extLst>
                  <a:ext uri="{FF2B5EF4-FFF2-40B4-BE49-F238E27FC236}">
                    <a16:creationId xmlns:a16="http://schemas.microsoft.com/office/drawing/2014/main" id="{E7D0B974-AA0A-480C-99C6-3F9F49C1407A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1571291" y="1535113"/>
                <a:ext cx="80963" cy="90487"/>
              </a:xfrm>
              <a:custGeom>
                <a:avLst/>
                <a:gdLst>
                  <a:gd name="T0" fmla="*/ 103 w 103"/>
                  <a:gd name="T1" fmla="*/ 0 h 115"/>
                  <a:gd name="T2" fmla="*/ 103 w 103"/>
                  <a:gd name="T3" fmla="*/ 115 h 115"/>
                  <a:gd name="T4" fmla="*/ 71 w 103"/>
                  <a:gd name="T5" fmla="*/ 115 h 115"/>
                  <a:gd name="T6" fmla="*/ 71 w 103"/>
                  <a:gd name="T7" fmla="*/ 87 h 115"/>
                  <a:gd name="T8" fmla="*/ 54 w 103"/>
                  <a:gd name="T9" fmla="*/ 87 h 115"/>
                  <a:gd name="T10" fmla="*/ 34 w 103"/>
                  <a:gd name="T11" fmla="*/ 115 h 115"/>
                  <a:gd name="T12" fmla="*/ 0 w 103"/>
                  <a:gd name="T13" fmla="*/ 115 h 115"/>
                  <a:gd name="T14" fmla="*/ 23 w 103"/>
                  <a:gd name="T15" fmla="*/ 82 h 115"/>
                  <a:gd name="T16" fmla="*/ 23 w 103"/>
                  <a:gd name="T17" fmla="*/ 82 h 115"/>
                  <a:gd name="T18" fmla="*/ 18 w 103"/>
                  <a:gd name="T19" fmla="*/ 79 h 115"/>
                  <a:gd name="T20" fmla="*/ 13 w 103"/>
                  <a:gd name="T21" fmla="*/ 76 h 115"/>
                  <a:gd name="T22" fmla="*/ 9 w 103"/>
                  <a:gd name="T23" fmla="*/ 72 h 115"/>
                  <a:gd name="T24" fmla="*/ 6 w 103"/>
                  <a:gd name="T25" fmla="*/ 67 h 115"/>
                  <a:gd name="T26" fmla="*/ 6 w 103"/>
                  <a:gd name="T27" fmla="*/ 67 h 115"/>
                  <a:gd name="T28" fmla="*/ 3 w 103"/>
                  <a:gd name="T29" fmla="*/ 62 h 115"/>
                  <a:gd name="T30" fmla="*/ 1 w 103"/>
                  <a:gd name="T31" fmla="*/ 57 h 115"/>
                  <a:gd name="T32" fmla="*/ 0 w 103"/>
                  <a:gd name="T33" fmla="*/ 51 h 115"/>
                  <a:gd name="T34" fmla="*/ 0 w 103"/>
                  <a:gd name="T35" fmla="*/ 44 h 115"/>
                  <a:gd name="T36" fmla="*/ 0 w 103"/>
                  <a:gd name="T37" fmla="*/ 44 h 115"/>
                  <a:gd name="T38" fmla="*/ 0 w 103"/>
                  <a:gd name="T39" fmla="*/ 38 h 115"/>
                  <a:gd name="T40" fmla="*/ 1 w 103"/>
                  <a:gd name="T41" fmla="*/ 32 h 115"/>
                  <a:gd name="T42" fmla="*/ 3 w 103"/>
                  <a:gd name="T43" fmla="*/ 26 h 115"/>
                  <a:gd name="T44" fmla="*/ 6 w 103"/>
                  <a:gd name="T45" fmla="*/ 21 h 115"/>
                  <a:gd name="T46" fmla="*/ 6 w 103"/>
                  <a:gd name="T47" fmla="*/ 21 h 115"/>
                  <a:gd name="T48" fmla="*/ 10 w 103"/>
                  <a:gd name="T49" fmla="*/ 16 h 115"/>
                  <a:gd name="T50" fmla="*/ 14 w 103"/>
                  <a:gd name="T51" fmla="*/ 12 h 115"/>
                  <a:gd name="T52" fmla="*/ 19 w 103"/>
                  <a:gd name="T53" fmla="*/ 8 h 115"/>
                  <a:gd name="T54" fmla="*/ 24 w 103"/>
                  <a:gd name="T55" fmla="*/ 6 h 115"/>
                  <a:gd name="T56" fmla="*/ 24 w 103"/>
                  <a:gd name="T57" fmla="*/ 6 h 115"/>
                  <a:gd name="T58" fmla="*/ 30 w 103"/>
                  <a:gd name="T59" fmla="*/ 3 h 115"/>
                  <a:gd name="T60" fmla="*/ 37 w 103"/>
                  <a:gd name="T61" fmla="*/ 2 h 115"/>
                  <a:gd name="T62" fmla="*/ 45 w 103"/>
                  <a:gd name="T63" fmla="*/ 1 h 115"/>
                  <a:gd name="T64" fmla="*/ 52 w 103"/>
                  <a:gd name="T65" fmla="*/ 1 h 115"/>
                  <a:gd name="T66" fmla="*/ 103 w 103"/>
                  <a:gd name="T67" fmla="*/ 0 h 115"/>
                  <a:gd name="T68" fmla="*/ 32 w 103"/>
                  <a:gd name="T69" fmla="*/ 43 h 115"/>
                  <a:gd name="T70" fmla="*/ 32 w 103"/>
                  <a:gd name="T71" fmla="*/ 43 h 115"/>
                  <a:gd name="T72" fmla="*/ 33 w 103"/>
                  <a:gd name="T73" fmla="*/ 48 h 115"/>
                  <a:gd name="T74" fmla="*/ 34 w 103"/>
                  <a:gd name="T75" fmla="*/ 51 h 115"/>
                  <a:gd name="T76" fmla="*/ 35 w 103"/>
                  <a:gd name="T77" fmla="*/ 54 h 115"/>
                  <a:gd name="T78" fmla="*/ 37 w 103"/>
                  <a:gd name="T79" fmla="*/ 57 h 115"/>
                  <a:gd name="T80" fmla="*/ 37 w 103"/>
                  <a:gd name="T81" fmla="*/ 57 h 115"/>
                  <a:gd name="T82" fmla="*/ 42 w 103"/>
                  <a:gd name="T83" fmla="*/ 59 h 115"/>
                  <a:gd name="T84" fmla="*/ 45 w 103"/>
                  <a:gd name="T85" fmla="*/ 61 h 115"/>
                  <a:gd name="T86" fmla="*/ 49 w 103"/>
                  <a:gd name="T87" fmla="*/ 62 h 115"/>
                  <a:gd name="T88" fmla="*/ 52 w 103"/>
                  <a:gd name="T89" fmla="*/ 62 h 115"/>
                  <a:gd name="T90" fmla="*/ 72 w 103"/>
                  <a:gd name="T91" fmla="*/ 62 h 115"/>
                  <a:gd name="T92" fmla="*/ 72 w 103"/>
                  <a:gd name="T93" fmla="*/ 26 h 115"/>
                  <a:gd name="T94" fmla="*/ 53 w 103"/>
                  <a:gd name="T95" fmla="*/ 26 h 115"/>
                  <a:gd name="T96" fmla="*/ 53 w 103"/>
                  <a:gd name="T97" fmla="*/ 26 h 115"/>
                  <a:gd name="T98" fmla="*/ 48 w 103"/>
                  <a:gd name="T99" fmla="*/ 26 h 115"/>
                  <a:gd name="T100" fmla="*/ 44 w 103"/>
                  <a:gd name="T101" fmla="*/ 27 h 115"/>
                  <a:gd name="T102" fmla="*/ 41 w 103"/>
                  <a:gd name="T103" fmla="*/ 28 h 115"/>
                  <a:gd name="T104" fmla="*/ 37 w 103"/>
                  <a:gd name="T105" fmla="*/ 30 h 115"/>
                  <a:gd name="T106" fmla="*/ 35 w 103"/>
                  <a:gd name="T107" fmla="*/ 32 h 115"/>
                  <a:gd name="T108" fmla="*/ 34 w 103"/>
                  <a:gd name="T109" fmla="*/ 35 h 115"/>
                  <a:gd name="T110" fmla="*/ 33 w 103"/>
                  <a:gd name="T111" fmla="*/ 39 h 115"/>
                  <a:gd name="T112" fmla="*/ 32 w 103"/>
                  <a:gd name="T113" fmla="*/ 43 h 115"/>
                  <a:gd name="T114" fmla="*/ 32 w 103"/>
                  <a:gd name="T115" fmla="*/ 43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03" h="115">
                    <a:moveTo>
                      <a:pt x="103" y="0"/>
                    </a:moveTo>
                    <a:lnTo>
                      <a:pt x="103" y="115"/>
                    </a:lnTo>
                    <a:lnTo>
                      <a:pt x="71" y="115"/>
                    </a:lnTo>
                    <a:lnTo>
                      <a:pt x="71" y="87"/>
                    </a:lnTo>
                    <a:lnTo>
                      <a:pt x="54" y="87"/>
                    </a:lnTo>
                    <a:lnTo>
                      <a:pt x="34" y="115"/>
                    </a:lnTo>
                    <a:lnTo>
                      <a:pt x="0" y="115"/>
                    </a:lnTo>
                    <a:lnTo>
                      <a:pt x="23" y="82"/>
                    </a:lnTo>
                    <a:lnTo>
                      <a:pt x="23" y="82"/>
                    </a:lnTo>
                    <a:lnTo>
                      <a:pt x="18" y="79"/>
                    </a:lnTo>
                    <a:lnTo>
                      <a:pt x="13" y="76"/>
                    </a:lnTo>
                    <a:lnTo>
                      <a:pt x="9" y="72"/>
                    </a:lnTo>
                    <a:lnTo>
                      <a:pt x="6" y="67"/>
                    </a:lnTo>
                    <a:lnTo>
                      <a:pt x="6" y="67"/>
                    </a:lnTo>
                    <a:lnTo>
                      <a:pt x="3" y="62"/>
                    </a:lnTo>
                    <a:lnTo>
                      <a:pt x="1" y="57"/>
                    </a:lnTo>
                    <a:lnTo>
                      <a:pt x="0" y="51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38"/>
                    </a:lnTo>
                    <a:lnTo>
                      <a:pt x="1" y="32"/>
                    </a:lnTo>
                    <a:lnTo>
                      <a:pt x="3" y="26"/>
                    </a:lnTo>
                    <a:lnTo>
                      <a:pt x="6" y="21"/>
                    </a:lnTo>
                    <a:lnTo>
                      <a:pt x="6" y="21"/>
                    </a:lnTo>
                    <a:lnTo>
                      <a:pt x="10" y="16"/>
                    </a:lnTo>
                    <a:lnTo>
                      <a:pt x="14" y="12"/>
                    </a:lnTo>
                    <a:lnTo>
                      <a:pt x="19" y="8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30" y="3"/>
                    </a:lnTo>
                    <a:lnTo>
                      <a:pt x="37" y="2"/>
                    </a:lnTo>
                    <a:lnTo>
                      <a:pt x="45" y="1"/>
                    </a:lnTo>
                    <a:lnTo>
                      <a:pt x="52" y="1"/>
                    </a:lnTo>
                    <a:lnTo>
                      <a:pt x="103" y="0"/>
                    </a:lnTo>
                    <a:close/>
                    <a:moveTo>
                      <a:pt x="32" y="43"/>
                    </a:moveTo>
                    <a:lnTo>
                      <a:pt x="32" y="43"/>
                    </a:lnTo>
                    <a:lnTo>
                      <a:pt x="33" y="48"/>
                    </a:lnTo>
                    <a:lnTo>
                      <a:pt x="34" y="51"/>
                    </a:lnTo>
                    <a:lnTo>
                      <a:pt x="35" y="54"/>
                    </a:lnTo>
                    <a:lnTo>
                      <a:pt x="37" y="57"/>
                    </a:lnTo>
                    <a:lnTo>
                      <a:pt x="37" y="57"/>
                    </a:lnTo>
                    <a:lnTo>
                      <a:pt x="42" y="59"/>
                    </a:lnTo>
                    <a:lnTo>
                      <a:pt x="45" y="61"/>
                    </a:lnTo>
                    <a:lnTo>
                      <a:pt x="49" y="62"/>
                    </a:lnTo>
                    <a:lnTo>
                      <a:pt x="52" y="62"/>
                    </a:lnTo>
                    <a:lnTo>
                      <a:pt x="72" y="62"/>
                    </a:lnTo>
                    <a:lnTo>
                      <a:pt x="72" y="26"/>
                    </a:lnTo>
                    <a:lnTo>
                      <a:pt x="53" y="26"/>
                    </a:lnTo>
                    <a:lnTo>
                      <a:pt x="53" y="26"/>
                    </a:lnTo>
                    <a:lnTo>
                      <a:pt x="48" y="26"/>
                    </a:lnTo>
                    <a:lnTo>
                      <a:pt x="44" y="27"/>
                    </a:lnTo>
                    <a:lnTo>
                      <a:pt x="41" y="28"/>
                    </a:lnTo>
                    <a:lnTo>
                      <a:pt x="37" y="30"/>
                    </a:lnTo>
                    <a:lnTo>
                      <a:pt x="35" y="32"/>
                    </a:lnTo>
                    <a:lnTo>
                      <a:pt x="34" y="35"/>
                    </a:lnTo>
                    <a:lnTo>
                      <a:pt x="33" y="39"/>
                    </a:lnTo>
                    <a:lnTo>
                      <a:pt x="32" y="43"/>
                    </a:lnTo>
                    <a:lnTo>
                      <a:pt x="32" y="43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FEA4B2CA-1BD2-4A30-BCEC-F40217AC6748}"/>
                </a:ext>
              </a:extLst>
            </p:cNvPr>
            <p:cNvGrpSpPr/>
            <p:nvPr userDrawn="1"/>
          </p:nvGrpSpPr>
          <p:grpSpPr>
            <a:xfrm>
              <a:off x="10332720" y="658368"/>
              <a:ext cx="670092" cy="617763"/>
              <a:chOff x="10301291" y="611188"/>
              <a:chExt cx="731838" cy="674687"/>
            </a:xfrm>
          </p:grpSpPr>
          <p:sp>
            <p:nvSpPr>
              <p:cNvPr id="45" name="Freeform 28">
                <a:extLst>
                  <a:ext uri="{FF2B5EF4-FFF2-40B4-BE49-F238E27FC236}">
                    <a16:creationId xmlns:a16="http://schemas.microsoft.com/office/drawing/2014/main" id="{3EAABB25-2E96-4341-BCB2-CF06409AAFC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301291" y="611188"/>
                <a:ext cx="731838" cy="674687"/>
              </a:xfrm>
              <a:custGeom>
                <a:avLst/>
                <a:gdLst>
                  <a:gd name="T0" fmla="*/ 922 w 922"/>
                  <a:gd name="T1" fmla="*/ 0 h 850"/>
                  <a:gd name="T2" fmla="*/ 922 w 922"/>
                  <a:gd name="T3" fmla="*/ 850 h 850"/>
                  <a:gd name="T4" fmla="*/ 0 w 922"/>
                  <a:gd name="T5" fmla="*/ 850 h 850"/>
                  <a:gd name="T6" fmla="*/ 922 w 922"/>
                  <a:gd name="T7" fmla="*/ 0 h 8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22" h="850">
                    <a:moveTo>
                      <a:pt x="922" y="0"/>
                    </a:moveTo>
                    <a:lnTo>
                      <a:pt x="922" y="850"/>
                    </a:lnTo>
                    <a:lnTo>
                      <a:pt x="0" y="850"/>
                    </a:lnTo>
                    <a:lnTo>
                      <a:pt x="922" y="0"/>
                    </a:lnTo>
                    <a:close/>
                  </a:path>
                </a:pathLst>
              </a:custGeom>
              <a:solidFill>
                <a:srgbClr val="46AC4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29">
                <a:extLst>
                  <a:ext uri="{FF2B5EF4-FFF2-40B4-BE49-F238E27FC236}">
                    <a16:creationId xmlns:a16="http://schemas.microsoft.com/office/drawing/2014/main" id="{A7726032-16B2-4331-8DC3-B9217B25382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877554" y="611188"/>
                <a:ext cx="155575" cy="674687"/>
              </a:xfrm>
              <a:custGeom>
                <a:avLst/>
                <a:gdLst>
                  <a:gd name="T0" fmla="*/ 196 w 196"/>
                  <a:gd name="T1" fmla="*/ 0 h 850"/>
                  <a:gd name="T2" fmla="*/ 196 w 196"/>
                  <a:gd name="T3" fmla="*/ 850 h 850"/>
                  <a:gd name="T4" fmla="*/ 0 w 196"/>
                  <a:gd name="T5" fmla="*/ 850 h 850"/>
                  <a:gd name="T6" fmla="*/ 0 w 196"/>
                  <a:gd name="T7" fmla="*/ 181 h 850"/>
                  <a:gd name="T8" fmla="*/ 196 w 196"/>
                  <a:gd name="T9" fmla="*/ 0 h 8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6" h="850">
                    <a:moveTo>
                      <a:pt x="196" y="0"/>
                    </a:moveTo>
                    <a:lnTo>
                      <a:pt x="196" y="850"/>
                    </a:lnTo>
                    <a:lnTo>
                      <a:pt x="0" y="850"/>
                    </a:lnTo>
                    <a:lnTo>
                      <a:pt x="0" y="181"/>
                    </a:lnTo>
                    <a:lnTo>
                      <a:pt x="196" y="0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30">
                <a:extLst>
                  <a:ext uri="{FF2B5EF4-FFF2-40B4-BE49-F238E27FC236}">
                    <a16:creationId xmlns:a16="http://schemas.microsoft.com/office/drawing/2014/main" id="{D6436ACC-BD43-4A72-AA19-0FEF6F546CAD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301291" y="625475"/>
                <a:ext cx="493713" cy="660400"/>
              </a:xfrm>
              <a:custGeom>
                <a:avLst/>
                <a:gdLst>
                  <a:gd name="T0" fmla="*/ 339 w 622"/>
                  <a:gd name="T1" fmla="*/ 302 h 833"/>
                  <a:gd name="T2" fmla="*/ 366 w 622"/>
                  <a:gd name="T3" fmla="*/ 303 h 833"/>
                  <a:gd name="T4" fmla="*/ 419 w 622"/>
                  <a:gd name="T5" fmla="*/ 309 h 833"/>
                  <a:gd name="T6" fmla="*/ 447 w 622"/>
                  <a:gd name="T7" fmla="*/ 315 h 833"/>
                  <a:gd name="T8" fmla="*/ 493 w 622"/>
                  <a:gd name="T9" fmla="*/ 332 h 833"/>
                  <a:gd name="T10" fmla="*/ 536 w 622"/>
                  <a:gd name="T11" fmla="*/ 358 h 833"/>
                  <a:gd name="T12" fmla="*/ 546 w 622"/>
                  <a:gd name="T13" fmla="*/ 366 h 833"/>
                  <a:gd name="T14" fmla="*/ 564 w 622"/>
                  <a:gd name="T15" fmla="*/ 383 h 833"/>
                  <a:gd name="T16" fmla="*/ 580 w 622"/>
                  <a:gd name="T17" fmla="*/ 404 h 833"/>
                  <a:gd name="T18" fmla="*/ 594 w 622"/>
                  <a:gd name="T19" fmla="*/ 428 h 833"/>
                  <a:gd name="T20" fmla="*/ 600 w 622"/>
                  <a:gd name="T21" fmla="*/ 440 h 833"/>
                  <a:gd name="T22" fmla="*/ 609 w 622"/>
                  <a:gd name="T23" fmla="*/ 468 h 833"/>
                  <a:gd name="T24" fmla="*/ 616 w 622"/>
                  <a:gd name="T25" fmla="*/ 500 h 833"/>
                  <a:gd name="T26" fmla="*/ 620 w 622"/>
                  <a:gd name="T27" fmla="*/ 532 h 833"/>
                  <a:gd name="T28" fmla="*/ 622 w 622"/>
                  <a:gd name="T29" fmla="*/ 568 h 833"/>
                  <a:gd name="T30" fmla="*/ 621 w 622"/>
                  <a:gd name="T31" fmla="*/ 586 h 833"/>
                  <a:gd name="T32" fmla="*/ 619 w 622"/>
                  <a:gd name="T33" fmla="*/ 620 h 833"/>
                  <a:gd name="T34" fmla="*/ 613 w 622"/>
                  <a:gd name="T35" fmla="*/ 653 h 833"/>
                  <a:gd name="T36" fmla="*/ 605 w 622"/>
                  <a:gd name="T37" fmla="*/ 682 h 833"/>
                  <a:gd name="T38" fmla="*/ 600 w 622"/>
                  <a:gd name="T39" fmla="*/ 695 h 833"/>
                  <a:gd name="T40" fmla="*/ 587 w 622"/>
                  <a:gd name="T41" fmla="*/ 720 h 833"/>
                  <a:gd name="T42" fmla="*/ 573 w 622"/>
                  <a:gd name="T43" fmla="*/ 742 h 833"/>
                  <a:gd name="T44" fmla="*/ 555 w 622"/>
                  <a:gd name="T45" fmla="*/ 761 h 833"/>
                  <a:gd name="T46" fmla="*/ 536 w 622"/>
                  <a:gd name="T47" fmla="*/ 779 h 833"/>
                  <a:gd name="T48" fmla="*/ 515 w 622"/>
                  <a:gd name="T49" fmla="*/ 792 h 833"/>
                  <a:gd name="T50" fmla="*/ 470 w 622"/>
                  <a:gd name="T51" fmla="*/ 813 h 833"/>
                  <a:gd name="T52" fmla="*/ 447 w 622"/>
                  <a:gd name="T53" fmla="*/ 820 h 833"/>
                  <a:gd name="T54" fmla="*/ 392 w 622"/>
                  <a:gd name="T55" fmla="*/ 830 h 833"/>
                  <a:gd name="T56" fmla="*/ 338 w 622"/>
                  <a:gd name="T57" fmla="*/ 833 h 833"/>
                  <a:gd name="T58" fmla="*/ 0 w 622"/>
                  <a:gd name="T59" fmla="*/ 0 h 833"/>
                  <a:gd name="T60" fmla="*/ 558 w 622"/>
                  <a:gd name="T61" fmla="*/ 187 h 833"/>
                  <a:gd name="T62" fmla="*/ 187 w 622"/>
                  <a:gd name="T63" fmla="*/ 302 h 833"/>
                  <a:gd name="T64" fmla="*/ 338 w 622"/>
                  <a:gd name="T65" fmla="*/ 661 h 833"/>
                  <a:gd name="T66" fmla="*/ 349 w 622"/>
                  <a:gd name="T67" fmla="*/ 660 h 833"/>
                  <a:gd name="T68" fmla="*/ 368 w 622"/>
                  <a:gd name="T69" fmla="*/ 658 h 833"/>
                  <a:gd name="T70" fmla="*/ 384 w 622"/>
                  <a:gd name="T71" fmla="*/ 652 h 833"/>
                  <a:gd name="T72" fmla="*/ 397 w 622"/>
                  <a:gd name="T73" fmla="*/ 644 h 833"/>
                  <a:gd name="T74" fmla="*/ 408 w 622"/>
                  <a:gd name="T75" fmla="*/ 634 h 833"/>
                  <a:gd name="T76" fmla="*/ 416 w 622"/>
                  <a:gd name="T77" fmla="*/ 620 h 833"/>
                  <a:gd name="T78" fmla="*/ 422 w 622"/>
                  <a:gd name="T79" fmla="*/ 604 h 833"/>
                  <a:gd name="T80" fmla="*/ 424 w 622"/>
                  <a:gd name="T81" fmla="*/ 586 h 833"/>
                  <a:gd name="T82" fmla="*/ 425 w 622"/>
                  <a:gd name="T83" fmla="*/ 575 h 833"/>
                  <a:gd name="T84" fmla="*/ 423 w 622"/>
                  <a:gd name="T85" fmla="*/ 556 h 833"/>
                  <a:gd name="T86" fmla="*/ 419 w 622"/>
                  <a:gd name="T87" fmla="*/ 539 h 833"/>
                  <a:gd name="T88" fmla="*/ 413 w 622"/>
                  <a:gd name="T89" fmla="*/ 524 h 833"/>
                  <a:gd name="T90" fmla="*/ 403 w 622"/>
                  <a:gd name="T91" fmla="*/ 512 h 833"/>
                  <a:gd name="T92" fmla="*/ 391 w 622"/>
                  <a:gd name="T93" fmla="*/ 503 h 833"/>
                  <a:gd name="T94" fmla="*/ 376 w 622"/>
                  <a:gd name="T95" fmla="*/ 497 h 833"/>
                  <a:gd name="T96" fmla="*/ 358 w 622"/>
                  <a:gd name="T97" fmla="*/ 493 h 833"/>
                  <a:gd name="T98" fmla="*/ 338 w 622"/>
                  <a:gd name="T99" fmla="*/ 491 h 833"/>
                  <a:gd name="T100" fmla="*/ 187 w 622"/>
                  <a:gd name="T101" fmla="*/ 661 h 8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622" h="833">
                    <a:moveTo>
                      <a:pt x="187" y="302"/>
                    </a:moveTo>
                    <a:lnTo>
                      <a:pt x="339" y="302"/>
                    </a:lnTo>
                    <a:lnTo>
                      <a:pt x="339" y="302"/>
                    </a:lnTo>
                    <a:lnTo>
                      <a:pt x="366" y="303"/>
                    </a:lnTo>
                    <a:lnTo>
                      <a:pt x="393" y="305"/>
                    </a:lnTo>
                    <a:lnTo>
                      <a:pt x="419" y="309"/>
                    </a:lnTo>
                    <a:lnTo>
                      <a:pt x="447" y="315"/>
                    </a:lnTo>
                    <a:lnTo>
                      <a:pt x="447" y="315"/>
                    </a:lnTo>
                    <a:lnTo>
                      <a:pt x="471" y="323"/>
                    </a:lnTo>
                    <a:lnTo>
                      <a:pt x="493" y="332"/>
                    </a:lnTo>
                    <a:lnTo>
                      <a:pt x="515" y="345"/>
                    </a:lnTo>
                    <a:lnTo>
                      <a:pt x="536" y="358"/>
                    </a:lnTo>
                    <a:lnTo>
                      <a:pt x="536" y="358"/>
                    </a:lnTo>
                    <a:lnTo>
                      <a:pt x="546" y="366"/>
                    </a:lnTo>
                    <a:lnTo>
                      <a:pt x="555" y="374"/>
                    </a:lnTo>
                    <a:lnTo>
                      <a:pt x="564" y="383"/>
                    </a:lnTo>
                    <a:lnTo>
                      <a:pt x="573" y="393"/>
                    </a:lnTo>
                    <a:lnTo>
                      <a:pt x="580" y="404"/>
                    </a:lnTo>
                    <a:lnTo>
                      <a:pt x="587" y="415"/>
                    </a:lnTo>
                    <a:lnTo>
                      <a:pt x="594" y="428"/>
                    </a:lnTo>
                    <a:lnTo>
                      <a:pt x="600" y="440"/>
                    </a:lnTo>
                    <a:lnTo>
                      <a:pt x="600" y="440"/>
                    </a:lnTo>
                    <a:lnTo>
                      <a:pt x="605" y="454"/>
                    </a:lnTo>
                    <a:lnTo>
                      <a:pt x="609" y="468"/>
                    </a:lnTo>
                    <a:lnTo>
                      <a:pt x="613" y="484"/>
                    </a:lnTo>
                    <a:lnTo>
                      <a:pt x="616" y="500"/>
                    </a:lnTo>
                    <a:lnTo>
                      <a:pt x="619" y="516"/>
                    </a:lnTo>
                    <a:lnTo>
                      <a:pt x="620" y="532"/>
                    </a:lnTo>
                    <a:lnTo>
                      <a:pt x="621" y="550"/>
                    </a:lnTo>
                    <a:lnTo>
                      <a:pt x="622" y="568"/>
                    </a:lnTo>
                    <a:lnTo>
                      <a:pt x="622" y="568"/>
                    </a:lnTo>
                    <a:lnTo>
                      <a:pt x="621" y="586"/>
                    </a:lnTo>
                    <a:lnTo>
                      <a:pt x="620" y="603"/>
                    </a:lnTo>
                    <a:lnTo>
                      <a:pt x="619" y="620"/>
                    </a:lnTo>
                    <a:lnTo>
                      <a:pt x="616" y="637"/>
                    </a:lnTo>
                    <a:lnTo>
                      <a:pt x="613" y="653"/>
                    </a:lnTo>
                    <a:lnTo>
                      <a:pt x="609" y="668"/>
                    </a:lnTo>
                    <a:lnTo>
                      <a:pt x="605" y="682"/>
                    </a:lnTo>
                    <a:lnTo>
                      <a:pt x="600" y="695"/>
                    </a:lnTo>
                    <a:lnTo>
                      <a:pt x="600" y="695"/>
                    </a:lnTo>
                    <a:lnTo>
                      <a:pt x="594" y="708"/>
                    </a:lnTo>
                    <a:lnTo>
                      <a:pt x="587" y="720"/>
                    </a:lnTo>
                    <a:lnTo>
                      <a:pt x="580" y="732"/>
                    </a:lnTo>
                    <a:lnTo>
                      <a:pt x="573" y="742"/>
                    </a:lnTo>
                    <a:lnTo>
                      <a:pt x="564" y="752"/>
                    </a:lnTo>
                    <a:lnTo>
                      <a:pt x="555" y="761"/>
                    </a:lnTo>
                    <a:lnTo>
                      <a:pt x="546" y="771"/>
                    </a:lnTo>
                    <a:lnTo>
                      <a:pt x="536" y="779"/>
                    </a:lnTo>
                    <a:lnTo>
                      <a:pt x="536" y="779"/>
                    </a:lnTo>
                    <a:lnTo>
                      <a:pt x="515" y="792"/>
                    </a:lnTo>
                    <a:lnTo>
                      <a:pt x="493" y="804"/>
                    </a:lnTo>
                    <a:lnTo>
                      <a:pt x="470" y="813"/>
                    </a:lnTo>
                    <a:lnTo>
                      <a:pt x="447" y="820"/>
                    </a:lnTo>
                    <a:lnTo>
                      <a:pt x="447" y="820"/>
                    </a:lnTo>
                    <a:lnTo>
                      <a:pt x="419" y="826"/>
                    </a:lnTo>
                    <a:lnTo>
                      <a:pt x="392" y="830"/>
                    </a:lnTo>
                    <a:lnTo>
                      <a:pt x="365" y="833"/>
                    </a:lnTo>
                    <a:lnTo>
                      <a:pt x="338" y="833"/>
                    </a:lnTo>
                    <a:lnTo>
                      <a:pt x="0" y="833"/>
                    </a:lnTo>
                    <a:lnTo>
                      <a:pt x="0" y="0"/>
                    </a:lnTo>
                    <a:lnTo>
                      <a:pt x="558" y="0"/>
                    </a:lnTo>
                    <a:lnTo>
                      <a:pt x="558" y="187"/>
                    </a:lnTo>
                    <a:lnTo>
                      <a:pt x="187" y="187"/>
                    </a:lnTo>
                    <a:lnTo>
                      <a:pt x="187" y="302"/>
                    </a:lnTo>
                    <a:close/>
                    <a:moveTo>
                      <a:pt x="187" y="661"/>
                    </a:moveTo>
                    <a:lnTo>
                      <a:pt x="338" y="661"/>
                    </a:lnTo>
                    <a:lnTo>
                      <a:pt x="338" y="661"/>
                    </a:lnTo>
                    <a:lnTo>
                      <a:pt x="349" y="660"/>
                    </a:lnTo>
                    <a:lnTo>
                      <a:pt x="358" y="659"/>
                    </a:lnTo>
                    <a:lnTo>
                      <a:pt x="368" y="658"/>
                    </a:lnTo>
                    <a:lnTo>
                      <a:pt x="376" y="655"/>
                    </a:lnTo>
                    <a:lnTo>
                      <a:pt x="384" y="652"/>
                    </a:lnTo>
                    <a:lnTo>
                      <a:pt x="391" y="649"/>
                    </a:lnTo>
                    <a:lnTo>
                      <a:pt x="397" y="644"/>
                    </a:lnTo>
                    <a:lnTo>
                      <a:pt x="403" y="640"/>
                    </a:lnTo>
                    <a:lnTo>
                      <a:pt x="408" y="634"/>
                    </a:lnTo>
                    <a:lnTo>
                      <a:pt x="413" y="628"/>
                    </a:lnTo>
                    <a:lnTo>
                      <a:pt x="416" y="620"/>
                    </a:lnTo>
                    <a:lnTo>
                      <a:pt x="419" y="612"/>
                    </a:lnTo>
                    <a:lnTo>
                      <a:pt x="422" y="604"/>
                    </a:lnTo>
                    <a:lnTo>
                      <a:pt x="423" y="595"/>
                    </a:lnTo>
                    <a:lnTo>
                      <a:pt x="424" y="586"/>
                    </a:lnTo>
                    <a:lnTo>
                      <a:pt x="425" y="575"/>
                    </a:lnTo>
                    <a:lnTo>
                      <a:pt x="425" y="575"/>
                    </a:lnTo>
                    <a:lnTo>
                      <a:pt x="424" y="565"/>
                    </a:lnTo>
                    <a:lnTo>
                      <a:pt x="423" y="556"/>
                    </a:lnTo>
                    <a:lnTo>
                      <a:pt x="422" y="547"/>
                    </a:lnTo>
                    <a:lnTo>
                      <a:pt x="419" y="539"/>
                    </a:lnTo>
                    <a:lnTo>
                      <a:pt x="416" y="531"/>
                    </a:lnTo>
                    <a:lnTo>
                      <a:pt x="413" y="524"/>
                    </a:lnTo>
                    <a:lnTo>
                      <a:pt x="408" y="518"/>
                    </a:lnTo>
                    <a:lnTo>
                      <a:pt x="403" y="512"/>
                    </a:lnTo>
                    <a:lnTo>
                      <a:pt x="397" y="507"/>
                    </a:lnTo>
                    <a:lnTo>
                      <a:pt x="391" y="503"/>
                    </a:lnTo>
                    <a:lnTo>
                      <a:pt x="384" y="500"/>
                    </a:lnTo>
                    <a:lnTo>
                      <a:pt x="376" y="497"/>
                    </a:lnTo>
                    <a:lnTo>
                      <a:pt x="368" y="494"/>
                    </a:lnTo>
                    <a:lnTo>
                      <a:pt x="358" y="493"/>
                    </a:lnTo>
                    <a:lnTo>
                      <a:pt x="349" y="492"/>
                    </a:lnTo>
                    <a:lnTo>
                      <a:pt x="338" y="491"/>
                    </a:lnTo>
                    <a:lnTo>
                      <a:pt x="187" y="491"/>
                    </a:lnTo>
                    <a:lnTo>
                      <a:pt x="187" y="661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77086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37" userDrawn="1">
          <p15:clr>
            <a:srgbClr val="FBAE40"/>
          </p15:clr>
        </p15:guide>
        <p15:guide id="2" pos="5123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heading+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0BD23D90-9386-05CB-AF52-AE3E68DF5C6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12000" y="1152000"/>
            <a:ext cx="10972800" cy="48348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 Monserrat 14 </a:t>
            </a:r>
            <a:r>
              <a:rPr lang="en-US" dirty="0" err="1"/>
              <a:t>pt</a:t>
            </a:r>
            <a:endParaRPr lang="en-GB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1163565A-C766-9759-11AC-47CF4EAB13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2000" y="540000"/>
            <a:ext cx="10972800" cy="590400"/>
          </a:xfrm>
        </p:spPr>
        <p:txBody>
          <a:bodyPr/>
          <a:lstStyle>
            <a:lvl1pPr>
              <a:defRPr sz="2400">
                <a:solidFill>
                  <a:srgbClr val="4AA851"/>
                </a:solidFill>
              </a:defRPr>
            </a:lvl1pPr>
          </a:lstStyle>
          <a:p>
            <a:r>
              <a:rPr lang="en-US" dirty="0"/>
              <a:t>MONTSERRAT 24</a:t>
            </a:r>
            <a:r>
              <a:rPr lang="ru-RU" dirty="0"/>
              <a:t> </a:t>
            </a:r>
            <a:r>
              <a:rPr lang="en-US" dirty="0" err="1"/>
              <a:t>pt</a:t>
            </a:r>
            <a:endParaRPr lang="en-GB" dirty="0"/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35ECDD13-4A32-42F5-A336-56AFC77DF2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677397" y="6463527"/>
            <a:ext cx="1588344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685767" rtl="0" eaLnBrk="1" latinLnBrk="0" hangingPunct="1">
              <a:defRPr lang="en-IN" sz="800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fld id="{5C278C81-DC2E-4A95-8BDC-79BF91C119E8}" type="datetime4">
              <a:rPr lang="ru-RU" smtClean="0"/>
              <a:t>16 августа 2022 г.</a:t>
            </a:fld>
            <a:endParaRPr lang="en-US" dirty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B1B7F73D-917B-47AB-AED7-EB76FD87388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83077" y="6463527"/>
            <a:ext cx="41148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685767" rtl="0" eaLnBrk="1" latinLnBrk="0" hangingPunct="1">
              <a:defRPr lang="en-IN" sz="8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ru-RU"/>
              <a:t>Название темы</a:t>
            </a:r>
            <a:endParaRPr lang="en-US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D96E1C4C-C28B-4A35-BC4B-C353178D4C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09601" y="6463527"/>
            <a:ext cx="884088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685767" rtl="0" eaLnBrk="1" latinLnBrk="0" hangingPunct="1">
              <a:defRPr lang="en-IN" sz="800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ru-RU"/>
              <a:t>Страница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59115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A4DF8B46-C5EE-FD6A-D4EF-06D1EBC2FE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2000" y="540000"/>
            <a:ext cx="10972800" cy="590400"/>
          </a:xfrm>
        </p:spPr>
        <p:txBody>
          <a:bodyPr/>
          <a:lstStyle>
            <a:lvl1pPr>
              <a:defRPr sz="2400">
                <a:solidFill>
                  <a:srgbClr val="4AA851"/>
                </a:solidFill>
              </a:defRPr>
            </a:lvl1pPr>
          </a:lstStyle>
          <a:p>
            <a:r>
              <a:rPr lang="en-US" dirty="0"/>
              <a:t>MONTSERRAT 24</a:t>
            </a:r>
            <a:r>
              <a:rPr lang="ru-RU" dirty="0"/>
              <a:t> </a:t>
            </a:r>
            <a:r>
              <a:rPr lang="en-US" dirty="0" err="1"/>
              <a:t>pt</a:t>
            </a:r>
            <a:endParaRPr lang="en-GB" dirty="0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72FB2D7-6EC4-432D-9D63-5A2FFA7C23C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677397" y="6463527"/>
            <a:ext cx="1588344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685767" rtl="0" eaLnBrk="1" latinLnBrk="0" hangingPunct="1">
              <a:defRPr lang="en-IN" sz="800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fld id="{022E7634-54C1-4281-B79E-116B0E56BC43}" type="datetime4">
              <a:rPr lang="ru-RU" smtClean="0"/>
              <a:t>16 августа 2022 г.</a:t>
            </a:fld>
            <a:endParaRPr lang="en-US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92E7D67A-1F89-4A03-94B7-DECD9984F7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83077" y="6463527"/>
            <a:ext cx="41148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685767" rtl="0" eaLnBrk="1" latinLnBrk="0" hangingPunct="1">
              <a:defRPr lang="en-IN" sz="8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ru-RU"/>
              <a:t>Название темы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6857CD8-7C1E-41BD-9CB0-D1C8519CCB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09601" y="6463527"/>
            <a:ext cx="884088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685767" rtl="0" eaLnBrk="1" latinLnBrk="0" hangingPunct="1">
              <a:defRPr lang="en-IN" sz="800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ru-RU"/>
              <a:t>Страница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100950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-heading+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C5774464-D9C1-E4BD-2002-E18D177542A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2000" y="1152000"/>
            <a:ext cx="109728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00479" indent="-200479">
              <a:buFont typeface="Montserrat Light" panose="00000400000000000000" pitchFamily="2" charset="-52"/>
              <a:buChar char="▶"/>
              <a:defRPr sz="2000"/>
            </a:lvl1pPr>
            <a:lvl2pPr marL="400959" indent="-200479">
              <a:buFont typeface="Montserrat Light" panose="00000400000000000000" pitchFamily="2" charset="-52"/>
              <a:buChar char="▶"/>
              <a:defRPr sz="1800"/>
            </a:lvl2pPr>
            <a:lvl3pPr marL="601440" indent="-200479">
              <a:buFont typeface="Montserrat Light" panose="00000400000000000000" pitchFamily="2" charset="-52"/>
              <a:buChar char="▶"/>
              <a:defRPr sz="1600"/>
            </a:lvl3pPr>
            <a:lvl4pPr marL="801919" indent="-200479">
              <a:buFont typeface="Montserrat Light" panose="00000400000000000000" pitchFamily="2" charset="-52"/>
              <a:buChar char="▶"/>
              <a:defRPr sz="1400"/>
            </a:lvl4pPr>
            <a:lvl5pPr marL="1002398" indent="-200479">
              <a:buFont typeface="Montserrat Light" panose="00000400000000000000" pitchFamily="2" charset="-52"/>
              <a:buChar char="▶"/>
              <a:defRPr sz="12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C1FC8F89-C7E7-C782-4980-7AD8531DA1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2000" y="540000"/>
            <a:ext cx="10972800" cy="590400"/>
          </a:xfrm>
        </p:spPr>
        <p:txBody>
          <a:bodyPr/>
          <a:lstStyle>
            <a:lvl1pPr>
              <a:defRPr sz="2400">
                <a:solidFill>
                  <a:srgbClr val="4AA851"/>
                </a:solidFill>
              </a:defRPr>
            </a:lvl1pPr>
          </a:lstStyle>
          <a:p>
            <a:r>
              <a:rPr lang="en-US" dirty="0"/>
              <a:t>MONTSERRAT 24</a:t>
            </a:r>
            <a:r>
              <a:rPr lang="ru-RU" dirty="0"/>
              <a:t> </a:t>
            </a:r>
            <a:r>
              <a:rPr lang="en-US" dirty="0" err="1"/>
              <a:t>pt</a:t>
            </a:r>
            <a:endParaRPr lang="en-GB" dirty="0"/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59F0DD1F-03DA-4627-8C0D-F254ED36F83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677397" y="6463527"/>
            <a:ext cx="1588344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685767" rtl="0" eaLnBrk="1" latinLnBrk="0" hangingPunct="1">
              <a:defRPr lang="en-IN" sz="800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fld id="{65D578E3-4BE4-43AE-A6CF-710A967BAF44}" type="datetime4">
              <a:rPr lang="ru-RU" smtClean="0"/>
              <a:t>16 августа 2022 г.</a:t>
            </a:fld>
            <a:endParaRPr lang="en-US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728A4C4E-9F32-4940-9D8E-3AAD455F54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83077" y="6463527"/>
            <a:ext cx="41148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685767" rtl="0" eaLnBrk="1" latinLnBrk="0" hangingPunct="1">
              <a:defRPr lang="en-IN" sz="8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ru-RU"/>
              <a:t>Название темы</a:t>
            </a:r>
            <a:endParaRPr lang="en-US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2CEEB6F1-DF1E-420D-B69C-08FB3032C0C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09601" y="6463527"/>
            <a:ext cx="884088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685767" rtl="0" eaLnBrk="1" latinLnBrk="0" hangingPunct="1">
              <a:defRPr lang="en-IN" sz="800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ru-RU"/>
              <a:t>Страница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41951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93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able Placeholder 4">
            <a:extLst>
              <a:ext uri="{FF2B5EF4-FFF2-40B4-BE49-F238E27FC236}">
                <a16:creationId xmlns:a16="http://schemas.microsoft.com/office/drawing/2014/main" id="{E607FF76-A252-6B31-6BDA-27CC9559ACA9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12000" y="1152000"/>
            <a:ext cx="4954924" cy="4267457"/>
          </a:xfrm>
        </p:spPr>
        <p:txBody>
          <a:bodyPr/>
          <a:lstStyle/>
          <a:p>
            <a:r>
              <a:rPr lang="en-GB" dirty="0"/>
              <a:t>Click icon to add table</a:t>
            </a:r>
            <a:endParaRPr lang="en-IN" dirty="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A854A6AD-18F9-8E5A-0858-6F7E87C6DDF7}"/>
              </a:ext>
            </a:extLst>
          </p:cNvPr>
          <p:cNvSpPr/>
          <p:nvPr userDrawn="1"/>
        </p:nvSpPr>
        <p:spPr>
          <a:xfrm>
            <a:off x="7389153" y="1153639"/>
            <a:ext cx="4193244" cy="2306967"/>
          </a:xfrm>
          <a:prstGeom prst="rect">
            <a:avLst/>
          </a:prstGeom>
          <a:solidFill>
            <a:srgbClr val="4AA85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RU" sz="1200" dirty="0">
              <a:solidFill>
                <a:schemeClr val="tx1"/>
              </a:solidFill>
            </a:endParaRP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DB666176-43F0-6CD8-397F-7AC91BEE1A0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77921" y="1288654"/>
            <a:ext cx="3852079" cy="373807"/>
          </a:xfrm>
        </p:spPr>
        <p:txBody>
          <a:bodyPr/>
          <a:lstStyle>
            <a:lvl1pPr marL="0" indent="0">
              <a:buNone/>
              <a:defRPr b="1">
                <a:solidFill>
                  <a:schemeClr val="tx1"/>
                </a:solidFill>
                <a:latin typeface="Montserrat" panose="00000500000000000000" pitchFamily="2" charset="-52"/>
              </a:defRPr>
            </a:lvl1pPr>
          </a:lstStyle>
          <a:p>
            <a:pPr lvl="0"/>
            <a:r>
              <a:rPr lang="en-US" dirty="0"/>
              <a:t>Key Takeaways</a:t>
            </a:r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92CF4E57-BD43-9F4B-B5CF-667B45F53D2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577921" y="1785727"/>
            <a:ext cx="3852079" cy="1611554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Lorem ipsum dolor, 12pt, </a:t>
            </a:r>
            <a:r>
              <a:rPr lang="en-US" dirty="0" err="1"/>
              <a:t>Utinam</a:t>
            </a:r>
            <a:r>
              <a:rPr lang="en-US" dirty="0"/>
              <a:t>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abhorreant</a:t>
            </a:r>
            <a:r>
              <a:rPr lang="en-US" dirty="0"/>
              <a:t> </a:t>
            </a:r>
            <a:r>
              <a:rPr lang="en-US" dirty="0" err="1"/>
              <a:t>sead</a:t>
            </a:r>
            <a:r>
              <a:rPr lang="en-US" dirty="0"/>
              <a:t>. </a:t>
            </a:r>
            <a:r>
              <a:rPr lang="en-US" dirty="0" err="1"/>
              <a:t>Putant</a:t>
            </a:r>
            <a:r>
              <a:rPr lang="en-US" dirty="0"/>
              <a:t> </a:t>
            </a:r>
            <a:r>
              <a:rPr lang="en-US" dirty="0" err="1"/>
              <a:t>probatus</a:t>
            </a:r>
            <a:r>
              <a:rPr lang="en-US" dirty="0"/>
              <a:t> id vis, ad his </a:t>
            </a:r>
            <a:r>
              <a:rPr lang="en-US" dirty="0" err="1"/>
              <a:t>meis</a:t>
            </a:r>
            <a:r>
              <a:rPr lang="en-US" dirty="0"/>
              <a:t> </a:t>
            </a:r>
            <a:r>
              <a:rPr lang="en-US" dirty="0" err="1"/>
              <a:t>habemus</a:t>
            </a:r>
            <a:r>
              <a:rPr lang="en-US" dirty="0"/>
              <a:t> </a:t>
            </a:r>
            <a:r>
              <a:rPr lang="en-US" dirty="0" err="1"/>
              <a:t>repudiare</a:t>
            </a:r>
            <a:r>
              <a:rPr lang="en-US" dirty="0"/>
              <a:t>, has an </a:t>
            </a:r>
            <a:r>
              <a:rPr lang="en-US" dirty="0" err="1"/>
              <a:t>pericula</a:t>
            </a:r>
            <a:r>
              <a:rPr lang="en-US" dirty="0"/>
              <a:t> </a:t>
            </a:r>
            <a:r>
              <a:rPr lang="en-US" dirty="0" err="1"/>
              <a:t>tractatos</a:t>
            </a:r>
            <a:r>
              <a:rPr lang="en-US" dirty="0"/>
              <a:t>. </a:t>
            </a:r>
            <a:r>
              <a:rPr lang="en-US" dirty="0" err="1"/>
              <a:t>Nec</a:t>
            </a:r>
            <a:r>
              <a:rPr lang="en-US" dirty="0"/>
              <a:t> </a:t>
            </a:r>
            <a:r>
              <a:rPr lang="en-US" dirty="0" err="1"/>
              <a:t>debitis</a:t>
            </a:r>
            <a:r>
              <a:rPr lang="en-US" dirty="0"/>
              <a:t> </a:t>
            </a:r>
            <a:r>
              <a:rPr lang="en-US" dirty="0" err="1"/>
              <a:t>dissentias</a:t>
            </a:r>
            <a:r>
              <a:rPr lang="en-US" dirty="0"/>
              <a:t> ad. </a:t>
            </a:r>
            <a:r>
              <a:rPr lang="en-US" dirty="0" err="1"/>
              <a:t>Patrioque</a:t>
            </a:r>
            <a:r>
              <a:rPr lang="en-US" dirty="0"/>
              <a:t> </a:t>
            </a:r>
            <a:r>
              <a:rPr lang="en-US" dirty="0" err="1"/>
              <a:t>voluptatum</a:t>
            </a:r>
            <a:r>
              <a:rPr lang="en-US" dirty="0"/>
              <a:t> sed ex, id </a:t>
            </a:r>
            <a:r>
              <a:rPr lang="en-US" dirty="0" err="1"/>
              <a:t>admodum</a:t>
            </a:r>
            <a:r>
              <a:rPr lang="en-US" dirty="0"/>
              <a:t>.</a:t>
            </a:r>
          </a:p>
          <a:p>
            <a:pPr lvl="0"/>
            <a:endParaRPr lang="en-US" dirty="0"/>
          </a:p>
        </p:txBody>
      </p:sp>
      <p:sp>
        <p:nvSpPr>
          <p:cNvPr id="25" name="Text Placeholder 16">
            <a:extLst>
              <a:ext uri="{FF2B5EF4-FFF2-40B4-BE49-F238E27FC236}">
                <a16:creationId xmlns:a16="http://schemas.microsoft.com/office/drawing/2014/main" id="{2F39BC15-6F1E-8FC3-8C51-FF523AEB0AF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427669" y="4105325"/>
            <a:ext cx="3157131" cy="276593"/>
          </a:xfrm>
        </p:spPr>
        <p:txBody>
          <a:bodyPr/>
          <a:lstStyle>
            <a:lvl1pPr marL="0" indent="0">
              <a:buNone/>
              <a:defRPr sz="1200" b="1" i="0">
                <a:solidFill>
                  <a:srgbClr val="4AA85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26" name="Text Placeholder 16">
            <a:extLst>
              <a:ext uri="{FF2B5EF4-FFF2-40B4-BE49-F238E27FC236}">
                <a16:creationId xmlns:a16="http://schemas.microsoft.com/office/drawing/2014/main" id="{FE50F889-C11E-CBB4-B59F-DA867A20166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427669" y="4404849"/>
            <a:ext cx="3157131" cy="276593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Job Title</a:t>
            </a:r>
            <a:endParaRPr lang="en-GB" dirty="0"/>
          </a:p>
        </p:txBody>
      </p:sp>
      <p:sp>
        <p:nvSpPr>
          <p:cNvPr id="27" name="Picture Placeholder 19">
            <a:extLst>
              <a:ext uri="{FF2B5EF4-FFF2-40B4-BE49-F238E27FC236}">
                <a16:creationId xmlns:a16="http://schemas.microsoft.com/office/drawing/2014/main" id="{52DEF18F-8BAD-7405-90F7-4E166D97238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389153" y="4025762"/>
            <a:ext cx="808712" cy="816824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676">
                <a:solidFill>
                  <a:schemeClr val="bg1"/>
                </a:solidFill>
                <a:latin typeface="Montserrat Light" panose="00000400000000000000" pitchFamily="2" charset="-52"/>
              </a:defRPr>
            </a:lvl1pPr>
          </a:lstStyle>
          <a:p>
            <a:r>
              <a:rPr lang="ru-RU" dirty="0"/>
              <a:t>Вставка рисунка</a:t>
            </a:r>
            <a:endParaRPr lang="en-GB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E7B5367E-9D50-B6A6-CD63-5E0E15B58F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2000" y="540000"/>
            <a:ext cx="10972800" cy="590400"/>
          </a:xfrm>
        </p:spPr>
        <p:txBody>
          <a:bodyPr/>
          <a:lstStyle>
            <a:lvl1pPr>
              <a:defRPr sz="2400">
                <a:solidFill>
                  <a:srgbClr val="4AA851"/>
                </a:solidFill>
              </a:defRPr>
            </a:lvl1pPr>
          </a:lstStyle>
          <a:p>
            <a:r>
              <a:rPr lang="en-US" dirty="0"/>
              <a:t>MONTSERRAT 24</a:t>
            </a:r>
            <a:r>
              <a:rPr lang="ru-RU" dirty="0"/>
              <a:t> </a:t>
            </a:r>
            <a:r>
              <a:rPr lang="en-US" dirty="0" err="1"/>
              <a:t>pt</a:t>
            </a:r>
            <a:endParaRPr lang="en-GB" dirty="0"/>
          </a:p>
        </p:txBody>
      </p:sp>
      <p:sp>
        <p:nvSpPr>
          <p:cNvPr id="18" name="Date Placeholder 3">
            <a:extLst>
              <a:ext uri="{FF2B5EF4-FFF2-40B4-BE49-F238E27FC236}">
                <a16:creationId xmlns:a16="http://schemas.microsoft.com/office/drawing/2014/main" id="{A105F2BD-39E6-49F4-8678-6D4D757ECF4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677397" y="6463527"/>
            <a:ext cx="1588344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685767" rtl="0" eaLnBrk="1" latinLnBrk="0" hangingPunct="1">
              <a:defRPr lang="en-IN" sz="800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fld id="{D7C4AA69-B674-446F-92BC-997F31D34B2B}" type="datetime4">
              <a:rPr lang="ru-RU" smtClean="0"/>
              <a:t>16 августа 2022 г.</a:t>
            </a:fld>
            <a:endParaRPr lang="en-US" dirty="0"/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D5D8702D-D0B4-49FF-88D7-BAFBCA6804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83077" y="6463527"/>
            <a:ext cx="41148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685767" rtl="0" eaLnBrk="1" latinLnBrk="0" hangingPunct="1">
              <a:defRPr lang="en-IN" sz="8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ru-RU"/>
              <a:t>Название темы</a:t>
            </a:r>
            <a:endParaRPr lang="en-US" dirty="0"/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179E1405-5D9C-43EA-BA94-58630C7B27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09601" y="6463527"/>
            <a:ext cx="884088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685767" rtl="0" eaLnBrk="1" latinLnBrk="0" hangingPunct="1">
              <a:defRPr lang="en-IN" sz="800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ru-RU"/>
              <a:t>Страница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68922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-heading+bullets+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48AB0EC9-9088-CB7F-0A09-053DB35E78F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12000" y="1368000"/>
            <a:ext cx="5384800" cy="4621506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012"/>
            </a:lvl6pPr>
            <a:lvl7pPr>
              <a:defRPr sz="1012"/>
            </a:lvl7pPr>
            <a:lvl8pPr>
              <a:defRPr sz="1012"/>
            </a:lvl8pPr>
            <a:lvl9pPr>
              <a:defRPr sz="1012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3D30C533-5F8B-D0C7-95CF-852AF84DE82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97599" y="1368000"/>
            <a:ext cx="5384800" cy="4621506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012"/>
            </a:lvl6pPr>
            <a:lvl7pPr>
              <a:defRPr sz="1012"/>
            </a:lvl7pPr>
            <a:lvl8pPr>
              <a:defRPr sz="1012"/>
            </a:lvl8pPr>
            <a:lvl9pPr>
              <a:defRPr sz="1012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4DC18850-C69A-D08D-1696-5516A58835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2000" y="540000"/>
            <a:ext cx="10972800" cy="590400"/>
          </a:xfrm>
        </p:spPr>
        <p:txBody>
          <a:bodyPr/>
          <a:lstStyle>
            <a:lvl1pPr>
              <a:defRPr sz="2400">
                <a:solidFill>
                  <a:srgbClr val="4AA851"/>
                </a:solidFill>
              </a:defRPr>
            </a:lvl1pPr>
          </a:lstStyle>
          <a:p>
            <a:r>
              <a:rPr lang="en-US" dirty="0"/>
              <a:t>MONTSERRAT 24</a:t>
            </a:r>
            <a:r>
              <a:rPr lang="ru-RU" dirty="0"/>
              <a:t> </a:t>
            </a:r>
            <a:r>
              <a:rPr lang="en-US" dirty="0" err="1"/>
              <a:t>pt</a:t>
            </a:r>
            <a:endParaRPr lang="en-GB" dirty="0"/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B644CEAC-72E9-498B-AD80-BB2A2962A0D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677397" y="6463527"/>
            <a:ext cx="1588344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685767" rtl="0" eaLnBrk="1" latinLnBrk="0" hangingPunct="1">
              <a:defRPr lang="en-IN" sz="800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fld id="{9E735E05-FC4E-4219-9B65-75F75C4C6D34}" type="datetime4">
              <a:rPr lang="ru-RU" smtClean="0"/>
              <a:t>16 августа 2022 г.</a:t>
            </a:fld>
            <a:endParaRPr lang="en-US" dirty="0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47B0771B-2EE6-4889-A645-697818D03E0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83077" y="6463527"/>
            <a:ext cx="41148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685767" rtl="0" eaLnBrk="1" latinLnBrk="0" hangingPunct="1">
              <a:defRPr lang="en-IN" sz="8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ru-RU"/>
              <a:t>Название темы</a:t>
            </a:r>
            <a:endParaRPr lang="en-US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4EAED381-E19C-40FE-84DA-C9EFB68E28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09601" y="6463527"/>
            <a:ext cx="884088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685767" rtl="0" eaLnBrk="1" latinLnBrk="0" hangingPunct="1">
              <a:defRPr lang="en-IN" sz="800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ru-RU"/>
              <a:t>Страница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656677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-headings+bullets+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59817C60-384B-9E48-1F36-A66FC63B83E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2000" y="1814502"/>
            <a:ext cx="5390400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DDFB6202-685B-FA63-9F1A-E941F6C348D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1999" y="1814502"/>
            <a:ext cx="5390400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AD8B5DA8-EE87-D300-1D57-261E4B6DC80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12000" y="2436117"/>
            <a:ext cx="5486399" cy="3705192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012"/>
            </a:lvl6pPr>
            <a:lvl7pPr>
              <a:defRPr sz="1012"/>
            </a:lvl7pPr>
            <a:lvl8pPr>
              <a:defRPr sz="1012"/>
            </a:lvl8pPr>
            <a:lvl9pPr>
              <a:defRPr sz="1012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47805B54-EEB2-3F64-E09B-30907CDD77F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91999" y="2436117"/>
            <a:ext cx="5486399" cy="3705192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012"/>
            </a:lvl6pPr>
            <a:lvl7pPr>
              <a:defRPr sz="1012"/>
            </a:lvl7pPr>
            <a:lvl8pPr>
              <a:defRPr sz="1012"/>
            </a:lvl8pPr>
            <a:lvl9pPr>
              <a:defRPr sz="1012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383A235C-6143-4D9A-8927-A68E78F210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2000" y="540000"/>
            <a:ext cx="10972800" cy="590400"/>
          </a:xfrm>
        </p:spPr>
        <p:txBody>
          <a:bodyPr/>
          <a:lstStyle>
            <a:lvl1pPr>
              <a:defRPr sz="2400">
                <a:solidFill>
                  <a:srgbClr val="4AA851"/>
                </a:solidFill>
              </a:defRPr>
            </a:lvl1pPr>
          </a:lstStyle>
          <a:p>
            <a:r>
              <a:rPr lang="en-US" dirty="0"/>
              <a:t>MONTSERRAT 24</a:t>
            </a:r>
            <a:r>
              <a:rPr lang="ru-RU" dirty="0"/>
              <a:t> </a:t>
            </a:r>
            <a:r>
              <a:rPr lang="en-US" dirty="0" err="1"/>
              <a:t>pt</a:t>
            </a:r>
            <a:endParaRPr lang="en-GB" dirty="0"/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C954AB17-6B08-402F-964D-56DB9E54BB86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2677397" y="6463527"/>
            <a:ext cx="1588344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685767" rtl="0" eaLnBrk="1" latinLnBrk="0" hangingPunct="1">
              <a:defRPr lang="en-IN" sz="800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fld id="{BE69F40C-2E5C-44D7-9EA0-76957E3E79F0}" type="datetime4">
              <a:rPr lang="ru-RU" smtClean="0"/>
              <a:t>16 августа 2022 г.</a:t>
            </a:fld>
            <a:endParaRPr lang="en-US" dirty="0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4CE08D17-B25C-4FBC-A3BA-98438A85213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83077" y="6463527"/>
            <a:ext cx="41148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685767" rtl="0" eaLnBrk="1" latinLnBrk="0" hangingPunct="1">
              <a:defRPr lang="en-IN" sz="8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ru-RU"/>
              <a:t>Название темы</a:t>
            </a:r>
            <a:endParaRPr lang="en-US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946E8F1E-4CE8-4FD7-A48C-8DF1C60A20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09601" y="6463527"/>
            <a:ext cx="884088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685767" rtl="0" eaLnBrk="1" latinLnBrk="0" hangingPunct="1">
              <a:defRPr lang="en-IN" sz="800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ru-RU"/>
              <a:t>Страница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119196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56BE48DB-335D-48F7-B909-D8E3977E8F9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677397" y="6463527"/>
            <a:ext cx="1588344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685767" rtl="0" eaLnBrk="1" latinLnBrk="0" hangingPunct="1">
              <a:defRPr lang="en-IN" sz="800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fld id="{624223A7-E2E2-4511-8A6B-74BBED49AFFF}" type="datetime4">
              <a:rPr lang="ru-RU" smtClean="0"/>
              <a:t>16 августа 2022 г.</a:t>
            </a:fld>
            <a:endParaRPr lang="en-US" dirty="0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D71E4A19-94F2-435C-B905-4E01CF5FDF8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83077" y="6463527"/>
            <a:ext cx="41148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685767" rtl="0" eaLnBrk="1" latinLnBrk="0" hangingPunct="1">
              <a:defRPr lang="en-IN" sz="8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ru-RU"/>
              <a:t>Название темы</a:t>
            </a:r>
            <a:endParaRPr lang="en-US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645FB02-42E1-4F6E-B3D4-F100FE622D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09601" y="6463527"/>
            <a:ext cx="884088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685767" rtl="0" eaLnBrk="1" latinLnBrk="0" hangingPunct="1">
              <a:defRPr lang="en-IN" sz="800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ru-RU"/>
              <a:t>Страница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788251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-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" name="Рисунок 10">
            <a:extLst>
              <a:ext uri="{FF2B5EF4-FFF2-40B4-BE49-F238E27FC236}">
                <a16:creationId xmlns:a16="http://schemas.microsoft.com/office/drawing/2014/main" id="{A40D561E-CEA8-706C-2C69-B5CBF26A9C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7315200" y="2346882"/>
            <a:ext cx="4889467" cy="4511130"/>
          </a:xfrm>
          <a:prstGeom prst="rect">
            <a:avLst/>
          </a:prstGeom>
        </p:spPr>
      </p:pic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08684721-4E90-BB74-CFC2-D45CD56E07E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87692" y="2081378"/>
            <a:ext cx="5292000" cy="1800000"/>
          </a:xfrm>
        </p:spPr>
        <p:txBody>
          <a:bodyPr lIns="90000" tIns="46800" rIns="90000" bIns="46800"/>
          <a:lstStyle>
            <a:lvl1pPr marL="0" indent="0">
              <a:buNone/>
              <a:defRPr lang="en-US" sz="2400" dirty="0" smtClean="0">
                <a:latin typeface="Georgia" panose="02040502050405020303" pitchFamily="18" charset="0"/>
              </a:defRPr>
            </a:lvl1pPr>
          </a:lstStyle>
          <a:p>
            <a:pPr marL="267449" lvl="0" indent="-267449">
              <a:spcBef>
                <a:spcPts val="0"/>
              </a:spcBef>
            </a:pPr>
            <a:r>
              <a:rPr lang="en-GB" dirty="0"/>
              <a:t>Click to edit Master text styles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31F29C52-B712-4FAB-9BFC-5FBF4733083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744534" y="4056459"/>
            <a:ext cx="3906686" cy="297677"/>
          </a:xfrm>
        </p:spPr>
        <p:txBody>
          <a:bodyPr lIns="90000" tIns="46800" rIns="90000" bIns="46800"/>
          <a:lstStyle>
            <a:lvl1pPr marL="0" indent="0" algn="l" defTabSz="685767" rtl="0" eaLnBrk="1" latinLnBrk="0" hangingPunct="1">
              <a:spcBef>
                <a:spcPts val="0"/>
              </a:spcBef>
              <a:spcAft>
                <a:spcPts val="452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200" b="1" kern="1200" dirty="0" smtClean="0">
                <a:solidFill>
                  <a:schemeClr val="tx2"/>
                </a:solidFill>
                <a:latin typeface="Montserrat" pitchFamily="2" charset="77"/>
                <a:ea typeface="+mn-ea"/>
                <a:cs typeface="+mn-cs"/>
              </a:defRPr>
            </a:lvl1pPr>
            <a:lvl2pPr marL="267449" indent="0">
              <a:buNone/>
              <a:defRPr lang="en-US" sz="1500" smtClean="0">
                <a:latin typeface="+mn-lt"/>
              </a:defRPr>
            </a:lvl2pPr>
            <a:lvl3pPr>
              <a:defRPr lang="en-US" sz="1351" smtClean="0">
                <a:latin typeface="+mn-lt"/>
              </a:defRPr>
            </a:lvl3pPr>
            <a:lvl4pPr>
              <a:defRPr lang="en-US" sz="1200" smtClean="0">
                <a:latin typeface="+mn-lt"/>
              </a:defRPr>
            </a:lvl4pPr>
            <a:lvl5pPr>
              <a:defRPr lang="en-IN" sz="12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Name Surnam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96C35C4B-59B4-6036-EC0F-C0FF0D39A3B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44534" y="4375897"/>
            <a:ext cx="3906686" cy="297678"/>
          </a:xfrm>
        </p:spPr>
        <p:txBody>
          <a:bodyPr lIns="90000" tIns="46800" rIns="90000" bIns="46800"/>
          <a:lstStyle>
            <a:lvl1pPr marL="0" indent="0" algn="l" defTabSz="685767" rtl="0" eaLnBrk="1" latinLnBrk="0" hangingPunct="1">
              <a:spcBef>
                <a:spcPts val="0"/>
              </a:spcBef>
              <a:spcAft>
                <a:spcPts val="452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67449" indent="0">
              <a:buNone/>
              <a:defRPr lang="en-US" sz="1500" smtClean="0">
                <a:latin typeface="+mn-lt"/>
              </a:defRPr>
            </a:lvl2pPr>
            <a:lvl3pPr>
              <a:defRPr lang="en-US" sz="1351" smtClean="0">
                <a:latin typeface="+mn-lt"/>
              </a:defRPr>
            </a:lvl3pPr>
            <a:lvl4pPr>
              <a:defRPr lang="en-US" sz="1200" smtClean="0">
                <a:latin typeface="+mn-lt"/>
              </a:defRPr>
            </a:lvl4pPr>
            <a:lvl5pPr>
              <a:defRPr lang="en-IN" sz="12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Job Title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8B533051-C979-5081-CD35-DB93D3D923DE}"/>
              </a:ext>
            </a:extLst>
          </p:cNvPr>
          <p:cNvSpPr txBox="1">
            <a:spLocks/>
          </p:cNvSpPr>
          <p:nvPr userDrawn="1"/>
        </p:nvSpPr>
        <p:spPr>
          <a:xfrm rot="10800000">
            <a:off x="2040716" y="1961800"/>
            <a:ext cx="846976" cy="882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2000" dirty="0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  <p:grpSp>
        <p:nvGrpSpPr>
          <p:cNvPr id="20" name="Группа 17">
            <a:extLst>
              <a:ext uri="{FF2B5EF4-FFF2-40B4-BE49-F238E27FC236}">
                <a16:creationId xmlns:a16="http://schemas.microsoft.com/office/drawing/2014/main" id="{9F35C767-A6D0-1A35-EB99-DAA8FFCC6F86}"/>
              </a:ext>
            </a:extLst>
          </p:cNvPr>
          <p:cNvGrpSpPr/>
          <p:nvPr userDrawn="1"/>
        </p:nvGrpSpPr>
        <p:grpSpPr>
          <a:xfrm>
            <a:off x="2887692" y="3867059"/>
            <a:ext cx="5292000" cy="715774"/>
            <a:chOff x="1709327" y="4312446"/>
            <a:chExt cx="5292000" cy="715774"/>
          </a:xfrm>
        </p:grpSpPr>
        <p:cxnSp>
          <p:nvCxnSpPr>
            <p:cNvPr id="21" name="Прямая соединительная линия 19">
              <a:extLst>
                <a:ext uri="{FF2B5EF4-FFF2-40B4-BE49-F238E27FC236}">
                  <a16:creationId xmlns:a16="http://schemas.microsoft.com/office/drawing/2014/main" id="{52F9DBED-58DD-AD86-C9FE-C9042A73EA7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709327" y="4334079"/>
              <a:ext cx="2935234" cy="0"/>
            </a:xfrm>
            <a:prstGeom prst="line">
              <a:avLst/>
            </a:prstGeom>
            <a:ln w="3810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Прямая соединительная линия 20">
              <a:extLst>
                <a:ext uri="{FF2B5EF4-FFF2-40B4-BE49-F238E27FC236}">
                  <a16:creationId xmlns:a16="http://schemas.microsoft.com/office/drawing/2014/main" id="{7F1BFF85-5CB6-995A-1B06-9D264796A1F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631861" y="4326765"/>
              <a:ext cx="720682" cy="682954"/>
            </a:xfrm>
            <a:prstGeom prst="line">
              <a:avLst/>
            </a:prstGeom>
            <a:ln w="3810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Прямая соединительная линия 21">
              <a:extLst>
                <a:ext uri="{FF2B5EF4-FFF2-40B4-BE49-F238E27FC236}">
                  <a16:creationId xmlns:a16="http://schemas.microsoft.com/office/drawing/2014/main" id="{AD7EA5F4-AD76-6113-70F3-D81B6D35F305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5352543" y="4312446"/>
              <a:ext cx="0" cy="715774"/>
            </a:xfrm>
            <a:prstGeom prst="line">
              <a:avLst/>
            </a:prstGeom>
            <a:ln w="3810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Прямая соединительная линия 22">
              <a:extLst>
                <a:ext uri="{FF2B5EF4-FFF2-40B4-BE49-F238E27FC236}">
                  <a16:creationId xmlns:a16="http://schemas.microsoft.com/office/drawing/2014/main" id="{AD765D7F-8EB8-16C8-4CEC-F9E4DB9D5CB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352543" y="4331245"/>
              <a:ext cx="1648784" cy="0"/>
            </a:xfrm>
            <a:prstGeom prst="line">
              <a:avLst/>
            </a:prstGeom>
            <a:ln w="38100"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5" name="Рисунок 10">
            <a:extLst>
              <a:ext uri="{FF2B5EF4-FFF2-40B4-BE49-F238E27FC236}">
                <a16:creationId xmlns:a16="http://schemas.microsoft.com/office/drawing/2014/main" id="{5EFAC102-8D83-DD3C-31C2-9E64F6EA586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8208818" y="3175737"/>
            <a:ext cx="3993572" cy="3684558"/>
          </a:xfrm>
          <a:prstGeom prst="rect">
            <a:avLst/>
          </a:prstGeom>
        </p:spPr>
      </p:pic>
      <p:sp>
        <p:nvSpPr>
          <p:cNvPr id="29" name="Date Placeholder 3">
            <a:extLst>
              <a:ext uri="{FF2B5EF4-FFF2-40B4-BE49-F238E27FC236}">
                <a16:creationId xmlns:a16="http://schemas.microsoft.com/office/drawing/2014/main" id="{0B5E51E8-8D36-4595-8192-5B415730074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677397" y="6463527"/>
            <a:ext cx="1588344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685767" rtl="0" eaLnBrk="1" latinLnBrk="0" hangingPunct="1">
              <a:defRPr lang="en-IN" sz="800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fld id="{FBF3FC79-92E4-4492-A7A4-7465507BB574}" type="datetime4">
              <a:rPr lang="ru-RU" smtClean="0"/>
              <a:t>16 августа 2022 г.</a:t>
            </a:fld>
            <a:endParaRPr lang="en-US" dirty="0"/>
          </a:p>
        </p:txBody>
      </p:sp>
      <p:sp>
        <p:nvSpPr>
          <p:cNvPr id="30" name="Footer Placeholder 4">
            <a:extLst>
              <a:ext uri="{FF2B5EF4-FFF2-40B4-BE49-F238E27FC236}">
                <a16:creationId xmlns:a16="http://schemas.microsoft.com/office/drawing/2014/main" id="{B21EDCF0-232E-4DD5-AAD4-31F3924FE9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83077" y="6463527"/>
            <a:ext cx="41148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685767" rtl="0" eaLnBrk="1" latinLnBrk="0" hangingPunct="1">
              <a:defRPr lang="en-IN" sz="8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ru-RU"/>
              <a:t>Название темы</a:t>
            </a:r>
            <a:endParaRPr lang="en-US" dirty="0"/>
          </a:p>
        </p:txBody>
      </p:sp>
      <p:sp>
        <p:nvSpPr>
          <p:cNvPr id="31" name="Slide Number Placeholder 5">
            <a:extLst>
              <a:ext uri="{FF2B5EF4-FFF2-40B4-BE49-F238E27FC236}">
                <a16:creationId xmlns:a16="http://schemas.microsoft.com/office/drawing/2014/main" id="{2BED41D5-209F-4355-93C5-B125F126C9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09601" y="6463527"/>
            <a:ext cx="884088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685767" rtl="0" eaLnBrk="1" latinLnBrk="0" hangingPunct="1">
              <a:defRPr lang="en-IN" sz="800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ru-RU"/>
              <a:t>Страница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52296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De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6768B3CA-17E7-3391-7908-1F2B4EF2D6F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2000" y="2313180"/>
            <a:ext cx="6767372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2400" b="1" i="0" u="none" strike="noStrike" cap="none" spc="0" normalizeH="0" baseline="0" dirty="0">
                <a:ln>
                  <a:noFill/>
                </a:ln>
                <a:solidFill>
                  <a:srgbClr val="4AA85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200479" marR="0" lvl="0" indent="-200479" defTabSz="566606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CHAPTER. MONTSERRAT 24</a:t>
            </a:r>
            <a:r>
              <a:rPr lang="ru-RU" dirty="0"/>
              <a:t> </a:t>
            </a:r>
            <a:r>
              <a:rPr lang="en-US" dirty="0" err="1"/>
              <a:t>pt</a:t>
            </a:r>
            <a:endParaRPr lang="en-IN" dirty="0"/>
          </a:p>
        </p:txBody>
      </p:sp>
      <p:pic>
        <p:nvPicPr>
          <p:cNvPr id="8" name="Рисунок 10">
            <a:extLst>
              <a:ext uri="{FF2B5EF4-FFF2-40B4-BE49-F238E27FC236}">
                <a16:creationId xmlns:a16="http://schemas.microsoft.com/office/drawing/2014/main" id="{A8934704-856D-D808-0E31-C3A7FBE05EC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8208818" y="3175737"/>
            <a:ext cx="3993572" cy="3684558"/>
          </a:xfrm>
          <a:prstGeom prst="rect">
            <a:avLst/>
          </a:prstGeom>
        </p:spPr>
      </p:pic>
      <p:grpSp>
        <p:nvGrpSpPr>
          <p:cNvPr id="38" name="Group 37">
            <a:extLst>
              <a:ext uri="{FF2B5EF4-FFF2-40B4-BE49-F238E27FC236}">
                <a16:creationId xmlns:a16="http://schemas.microsoft.com/office/drawing/2014/main" id="{32A08673-C138-4CE4-893A-9B78BED03956}"/>
              </a:ext>
            </a:extLst>
          </p:cNvPr>
          <p:cNvGrpSpPr/>
          <p:nvPr userDrawn="1"/>
        </p:nvGrpSpPr>
        <p:grpSpPr>
          <a:xfrm>
            <a:off x="10346853" y="658368"/>
            <a:ext cx="1319534" cy="970407"/>
            <a:chOff x="10332720" y="658368"/>
            <a:chExt cx="1319534" cy="970407"/>
          </a:xfrm>
        </p:grpSpPr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2FAE8A47-2529-43DD-BB95-8E0A5490EFCA}"/>
                </a:ext>
              </a:extLst>
            </p:cNvPr>
            <p:cNvGrpSpPr/>
            <p:nvPr userDrawn="1"/>
          </p:nvGrpSpPr>
          <p:grpSpPr>
            <a:xfrm>
              <a:off x="10344154" y="1376363"/>
              <a:ext cx="1308100" cy="252412"/>
              <a:chOff x="10344154" y="1376363"/>
              <a:chExt cx="1308100" cy="252412"/>
            </a:xfrm>
          </p:grpSpPr>
          <p:sp>
            <p:nvSpPr>
              <p:cNvPr id="78" name="Freeform 5">
                <a:extLst>
                  <a:ext uri="{FF2B5EF4-FFF2-40B4-BE49-F238E27FC236}">
                    <a16:creationId xmlns:a16="http://schemas.microsoft.com/office/drawing/2014/main" id="{145DF9F8-CBE3-405A-89A8-4017FA91FAA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344154" y="1379538"/>
                <a:ext cx="85725" cy="90487"/>
              </a:xfrm>
              <a:custGeom>
                <a:avLst/>
                <a:gdLst>
                  <a:gd name="T0" fmla="*/ 109 w 109"/>
                  <a:gd name="T1" fmla="*/ 0 h 115"/>
                  <a:gd name="T2" fmla="*/ 109 w 109"/>
                  <a:gd name="T3" fmla="*/ 115 h 115"/>
                  <a:gd name="T4" fmla="*/ 77 w 109"/>
                  <a:gd name="T5" fmla="*/ 115 h 115"/>
                  <a:gd name="T6" fmla="*/ 77 w 109"/>
                  <a:gd name="T7" fmla="*/ 69 h 115"/>
                  <a:gd name="T8" fmla="*/ 32 w 109"/>
                  <a:gd name="T9" fmla="*/ 69 h 115"/>
                  <a:gd name="T10" fmla="*/ 32 w 109"/>
                  <a:gd name="T11" fmla="*/ 115 h 115"/>
                  <a:gd name="T12" fmla="*/ 0 w 109"/>
                  <a:gd name="T13" fmla="*/ 115 h 115"/>
                  <a:gd name="T14" fmla="*/ 0 w 109"/>
                  <a:gd name="T15" fmla="*/ 0 h 115"/>
                  <a:gd name="T16" fmla="*/ 32 w 109"/>
                  <a:gd name="T17" fmla="*/ 0 h 115"/>
                  <a:gd name="T18" fmla="*/ 32 w 109"/>
                  <a:gd name="T19" fmla="*/ 43 h 115"/>
                  <a:gd name="T20" fmla="*/ 77 w 109"/>
                  <a:gd name="T21" fmla="*/ 43 h 115"/>
                  <a:gd name="T22" fmla="*/ 77 w 109"/>
                  <a:gd name="T23" fmla="*/ 0 h 115"/>
                  <a:gd name="T24" fmla="*/ 109 w 109"/>
                  <a:gd name="T25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9" h="115">
                    <a:moveTo>
                      <a:pt x="109" y="0"/>
                    </a:moveTo>
                    <a:lnTo>
                      <a:pt x="109" y="115"/>
                    </a:lnTo>
                    <a:lnTo>
                      <a:pt x="77" y="115"/>
                    </a:lnTo>
                    <a:lnTo>
                      <a:pt x="77" y="69"/>
                    </a:lnTo>
                    <a:lnTo>
                      <a:pt x="32" y="69"/>
                    </a:lnTo>
                    <a:lnTo>
                      <a:pt x="3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2" y="0"/>
                    </a:lnTo>
                    <a:lnTo>
                      <a:pt x="32" y="43"/>
                    </a:lnTo>
                    <a:lnTo>
                      <a:pt x="77" y="43"/>
                    </a:lnTo>
                    <a:lnTo>
                      <a:pt x="77" y="0"/>
                    </a:lnTo>
                    <a:lnTo>
                      <a:pt x="109" y="0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6">
                <a:extLst>
                  <a:ext uri="{FF2B5EF4-FFF2-40B4-BE49-F238E27FC236}">
                    <a16:creationId xmlns:a16="http://schemas.microsoft.com/office/drawing/2014/main" id="{F4CC3A24-714D-43E3-B3EA-F0C1C18D1CBC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447341" y="1377950"/>
                <a:ext cx="101600" cy="93662"/>
              </a:xfrm>
              <a:custGeom>
                <a:avLst/>
                <a:gdLst>
                  <a:gd name="T0" fmla="*/ 31 w 128"/>
                  <a:gd name="T1" fmla="*/ 112 h 119"/>
                  <a:gd name="T2" fmla="*/ 21 w 128"/>
                  <a:gd name="T3" fmla="*/ 105 h 119"/>
                  <a:gd name="T4" fmla="*/ 6 w 128"/>
                  <a:gd name="T5" fmla="*/ 87 h 119"/>
                  <a:gd name="T6" fmla="*/ 0 w 128"/>
                  <a:gd name="T7" fmla="*/ 65 h 119"/>
                  <a:gd name="T8" fmla="*/ 2 w 128"/>
                  <a:gd name="T9" fmla="*/ 43 h 119"/>
                  <a:gd name="T10" fmla="*/ 6 w 128"/>
                  <a:gd name="T11" fmla="*/ 32 h 119"/>
                  <a:gd name="T12" fmla="*/ 11 w 128"/>
                  <a:gd name="T13" fmla="*/ 24 h 119"/>
                  <a:gd name="T14" fmla="*/ 23 w 128"/>
                  <a:gd name="T15" fmla="*/ 12 h 119"/>
                  <a:gd name="T16" fmla="*/ 31 w 128"/>
                  <a:gd name="T17" fmla="*/ 7 h 119"/>
                  <a:gd name="T18" fmla="*/ 46 w 128"/>
                  <a:gd name="T19" fmla="*/ 2 h 119"/>
                  <a:gd name="T20" fmla="*/ 64 w 128"/>
                  <a:gd name="T21" fmla="*/ 0 h 119"/>
                  <a:gd name="T22" fmla="*/ 81 w 128"/>
                  <a:gd name="T23" fmla="*/ 2 h 119"/>
                  <a:gd name="T24" fmla="*/ 97 w 128"/>
                  <a:gd name="T25" fmla="*/ 7 h 119"/>
                  <a:gd name="T26" fmla="*/ 102 w 128"/>
                  <a:gd name="T27" fmla="*/ 10 h 119"/>
                  <a:gd name="T28" fmla="*/ 115 w 128"/>
                  <a:gd name="T29" fmla="*/ 22 h 119"/>
                  <a:gd name="T30" fmla="*/ 125 w 128"/>
                  <a:gd name="T31" fmla="*/ 42 h 119"/>
                  <a:gd name="T32" fmla="*/ 128 w 128"/>
                  <a:gd name="T33" fmla="*/ 64 h 119"/>
                  <a:gd name="T34" fmla="*/ 124 w 128"/>
                  <a:gd name="T35" fmla="*/ 81 h 119"/>
                  <a:gd name="T36" fmla="*/ 121 w 128"/>
                  <a:gd name="T37" fmla="*/ 86 h 119"/>
                  <a:gd name="T38" fmla="*/ 111 w 128"/>
                  <a:gd name="T39" fmla="*/ 100 h 119"/>
                  <a:gd name="T40" fmla="*/ 97 w 128"/>
                  <a:gd name="T41" fmla="*/ 112 h 119"/>
                  <a:gd name="T42" fmla="*/ 89 w 128"/>
                  <a:gd name="T43" fmla="*/ 115 h 119"/>
                  <a:gd name="T44" fmla="*/ 72 w 128"/>
                  <a:gd name="T45" fmla="*/ 119 h 119"/>
                  <a:gd name="T46" fmla="*/ 55 w 128"/>
                  <a:gd name="T47" fmla="*/ 119 h 119"/>
                  <a:gd name="T48" fmla="*/ 38 w 128"/>
                  <a:gd name="T49" fmla="*/ 115 h 119"/>
                  <a:gd name="T50" fmla="*/ 31 w 128"/>
                  <a:gd name="T51" fmla="*/ 112 h 119"/>
                  <a:gd name="T52" fmla="*/ 80 w 128"/>
                  <a:gd name="T53" fmla="*/ 87 h 119"/>
                  <a:gd name="T54" fmla="*/ 91 w 128"/>
                  <a:gd name="T55" fmla="*/ 76 h 119"/>
                  <a:gd name="T56" fmla="*/ 94 w 128"/>
                  <a:gd name="T57" fmla="*/ 68 h 119"/>
                  <a:gd name="T58" fmla="*/ 94 w 128"/>
                  <a:gd name="T59" fmla="*/ 50 h 119"/>
                  <a:gd name="T60" fmla="*/ 91 w 128"/>
                  <a:gd name="T61" fmla="*/ 42 h 119"/>
                  <a:gd name="T62" fmla="*/ 80 w 128"/>
                  <a:gd name="T63" fmla="*/ 30 h 119"/>
                  <a:gd name="T64" fmla="*/ 72 w 128"/>
                  <a:gd name="T65" fmla="*/ 27 h 119"/>
                  <a:gd name="T66" fmla="*/ 55 w 128"/>
                  <a:gd name="T67" fmla="*/ 27 h 119"/>
                  <a:gd name="T68" fmla="*/ 47 w 128"/>
                  <a:gd name="T69" fmla="*/ 30 h 119"/>
                  <a:gd name="T70" fmla="*/ 36 w 128"/>
                  <a:gd name="T71" fmla="*/ 42 h 119"/>
                  <a:gd name="T72" fmla="*/ 33 w 128"/>
                  <a:gd name="T73" fmla="*/ 50 h 119"/>
                  <a:gd name="T74" fmla="*/ 33 w 128"/>
                  <a:gd name="T75" fmla="*/ 68 h 119"/>
                  <a:gd name="T76" fmla="*/ 36 w 128"/>
                  <a:gd name="T77" fmla="*/ 76 h 119"/>
                  <a:gd name="T78" fmla="*/ 47 w 128"/>
                  <a:gd name="T79" fmla="*/ 87 h 119"/>
                  <a:gd name="T80" fmla="*/ 55 w 128"/>
                  <a:gd name="T81" fmla="*/ 90 h 119"/>
                  <a:gd name="T82" fmla="*/ 72 w 128"/>
                  <a:gd name="T83" fmla="*/ 90 h 119"/>
                  <a:gd name="T84" fmla="*/ 80 w 128"/>
                  <a:gd name="T85" fmla="*/ 87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28" h="119">
                    <a:moveTo>
                      <a:pt x="31" y="112"/>
                    </a:moveTo>
                    <a:lnTo>
                      <a:pt x="31" y="112"/>
                    </a:lnTo>
                    <a:lnTo>
                      <a:pt x="25" y="109"/>
                    </a:lnTo>
                    <a:lnTo>
                      <a:pt x="21" y="105"/>
                    </a:lnTo>
                    <a:lnTo>
                      <a:pt x="13" y="96"/>
                    </a:lnTo>
                    <a:lnTo>
                      <a:pt x="6" y="87"/>
                    </a:lnTo>
                    <a:lnTo>
                      <a:pt x="2" y="76"/>
                    </a:lnTo>
                    <a:lnTo>
                      <a:pt x="0" y="65"/>
                    </a:lnTo>
                    <a:lnTo>
                      <a:pt x="0" y="54"/>
                    </a:lnTo>
                    <a:lnTo>
                      <a:pt x="2" y="43"/>
                    </a:lnTo>
                    <a:lnTo>
                      <a:pt x="4" y="37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11" y="24"/>
                    </a:lnTo>
                    <a:lnTo>
                      <a:pt x="16" y="18"/>
                    </a:lnTo>
                    <a:lnTo>
                      <a:pt x="23" y="12"/>
                    </a:lnTo>
                    <a:lnTo>
                      <a:pt x="31" y="7"/>
                    </a:lnTo>
                    <a:lnTo>
                      <a:pt x="31" y="7"/>
                    </a:lnTo>
                    <a:lnTo>
                      <a:pt x="38" y="4"/>
                    </a:lnTo>
                    <a:lnTo>
                      <a:pt x="46" y="2"/>
                    </a:lnTo>
                    <a:lnTo>
                      <a:pt x="55" y="0"/>
                    </a:lnTo>
                    <a:lnTo>
                      <a:pt x="64" y="0"/>
                    </a:lnTo>
                    <a:lnTo>
                      <a:pt x="72" y="0"/>
                    </a:lnTo>
                    <a:lnTo>
                      <a:pt x="81" y="2"/>
                    </a:lnTo>
                    <a:lnTo>
                      <a:pt x="89" y="4"/>
                    </a:lnTo>
                    <a:lnTo>
                      <a:pt x="97" y="7"/>
                    </a:lnTo>
                    <a:lnTo>
                      <a:pt x="97" y="7"/>
                    </a:lnTo>
                    <a:lnTo>
                      <a:pt x="102" y="10"/>
                    </a:lnTo>
                    <a:lnTo>
                      <a:pt x="106" y="14"/>
                    </a:lnTo>
                    <a:lnTo>
                      <a:pt x="115" y="22"/>
                    </a:lnTo>
                    <a:lnTo>
                      <a:pt x="121" y="31"/>
                    </a:lnTo>
                    <a:lnTo>
                      <a:pt x="125" y="42"/>
                    </a:lnTo>
                    <a:lnTo>
                      <a:pt x="127" y="53"/>
                    </a:lnTo>
                    <a:lnTo>
                      <a:pt x="128" y="64"/>
                    </a:lnTo>
                    <a:lnTo>
                      <a:pt x="125" y="75"/>
                    </a:lnTo>
                    <a:lnTo>
                      <a:pt x="124" y="81"/>
                    </a:lnTo>
                    <a:lnTo>
                      <a:pt x="121" y="86"/>
                    </a:lnTo>
                    <a:lnTo>
                      <a:pt x="121" y="86"/>
                    </a:lnTo>
                    <a:lnTo>
                      <a:pt x="116" y="94"/>
                    </a:lnTo>
                    <a:lnTo>
                      <a:pt x="111" y="100"/>
                    </a:lnTo>
                    <a:lnTo>
                      <a:pt x="104" y="107"/>
                    </a:lnTo>
                    <a:lnTo>
                      <a:pt x="97" y="112"/>
                    </a:lnTo>
                    <a:lnTo>
                      <a:pt x="97" y="112"/>
                    </a:lnTo>
                    <a:lnTo>
                      <a:pt x="89" y="115"/>
                    </a:lnTo>
                    <a:lnTo>
                      <a:pt x="81" y="117"/>
                    </a:lnTo>
                    <a:lnTo>
                      <a:pt x="72" y="119"/>
                    </a:lnTo>
                    <a:lnTo>
                      <a:pt x="64" y="119"/>
                    </a:lnTo>
                    <a:lnTo>
                      <a:pt x="55" y="119"/>
                    </a:lnTo>
                    <a:lnTo>
                      <a:pt x="46" y="117"/>
                    </a:lnTo>
                    <a:lnTo>
                      <a:pt x="38" y="115"/>
                    </a:lnTo>
                    <a:lnTo>
                      <a:pt x="31" y="112"/>
                    </a:lnTo>
                    <a:lnTo>
                      <a:pt x="31" y="112"/>
                    </a:lnTo>
                    <a:close/>
                    <a:moveTo>
                      <a:pt x="80" y="87"/>
                    </a:moveTo>
                    <a:lnTo>
                      <a:pt x="80" y="87"/>
                    </a:lnTo>
                    <a:lnTo>
                      <a:pt x="86" y="82"/>
                    </a:lnTo>
                    <a:lnTo>
                      <a:pt x="91" y="76"/>
                    </a:lnTo>
                    <a:lnTo>
                      <a:pt x="91" y="76"/>
                    </a:lnTo>
                    <a:lnTo>
                      <a:pt x="94" y="68"/>
                    </a:lnTo>
                    <a:lnTo>
                      <a:pt x="95" y="59"/>
                    </a:lnTo>
                    <a:lnTo>
                      <a:pt x="94" y="50"/>
                    </a:lnTo>
                    <a:lnTo>
                      <a:pt x="91" y="42"/>
                    </a:lnTo>
                    <a:lnTo>
                      <a:pt x="91" y="42"/>
                    </a:lnTo>
                    <a:lnTo>
                      <a:pt x="86" y="35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72" y="27"/>
                    </a:lnTo>
                    <a:lnTo>
                      <a:pt x="64" y="26"/>
                    </a:lnTo>
                    <a:lnTo>
                      <a:pt x="55" y="27"/>
                    </a:lnTo>
                    <a:lnTo>
                      <a:pt x="47" y="30"/>
                    </a:lnTo>
                    <a:lnTo>
                      <a:pt x="47" y="30"/>
                    </a:lnTo>
                    <a:lnTo>
                      <a:pt x="41" y="35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3" y="50"/>
                    </a:lnTo>
                    <a:lnTo>
                      <a:pt x="32" y="59"/>
                    </a:lnTo>
                    <a:lnTo>
                      <a:pt x="33" y="68"/>
                    </a:lnTo>
                    <a:lnTo>
                      <a:pt x="36" y="76"/>
                    </a:lnTo>
                    <a:lnTo>
                      <a:pt x="36" y="76"/>
                    </a:lnTo>
                    <a:lnTo>
                      <a:pt x="41" y="82"/>
                    </a:lnTo>
                    <a:lnTo>
                      <a:pt x="47" y="87"/>
                    </a:lnTo>
                    <a:lnTo>
                      <a:pt x="47" y="87"/>
                    </a:lnTo>
                    <a:lnTo>
                      <a:pt x="55" y="90"/>
                    </a:lnTo>
                    <a:lnTo>
                      <a:pt x="64" y="91"/>
                    </a:lnTo>
                    <a:lnTo>
                      <a:pt x="72" y="90"/>
                    </a:lnTo>
                    <a:lnTo>
                      <a:pt x="80" y="87"/>
                    </a:lnTo>
                    <a:lnTo>
                      <a:pt x="80" y="87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7">
                <a:extLst>
                  <a:ext uri="{FF2B5EF4-FFF2-40B4-BE49-F238E27FC236}">
                    <a16:creationId xmlns:a16="http://schemas.microsoft.com/office/drawing/2014/main" id="{C36E5B68-4FC2-43A3-9088-686629D95780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564816" y="1379538"/>
                <a:ext cx="84138" cy="90487"/>
              </a:xfrm>
              <a:custGeom>
                <a:avLst/>
                <a:gdLst>
                  <a:gd name="T0" fmla="*/ 99 w 105"/>
                  <a:gd name="T1" fmla="*/ 64 h 115"/>
                  <a:gd name="T2" fmla="*/ 103 w 105"/>
                  <a:gd name="T3" fmla="*/ 72 h 115"/>
                  <a:gd name="T4" fmla="*/ 105 w 105"/>
                  <a:gd name="T5" fmla="*/ 81 h 115"/>
                  <a:gd name="T6" fmla="*/ 104 w 105"/>
                  <a:gd name="T7" fmla="*/ 88 h 115"/>
                  <a:gd name="T8" fmla="*/ 98 w 105"/>
                  <a:gd name="T9" fmla="*/ 101 h 115"/>
                  <a:gd name="T10" fmla="*/ 93 w 105"/>
                  <a:gd name="T11" fmla="*/ 106 h 115"/>
                  <a:gd name="T12" fmla="*/ 77 w 105"/>
                  <a:gd name="T13" fmla="*/ 113 h 115"/>
                  <a:gd name="T14" fmla="*/ 59 w 105"/>
                  <a:gd name="T15" fmla="*/ 115 h 115"/>
                  <a:gd name="T16" fmla="*/ 0 w 105"/>
                  <a:gd name="T17" fmla="*/ 0 h 115"/>
                  <a:gd name="T18" fmla="*/ 56 w 105"/>
                  <a:gd name="T19" fmla="*/ 0 h 115"/>
                  <a:gd name="T20" fmla="*/ 73 w 105"/>
                  <a:gd name="T21" fmla="*/ 2 h 115"/>
                  <a:gd name="T22" fmla="*/ 88 w 105"/>
                  <a:gd name="T23" fmla="*/ 8 h 115"/>
                  <a:gd name="T24" fmla="*/ 93 w 105"/>
                  <a:gd name="T25" fmla="*/ 12 h 115"/>
                  <a:gd name="T26" fmla="*/ 99 w 105"/>
                  <a:gd name="T27" fmla="*/ 23 h 115"/>
                  <a:gd name="T28" fmla="*/ 99 w 105"/>
                  <a:gd name="T29" fmla="*/ 30 h 115"/>
                  <a:gd name="T30" fmla="*/ 95 w 105"/>
                  <a:gd name="T31" fmla="*/ 45 h 115"/>
                  <a:gd name="T32" fmla="*/ 90 w 105"/>
                  <a:gd name="T33" fmla="*/ 50 h 115"/>
                  <a:gd name="T34" fmla="*/ 84 w 105"/>
                  <a:gd name="T35" fmla="*/ 54 h 115"/>
                  <a:gd name="T36" fmla="*/ 92 w 105"/>
                  <a:gd name="T37" fmla="*/ 58 h 115"/>
                  <a:gd name="T38" fmla="*/ 99 w 105"/>
                  <a:gd name="T39" fmla="*/ 64 h 115"/>
                  <a:gd name="T40" fmla="*/ 32 w 105"/>
                  <a:gd name="T41" fmla="*/ 46 h 115"/>
                  <a:gd name="T42" fmla="*/ 53 w 105"/>
                  <a:gd name="T43" fmla="*/ 46 h 115"/>
                  <a:gd name="T44" fmla="*/ 63 w 105"/>
                  <a:gd name="T45" fmla="*/ 43 h 115"/>
                  <a:gd name="T46" fmla="*/ 67 w 105"/>
                  <a:gd name="T47" fmla="*/ 34 h 115"/>
                  <a:gd name="T48" fmla="*/ 66 w 105"/>
                  <a:gd name="T49" fmla="*/ 29 h 115"/>
                  <a:gd name="T50" fmla="*/ 59 w 105"/>
                  <a:gd name="T51" fmla="*/ 24 h 115"/>
                  <a:gd name="T52" fmla="*/ 32 w 105"/>
                  <a:gd name="T53" fmla="*/ 23 h 115"/>
                  <a:gd name="T54" fmla="*/ 72 w 105"/>
                  <a:gd name="T55" fmla="*/ 79 h 115"/>
                  <a:gd name="T56" fmla="*/ 71 w 105"/>
                  <a:gd name="T57" fmla="*/ 74 h 115"/>
                  <a:gd name="T58" fmla="*/ 64 w 105"/>
                  <a:gd name="T59" fmla="*/ 68 h 115"/>
                  <a:gd name="T60" fmla="*/ 32 w 105"/>
                  <a:gd name="T61" fmla="*/ 67 h 115"/>
                  <a:gd name="T62" fmla="*/ 58 w 105"/>
                  <a:gd name="T63" fmla="*/ 91 h 115"/>
                  <a:gd name="T64" fmla="*/ 64 w 105"/>
                  <a:gd name="T65" fmla="*/ 90 h 115"/>
                  <a:gd name="T66" fmla="*/ 71 w 105"/>
                  <a:gd name="T67" fmla="*/ 84 h 115"/>
                  <a:gd name="T68" fmla="*/ 72 w 105"/>
                  <a:gd name="T69" fmla="*/ 79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5" h="115">
                    <a:moveTo>
                      <a:pt x="99" y="64"/>
                    </a:moveTo>
                    <a:lnTo>
                      <a:pt x="99" y="64"/>
                    </a:lnTo>
                    <a:lnTo>
                      <a:pt x="102" y="68"/>
                    </a:lnTo>
                    <a:lnTo>
                      <a:pt x="103" y="72"/>
                    </a:lnTo>
                    <a:lnTo>
                      <a:pt x="104" y="77"/>
                    </a:lnTo>
                    <a:lnTo>
                      <a:pt x="105" y="81"/>
                    </a:lnTo>
                    <a:lnTo>
                      <a:pt x="105" y="81"/>
                    </a:lnTo>
                    <a:lnTo>
                      <a:pt x="104" y="88"/>
                    </a:lnTo>
                    <a:lnTo>
                      <a:pt x="102" y="95"/>
                    </a:lnTo>
                    <a:lnTo>
                      <a:pt x="98" y="101"/>
                    </a:lnTo>
                    <a:lnTo>
                      <a:pt x="93" y="106"/>
                    </a:lnTo>
                    <a:lnTo>
                      <a:pt x="93" y="106"/>
                    </a:lnTo>
                    <a:lnTo>
                      <a:pt x="85" y="110"/>
                    </a:lnTo>
                    <a:lnTo>
                      <a:pt x="77" y="113"/>
                    </a:lnTo>
                    <a:lnTo>
                      <a:pt x="68" y="115"/>
                    </a:lnTo>
                    <a:lnTo>
                      <a:pt x="59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5" y="0"/>
                    </a:lnTo>
                    <a:lnTo>
                      <a:pt x="73" y="2"/>
                    </a:lnTo>
                    <a:lnTo>
                      <a:pt x="81" y="4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93" y="12"/>
                    </a:lnTo>
                    <a:lnTo>
                      <a:pt x="97" y="17"/>
                    </a:lnTo>
                    <a:lnTo>
                      <a:pt x="99" y="23"/>
                    </a:lnTo>
                    <a:lnTo>
                      <a:pt x="99" y="30"/>
                    </a:lnTo>
                    <a:lnTo>
                      <a:pt x="99" y="30"/>
                    </a:lnTo>
                    <a:lnTo>
                      <a:pt x="98" y="37"/>
                    </a:lnTo>
                    <a:lnTo>
                      <a:pt x="95" y="45"/>
                    </a:lnTo>
                    <a:lnTo>
                      <a:pt x="95" y="45"/>
                    </a:lnTo>
                    <a:lnTo>
                      <a:pt x="90" y="50"/>
                    </a:lnTo>
                    <a:lnTo>
                      <a:pt x="84" y="54"/>
                    </a:lnTo>
                    <a:lnTo>
                      <a:pt x="84" y="54"/>
                    </a:lnTo>
                    <a:lnTo>
                      <a:pt x="88" y="56"/>
                    </a:lnTo>
                    <a:lnTo>
                      <a:pt x="92" y="58"/>
                    </a:lnTo>
                    <a:lnTo>
                      <a:pt x="96" y="61"/>
                    </a:lnTo>
                    <a:lnTo>
                      <a:pt x="99" y="64"/>
                    </a:lnTo>
                    <a:lnTo>
                      <a:pt x="99" y="64"/>
                    </a:lnTo>
                    <a:close/>
                    <a:moveTo>
                      <a:pt x="32" y="46"/>
                    </a:moveTo>
                    <a:lnTo>
                      <a:pt x="53" y="46"/>
                    </a:lnTo>
                    <a:lnTo>
                      <a:pt x="53" y="46"/>
                    </a:lnTo>
                    <a:lnTo>
                      <a:pt x="59" y="45"/>
                    </a:lnTo>
                    <a:lnTo>
                      <a:pt x="63" y="43"/>
                    </a:lnTo>
                    <a:lnTo>
                      <a:pt x="66" y="39"/>
                    </a:lnTo>
                    <a:lnTo>
                      <a:pt x="67" y="34"/>
                    </a:lnTo>
                    <a:lnTo>
                      <a:pt x="67" y="34"/>
                    </a:lnTo>
                    <a:lnTo>
                      <a:pt x="66" y="29"/>
                    </a:lnTo>
                    <a:lnTo>
                      <a:pt x="63" y="26"/>
                    </a:lnTo>
                    <a:lnTo>
                      <a:pt x="59" y="24"/>
                    </a:lnTo>
                    <a:lnTo>
                      <a:pt x="53" y="23"/>
                    </a:lnTo>
                    <a:lnTo>
                      <a:pt x="32" y="23"/>
                    </a:lnTo>
                    <a:lnTo>
                      <a:pt x="32" y="46"/>
                    </a:lnTo>
                    <a:close/>
                    <a:moveTo>
                      <a:pt x="72" y="79"/>
                    </a:moveTo>
                    <a:lnTo>
                      <a:pt x="72" y="79"/>
                    </a:lnTo>
                    <a:lnTo>
                      <a:pt x="71" y="74"/>
                    </a:lnTo>
                    <a:lnTo>
                      <a:pt x="69" y="70"/>
                    </a:lnTo>
                    <a:lnTo>
                      <a:pt x="64" y="68"/>
                    </a:lnTo>
                    <a:lnTo>
                      <a:pt x="58" y="67"/>
                    </a:lnTo>
                    <a:lnTo>
                      <a:pt x="32" y="67"/>
                    </a:lnTo>
                    <a:lnTo>
                      <a:pt x="32" y="91"/>
                    </a:lnTo>
                    <a:lnTo>
                      <a:pt x="58" y="91"/>
                    </a:lnTo>
                    <a:lnTo>
                      <a:pt x="58" y="91"/>
                    </a:lnTo>
                    <a:lnTo>
                      <a:pt x="64" y="90"/>
                    </a:lnTo>
                    <a:lnTo>
                      <a:pt x="69" y="88"/>
                    </a:lnTo>
                    <a:lnTo>
                      <a:pt x="71" y="84"/>
                    </a:lnTo>
                    <a:lnTo>
                      <a:pt x="72" y="79"/>
                    </a:lnTo>
                    <a:lnTo>
                      <a:pt x="72" y="79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8">
                <a:extLst>
                  <a:ext uri="{FF2B5EF4-FFF2-40B4-BE49-F238E27FC236}">
                    <a16:creationId xmlns:a16="http://schemas.microsoft.com/office/drawing/2014/main" id="{55B6BF3D-BC22-4B38-89D2-C94B7AA468AF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664829" y="1379538"/>
                <a:ext cx="115888" cy="90487"/>
              </a:xfrm>
              <a:custGeom>
                <a:avLst/>
                <a:gdLst>
                  <a:gd name="T0" fmla="*/ 92 w 147"/>
                  <a:gd name="T1" fmla="*/ 46 h 115"/>
                  <a:gd name="T2" fmla="*/ 92 w 147"/>
                  <a:gd name="T3" fmla="*/ 46 h 115"/>
                  <a:gd name="T4" fmla="*/ 97 w 147"/>
                  <a:gd name="T5" fmla="*/ 51 h 115"/>
                  <a:gd name="T6" fmla="*/ 101 w 147"/>
                  <a:gd name="T7" fmla="*/ 58 h 115"/>
                  <a:gd name="T8" fmla="*/ 103 w 147"/>
                  <a:gd name="T9" fmla="*/ 66 h 115"/>
                  <a:gd name="T10" fmla="*/ 103 w 147"/>
                  <a:gd name="T11" fmla="*/ 73 h 115"/>
                  <a:gd name="T12" fmla="*/ 103 w 147"/>
                  <a:gd name="T13" fmla="*/ 73 h 115"/>
                  <a:gd name="T14" fmla="*/ 103 w 147"/>
                  <a:gd name="T15" fmla="*/ 82 h 115"/>
                  <a:gd name="T16" fmla="*/ 100 w 147"/>
                  <a:gd name="T17" fmla="*/ 90 h 115"/>
                  <a:gd name="T18" fmla="*/ 96 w 147"/>
                  <a:gd name="T19" fmla="*/ 97 h 115"/>
                  <a:gd name="T20" fmla="*/ 90 w 147"/>
                  <a:gd name="T21" fmla="*/ 104 h 115"/>
                  <a:gd name="T22" fmla="*/ 90 w 147"/>
                  <a:gd name="T23" fmla="*/ 104 h 115"/>
                  <a:gd name="T24" fmla="*/ 82 w 147"/>
                  <a:gd name="T25" fmla="*/ 109 h 115"/>
                  <a:gd name="T26" fmla="*/ 74 w 147"/>
                  <a:gd name="T27" fmla="*/ 113 h 115"/>
                  <a:gd name="T28" fmla="*/ 65 w 147"/>
                  <a:gd name="T29" fmla="*/ 115 h 115"/>
                  <a:gd name="T30" fmla="*/ 55 w 147"/>
                  <a:gd name="T31" fmla="*/ 115 h 115"/>
                  <a:gd name="T32" fmla="*/ 0 w 147"/>
                  <a:gd name="T33" fmla="*/ 115 h 115"/>
                  <a:gd name="T34" fmla="*/ 0 w 147"/>
                  <a:gd name="T35" fmla="*/ 0 h 115"/>
                  <a:gd name="T36" fmla="*/ 32 w 147"/>
                  <a:gd name="T37" fmla="*/ 0 h 115"/>
                  <a:gd name="T38" fmla="*/ 32 w 147"/>
                  <a:gd name="T39" fmla="*/ 36 h 115"/>
                  <a:gd name="T40" fmla="*/ 59 w 147"/>
                  <a:gd name="T41" fmla="*/ 36 h 115"/>
                  <a:gd name="T42" fmla="*/ 59 w 147"/>
                  <a:gd name="T43" fmla="*/ 36 h 115"/>
                  <a:gd name="T44" fmla="*/ 68 w 147"/>
                  <a:gd name="T45" fmla="*/ 37 h 115"/>
                  <a:gd name="T46" fmla="*/ 76 w 147"/>
                  <a:gd name="T47" fmla="*/ 38 h 115"/>
                  <a:gd name="T48" fmla="*/ 84 w 147"/>
                  <a:gd name="T49" fmla="*/ 41 h 115"/>
                  <a:gd name="T50" fmla="*/ 92 w 147"/>
                  <a:gd name="T51" fmla="*/ 46 h 115"/>
                  <a:gd name="T52" fmla="*/ 92 w 147"/>
                  <a:gd name="T53" fmla="*/ 46 h 115"/>
                  <a:gd name="T54" fmla="*/ 66 w 147"/>
                  <a:gd name="T55" fmla="*/ 86 h 115"/>
                  <a:gd name="T56" fmla="*/ 66 w 147"/>
                  <a:gd name="T57" fmla="*/ 86 h 115"/>
                  <a:gd name="T58" fmla="*/ 68 w 147"/>
                  <a:gd name="T59" fmla="*/ 84 h 115"/>
                  <a:gd name="T60" fmla="*/ 70 w 147"/>
                  <a:gd name="T61" fmla="*/ 81 h 115"/>
                  <a:gd name="T62" fmla="*/ 71 w 147"/>
                  <a:gd name="T63" fmla="*/ 77 h 115"/>
                  <a:gd name="T64" fmla="*/ 71 w 147"/>
                  <a:gd name="T65" fmla="*/ 74 h 115"/>
                  <a:gd name="T66" fmla="*/ 71 w 147"/>
                  <a:gd name="T67" fmla="*/ 74 h 115"/>
                  <a:gd name="T68" fmla="*/ 71 w 147"/>
                  <a:gd name="T69" fmla="*/ 71 h 115"/>
                  <a:gd name="T70" fmla="*/ 70 w 147"/>
                  <a:gd name="T71" fmla="*/ 68 h 115"/>
                  <a:gd name="T72" fmla="*/ 68 w 147"/>
                  <a:gd name="T73" fmla="*/ 65 h 115"/>
                  <a:gd name="T74" fmla="*/ 67 w 147"/>
                  <a:gd name="T75" fmla="*/ 63 h 115"/>
                  <a:gd name="T76" fmla="*/ 64 w 147"/>
                  <a:gd name="T77" fmla="*/ 61 h 115"/>
                  <a:gd name="T78" fmla="*/ 61 w 147"/>
                  <a:gd name="T79" fmla="*/ 60 h 115"/>
                  <a:gd name="T80" fmla="*/ 53 w 147"/>
                  <a:gd name="T81" fmla="*/ 59 h 115"/>
                  <a:gd name="T82" fmla="*/ 32 w 147"/>
                  <a:gd name="T83" fmla="*/ 59 h 115"/>
                  <a:gd name="T84" fmla="*/ 32 w 147"/>
                  <a:gd name="T85" fmla="*/ 91 h 115"/>
                  <a:gd name="T86" fmla="*/ 53 w 147"/>
                  <a:gd name="T87" fmla="*/ 91 h 115"/>
                  <a:gd name="T88" fmla="*/ 53 w 147"/>
                  <a:gd name="T89" fmla="*/ 91 h 115"/>
                  <a:gd name="T90" fmla="*/ 57 w 147"/>
                  <a:gd name="T91" fmla="*/ 91 h 115"/>
                  <a:gd name="T92" fmla="*/ 60 w 147"/>
                  <a:gd name="T93" fmla="*/ 90 h 115"/>
                  <a:gd name="T94" fmla="*/ 63 w 147"/>
                  <a:gd name="T95" fmla="*/ 88 h 115"/>
                  <a:gd name="T96" fmla="*/ 66 w 147"/>
                  <a:gd name="T97" fmla="*/ 86 h 115"/>
                  <a:gd name="T98" fmla="*/ 66 w 147"/>
                  <a:gd name="T99" fmla="*/ 86 h 115"/>
                  <a:gd name="T100" fmla="*/ 116 w 147"/>
                  <a:gd name="T101" fmla="*/ 0 h 115"/>
                  <a:gd name="T102" fmla="*/ 147 w 147"/>
                  <a:gd name="T103" fmla="*/ 0 h 115"/>
                  <a:gd name="T104" fmla="*/ 147 w 147"/>
                  <a:gd name="T105" fmla="*/ 115 h 115"/>
                  <a:gd name="T106" fmla="*/ 116 w 147"/>
                  <a:gd name="T107" fmla="*/ 115 h 115"/>
                  <a:gd name="T108" fmla="*/ 116 w 147"/>
                  <a:gd name="T109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47" h="115">
                    <a:moveTo>
                      <a:pt x="92" y="46"/>
                    </a:moveTo>
                    <a:lnTo>
                      <a:pt x="92" y="46"/>
                    </a:lnTo>
                    <a:lnTo>
                      <a:pt x="97" y="51"/>
                    </a:lnTo>
                    <a:lnTo>
                      <a:pt x="101" y="58"/>
                    </a:lnTo>
                    <a:lnTo>
                      <a:pt x="103" y="66"/>
                    </a:lnTo>
                    <a:lnTo>
                      <a:pt x="103" y="73"/>
                    </a:lnTo>
                    <a:lnTo>
                      <a:pt x="103" y="73"/>
                    </a:lnTo>
                    <a:lnTo>
                      <a:pt x="103" y="82"/>
                    </a:lnTo>
                    <a:lnTo>
                      <a:pt x="100" y="90"/>
                    </a:lnTo>
                    <a:lnTo>
                      <a:pt x="96" y="97"/>
                    </a:lnTo>
                    <a:lnTo>
                      <a:pt x="90" y="104"/>
                    </a:lnTo>
                    <a:lnTo>
                      <a:pt x="90" y="104"/>
                    </a:lnTo>
                    <a:lnTo>
                      <a:pt x="82" y="109"/>
                    </a:lnTo>
                    <a:lnTo>
                      <a:pt x="74" y="113"/>
                    </a:lnTo>
                    <a:lnTo>
                      <a:pt x="65" y="115"/>
                    </a:lnTo>
                    <a:lnTo>
                      <a:pt x="55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2" y="0"/>
                    </a:lnTo>
                    <a:lnTo>
                      <a:pt x="32" y="36"/>
                    </a:lnTo>
                    <a:lnTo>
                      <a:pt x="59" y="36"/>
                    </a:lnTo>
                    <a:lnTo>
                      <a:pt x="59" y="36"/>
                    </a:lnTo>
                    <a:lnTo>
                      <a:pt x="68" y="37"/>
                    </a:lnTo>
                    <a:lnTo>
                      <a:pt x="76" y="38"/>
                    </a:lnTo>
                    <a:lnTo>
                      <a:pt x="84" y="41"/>
                    </a:lnTo>
                    <a:lnTo>
                      <a:pt x="92" y="46"/>
                    </a:lnTo>
                    <a:lnTo>
                      <a:pt x="92" y="46"/>
                    </a:lnTo>
                    <a:close/>
                    <a:moveTo>
                      <a:pt x="66" y="86"/>
                    </a:moveTo>
                    <a:lnTo>
                      <a:pt x="66" y="86"/>
                    </a:lnTo>
                    <a:lnTo>
                      <a:pt x="68" y="84"/>
                    </a:lnTo>
                    <a:lnTo>
                      <a:pt x="70" y="81"/>
                    </a:lnTo>
                    <a:lnTo>
                      <a:pt x="71" y="77"/>
                    </a:lnTo>
                    <a:lnTo>
                      <a:pt x="71" y="74"/>
                    </a:lnTo>
                    <a:lnTo>
                      <a:pt x="71" y="74"/>
                    </a:lnTo>
                    <a:lnTo>
                      <a:pt x="71" y="71"/>
                    </a:lnTo>
                    <a:lnTo>
                      <a:pt x="70" y="68"/>
                    </a:lnTo>
                    <a:lnTo>
                      <a:pt x="68" y="65"/>
                    </a:lnTo>
                    <a:lnTo>
                      <a:pt x="67" y="63"/>
                    </a:lnTo>
                    <a:lnTo>
                      <a:pt x="64" y="61"/>
                    </a:lnTo>
                    <a:lnTo>
                      <a:pt x="61" y="60"/>
                    </a:lnTo>
                    <a:lnTo>
                      <a:pt x="53" y="59"/>
                    </a:lnTo>
                    <a:lnTo>
                      <a:pt x="32" y="59"/>
                    </a:lnTo>
                    <a:lnTo>
                      <a:pt x="32" y="91"/>
                    </a:lnTo>
                    <a:lnTo>
                      <a:pt x="53" y="91"/>
                    </a:lnTo>
                    <a:lnTo>
                      <a:pt x="53" y="91"/>
                    </a:lnTo>
                    <a:lnTo>
                      <a:pt x="57" y="91"/>
                    </a:lnTo>
                    <a:lnTo>
                      <a:pt x="60" y="90"/>
                    </a:lnTo>
                    <a:lnTo>
                      <a:pt x="63" y="88"/>
                    </a:lnTo>
                    <a:lnTo>
                      <a:pt x="66" y="86"/>
                    </a:lnTo>
                    <a:lnTo>
                      <a:pt x="66" y="86"/>
                    </a:lnTo>
                    <a:close/>
                    <a:moveTo>
                      <a:pt x="116" y="0"/>
                    </a:moveTo>
                    <a:lnTo>
                      <a:pt x="147" y="0"/>
                    </a:lnTo>
                    <a:lnTo>
                      <a:pt x="147" y="115"/>
                    </a:lnTo>
                    <a:lnTo>
                      <a:pt x="116" y="115"/>
                    </a:lnTo>
                    <a:lnTo>
                      <a:pt x="116" y="0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9">
                <a:extLst>
                  <a:ext uri="{FF2B5EF4-FFF2-40B4-BE49-F238E27FC236}">
                    <a16:creationId xmlns:a16="http://schemas.microsoft.com/office/drawing/2014/main" id="{0EDD574B-6C90-4BC8-BB7A-CCFB37BF7EE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802941" y="1379538"/>
                <a:ext cx="74613" cy="90487"/>
              </a:xfrm>
              <a:custGeom>
                <a:avLst/>
                <a:gdLst>
                  <a:gd name="T0" fmla="*/ 92 w 92"/>
                  <a:gd name="T1" fmla="*/ 89 h 115"/>
                  <a:gd name="T2" fmla="*/ 92 w 92"/>
                  <a:gd name="T3" fmla="*/ 115 h 115"/>
                  <a:gd name="T4" fmla="*/ 0 w 92"/>
                  <a:gd name="T5" fmla="*/ 115 h 115"/>
                  <a:gd name="T6" fmla="*/ 0 w 92"/>
                  <a:gd name="T7" fmla="*/ 0 h 115"/>
                  <a:gd name="T8" fmla="*/ 90 w 92"/>
                  <a:gd name="T9" fmla="*/ 0 h 115"/>
                  <a:gd name="T10" fmla="*/ 90 w 92"/>
                  <a:gd name="T11" fmla="*/ 25 h 115"/>
                  <a:gd name="T12" fmla="*/ 32 w 92"/>
                  <a:gd name="T13" fmla="*/ 25 h 115"/>
                  <a:gd name="T14" fmla="*/ 32 w 92"/>
                  <a:gd name="T15" fmla="*/ 44 h 115"/>
                  <a:gd name="T16" fmla="*/ 83 w 92"/>
                  <a:gd name="T17" fmla="*/ 44 h 115"/>
                  <a:gd name="T18" fmla="*/ 83 w 92"/>
                  <a:gd name="T19" fmla="*/ 68 h 115"/>
                  <a:gd name="T20" fmla="*/ 32 w 92"/>
                  <a:gd name="T21" fmla="*/ 68 h 115"/>
                  <a:gd name="T22" fmla="*/ 32 w 92"/>
                  <a:gd name="T23" fmla="*/ 89 h 115"/>
                  <a:gd name="T24" fmla="*/ 92 w 92"/>
                  <a:gd name="T25" fmla="*/ 89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2" h="115">
                    <a:moveTo>
                      <a:pt x="92" y="89"/>
                    </a:moveTo>
                    <a:lnTo>
                      <a:pt x="9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25"/>
                    </a:lnTo>
                    <a:lnTo>
                      <a:pt x="32" y="25"/>
                    </a:lnTo>
                    <a:lnTo>
                      <a:pt x="32" y="44"/>
                    </a:lnTo>
                    <a:lnTo>
                      <a:pt x="83" y="44"/>
                    </a:lnTo>
                    <a:lnTo>
                      <a:pt x="83" y="68"/>
                    </a:lnTo>
                    <a:lnTo>
                      <a:pt x="32" y="68"/>
                    </a:lnTo>
                    <a:lnTo>
                      <a:pt x="32" y="89"/>
                    </a:lnTo>
                    <a:lnTo>
                      <a:pt x="92" y="89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10">
                <a:extLst>
                  <a:ext uri="{FF2B5EF4-FFF2-40B4-BE49-F238E27FC236}">
                    <a16:creationId xmlns:a16="http://schemas.microsoft.com/office/drawing/2014/main" id="{A62ECE2F-22FD-497F-AF2D-E42C36D24E6E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934704" y="1379538"/>
                <a:ext cx="82550" cy="90487"/>
              </a:xfrm>
              <a:custGeom>
                <a:avLst/>
                <a:gdLst>
                  <a:gd name="T0" fmla="*/ 99 w 105"/>
                  <a:gd name="T1" fmla="*/ 64 h 115"/>
                  <a:gd name="T2" fmla="*/ 104 w 105"/>
                  <a:gd name="T3" fmla="*/ 72 h 115"/>
                  <a:gd name="T4" fmla="*/ 105 w 105"/>
                  <a:gd name="T5" fmla="*/ 81 h 115"/>
                  <a:gd name="T6" fmla="*/ 104 w 105"/>
                  <a:gd name="T7" fmla="*/ 88 h 115"/>
                  <a:gd name="T8" fmla="*/ 98 w 105"/>
                  <a:gd name="T9" fmla="*/ 101 h 115"/>
                  <a:gd name="T10" fmla="*/ 93 w 105"/>
                  <a:gd name="T11" fmla="*/ 106 h 115"/>
                  <a:gd name="T12" fmla="*/ 78 w 105"/>
                  <a:gd name="T13" fmla="*/ 113 h 115"/>
                  <a:gd name="T14" fmla="*/ 58 w 105"/>
                  <a:gd name="T15" fmla="*/ 115 h 115"/>
                  <a:gd name="T16" fmla="*/ 0 w 105"/>
                  <a:gd name="T17" fmla="*/ 0 h 115"/>
                  <a:gd name="T18" fmla="*/ 55 w 105"/>
                  <a:gd name="T19" fmla="*/ 0 h 115"/>
                  <a:gd name="T20" fmla="*/ 72 w 105"/>
                  <a:gd name="T21" fmla="*/ 2 h 115"/>
                  <a:gd name="T22" fmla="*/ 88 w 105"/>
                  <a:gd name="T23" fmla="*/ 8 h 115"/>
                  <a:gd name="T24" fmla="*/ 93 w 105"/>
                  <a:gd name="T25" fmla="*/ 12 h 115"/>
                  <a:gd name="T26" fmla="*/ 99 w 105"/>
                  <a:gd name="T27" fmla="*/ 23 h 115"/>
                  <a:gd name="T28" fmla="*/ 100 w 105"/>
                  <a:gd name="T29" fmla="*/ 30 h 115"/>
                  <a:gd name="T30" fmla="*/ 96 w 105"/>
                  <a:gd name="T31" fmla="*/ 45 h 115"/>
                  <a:gd name="T32" fmla="*/ 91 w 105"/>
                  <a:gd name="T33" fmla="*/ 50 h 115"/>
                  <a:gd name="T34" fmla="*/ 84 w 105"/>
                  <a:gd name="T35" fmla="*/ 54 h 115"/>
                  <a:gd name="T36" fmla="*/ 93 w 105"/>
                  <a:gd name="T37" fmla="*/ 58 h 115"/>
                  <a:gd name="T38" fmla="*/ 99 w 105"/>
                  <a:gd name="T39" fmla="*/ 64 h 115"/>
                  <a:gd name="T40" fmla="*/ 32 w 105"/>
                  <a:gd name="T41" fmla="*/ 46 h 115"/>
                  <a:gd name="T42" fmla="*/ 52 w 105"/>
                  <a:gd name="T43" fmla="*/ 46 h 115"/>
                  <a:gd name="T44" fmla="*/ 63 w 105"/>
                  <a:gd name="T45" fmla="*/ 43 h 115"/>
                  <a:gd name="T46" fmla="*/ 66 w 105"/>
                  <a:gd name="T47" fmla="*/ 34 h 115"/>
                  <a:gd name="T48" fmla="*/ 65 w 105"/>
                  <a:gd name="T49" fmla="*/ 29 h 115"/>
                  <a:gd name="T50" fmla="*/ 58 w 105"/>
                  <a:gd name="T51" fmla="*/ 24 h 115"/>
                  <a:gd name="T52" fmla="*/ 32 w 105"/>
                  <a:gd name="T53" fmla="*/ 23 h 115"/>
                  <a:gd name="T54" fmla="*/ 71 w 105"/>
                  <a:gd name="T55" fmla="*/ 79 h 115"/>
                  <a:gd name="T56" fmla="*/ 70 w 105"/>
                  <a:gd name="T57" fmla="*/ 74 h 115"/>
                  <a:gd name="T58" fmla="*/ 63 w 105"/>
                  <a:gd name="T59" fmla="*/ 68 h 115"/>
                  <a:gd name="T60" fmla="*/ 32 w 105"/>
                  <a:gd name="T61" fmla="*/ 67 h 115"/>
                  <a:gd name="T62" fmla="*/ 57 w 105"/>
                  <a:gd name="T63" fmla="*/ 91 h 115"/>
                  <a:gd name="T64" fmla="*/ 63 w 105"/>
                  <a:gd name="T65" fmla="*/ 90 h 115"/>
                  <a:gd name="T66" fmla="*/ 70 w 105"/>
                  <a:gd name="T67" fmla="*/ 84 h 115"/>
                  <a:gd name="T68" fmla="*/ 71 w 105"/>
                  <a:gd name="T69" fmla="*/ 79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5" h="115">
                    <a:moveTo>
                      <a:pt x="99" y="64"/>
                    </a:moveTo>
                    <a:lnTo>
                      <a:pt x="99" y="64"/>
                    </a:lnTo>
                    <a:lnTo>
                      <a:pt x="102" y="68"/>
                    </a:lnTo>
                    <a:lnTo>
                      <a:pt x="104" y="72"/>
                    </a:lnTo>
                    <a:lnTo>
                      <a:pt x="105" y="77"/>
                    </a:lnTo>
                    <a:lnTo>
                      <a:pt x="105" y="81"/>
                    </a:lnTo>
                    <a:lnTo>
                      <a:pt x="105" y="81"/>
                    </a:lnTo>
                    <a:lnTo>
                      <a:pt x="104" y="88"/>
                    </a:lnTo>
                    <a:lnTo>
                      <a:pt x="102" y="95"/>
                    </a:lnTo>
                    <a:lnTo>
                      <a:pt x="98" y="101"/>
                    </a:lnTo>
                    <a:lnTo>
                      <a:pt x="93" y="106"/>
                    </a:lnTo>
                    <a:lnTo>
                      <a:pt x="93" y="106"/>
                    </a:lnTo>
                    <a:lnTo>
                      <a:pt x="86" y="110"/>
                    </a:lnTo>
                    <a:lnTo>
                      <a:pt x="78" y="113"/>
                    </a:lnTo>
                    <a:lnTo>
                      <a:pt x="69" y="114"/>
                    </a:lnTo>
                    <a:lnTo>
                      <a:pt x="58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55" y="0"/>
                    </a:lnTo>
                    <a:lnTo>
                      <a:pt x="55" y="0"/>
                    </a:lnTo>
                    <a:lnTo>
                      <a:pt x="64" y="0"/>
                    </a:lnTo>
                    <a:lnTo>
                      <a:pt x="72" y="2"/>
                    </a:lnTo>
                    <a:lnTo>
                      <a:pt x="81" y="4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93" y="12"/>
                    </a:lnTo>
                    <a:lnTo>
                      <a:pt x="97" y="17"/>
                    </a:lnTo>
                    <a:lnTo>
                      <a:pt x="99" y="23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99" y="37"/>
                    </a:lnTo>
                    <a:lnTo>
                      <a:pt x="96" y="45"/>
                    </a:lnTo>
                    <a:lnTo>
                      <a:pt x="96" y="45"/>
                    </a:lnTo>
                    <a:lnTo>
                      <a:pt x="91" y="50"/>
                    </a:lnTo>
                    <a:lnTo>
                      <a:pt x="84" y="54"/>
                    </a:lnTo>
                    <a:lnTo>
                      <a:pt x="84" y="54"/>
                    </a:lnTo>
                    <a:lnTo>
                      <a:pt x="88" y="56"/>
                    </a:lnTo>
                    <a:lnTo>
                      <a:pt x="93" y="58"/>
                    </a:lnTo>
                    <a:lnTo>
                      <a:pt x="96" y="61"/>
                    </a:lnTo>
                    <a:lnTo>
                      <a:pt x="99" y="64"/>
                    </a:lnTo>
                    <a:lnTo>
                      <a:pt x="99" y="64"/>
                    </a:lnTo>
                    <a:close/>
                    <a:moveTo>
                      <a:pt x="32" y="46"/>
                    </a:moveTo>
                    <a:lnTo>
                      <a:pt x="52" y="46"/>
                    </a:lnTo>
                    <a:lnTo>
                      <a:pt x="52" y="46"/>
                    </a:lnTo>
                    <a:lnTo>
                      <a:pt x="58" y="45"/>
                    </a:lnTo>
                    <a:lnTo>
                      <a:pt x="63" y="43"/>
                    </a:lnTo>
                    <a:lnTo>
                      <a:pt x="65" y="39"/>
                    </a:lnTo>
                    <a:lnTo>
                      <a:pt x="66" y="34"/>
                    </a:lnTo>
                    <a:lnTo>
                      <a:pt x="66" y="34"/>
                    </a:lnTo>
                    <a:lnTo>
                      <a:pt x="65" y="29"/>
                    </a:lnTo>
                    <a:lnTo>
                      <a:pt x="63" y="26"/>
                    </a:lnTo>
                    <a:lnTo>
                      <a:pt x="58" y="24"/>
                    </a:lnTo>
                    <a:lnTo>
                      <a:pt x="52" y="23"/>
                    </a:lnTo>
                    <a:lnTo>
                      <a:pt x="32" y="23"/>
                    </a:lnTo>
                    <a:lnTo>
                      <a:pt x="32" y="46"/>
                    </a:lnTo>
                    <a:close/>
                    <a:moveTo>
                      <a:pt x="71" y="79"/>
                    </a:moveTo>
                    <a:lnTo>
                      <a:pt x="71" y="79"/>
                    </a:lnTo>
                    <a:lnTo>
                      <a:pt x="70" y="74"/>
                    </a:lnTo>
                    <a:lnTo>
                      <a:pt x="68" y="70"/>
                    </a:lnTo>
                    <a:lnTo>
                      <a:pt x="63" y="68"/>
                    </a:lnTo>
                    <a:lnTo>
                      <a:pt x="57" y="67"/>
                    </a:lnTo>
                    <a:lnTo>
                      <a:pt x="32" y="67"/>
                    </a:lnTo>
                    <a:lnTo>
                      <a:pt x="32" y="91"/>
                    </a:lnTo>
                    <a:lnTo>
                      <a:pt x="57" y="91"/>
                    </a:lnTo>
                    <a:lnTo>
                      <a:pt x="57" y="91"/>
                    </a:lnTo>
                    <a:lnTo>
                      <a:pt x="63" y="90"/>
                    </a:lnTo>
                    <a:lnTo>
                      <a:pt x="68" y="88"/>
                    </a:lnTo>
                    <a:lnTo>
                      <a:pt x="70" y="84"/>
                    </a:lnTo>
                    <a:lnTo>
                      <a:pt x="71" y="79"/>
                    </a:lnTo>
                    <a:lnTo>
                      <a:pt x="71" y="79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11">
                <a:extLst>
                  <a:ext uri="{FF2B5EF4-FFF2-40B4-BE49-F238E27FC236}">
                    <a16:creationId xmlns:a16="http://schemas.microsoft.com/office/drawing/2014/main" id="{1C3BFCE0-297D-4727-AAEC-B6A3F7D75375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1033129" y="1379538"/>
                <a:ext cx="119063" cy="90487"/>
              </a:xfrm>
              <a:custGeom>
                <a:avLst/>
                <a:gdLst>
                  <a:gd name="T0" fmla="*/ 92 w 148"/>
                  <a:gd name="T1" fmla="*/ 46 h 115"/>
                  <a:gd name="T2" fmla="*/ 92 w 148"/>
                  <a:gd name="T3" fmla="*/ 46 h 115"/>
                  <a:gd name="T4" fmla="*/ 97 w 148"/>
                  <a:gd name="T5" fmla="*/ 51 h 115"/>
                  <a:gd name="T6" fmla="*/ 101 w 148"/>
                  <a:gd name="T7" fmla="*/ 58 h 115"/>
                  <a:gd name="T8" fmla="*/ 103 w 148"/>
                  <a:gd name="T9" fmla="*/ 66 h 115"/>
                  <a:gd name="T10" fmla="*/ 103 w 148"/>
                  <a:gd name="T11" fmla="*/ 73 h 115"/>
                  <a:gd name="T12" fmla="*/ 103 w 148"/>
                  <a:gd name="T13" fmla="*/ 73 h 115"/>
                  <a:gd name="T14" fmla="*/ 103 w 148"/>
                  <a:gd name="T15" fmla="*/ 82 h 115"/>
                  <a:gd name="T16" fmla="*/ 100 w 148"/>
                  <a:gd name="T17" fmla="*/ 90 h 115"/>
                  <a:gd name="T18" fmla="*/ 96 w 148"/>
                  <a:gd name="T19" fmla="*/ 97 h 115"/>
                  <a:gd name="T20" fmla="*/ 91 w 148"/>
                  <a:gd name="T21" fmla="*/ 104 h 115"/>
                  <a:gd name="T22" fmla="*/ 91 w 148"/>
                  <a:gd name="T23" fmla="*/ 104 h 115"/>
                  <a:gd name="T24" fmla="*/ 83 w 148"/>
                  <a:gd name="T25" fmla="*/ 109 h 115"/>
                  <a:gd name="T26" fmla="*/ 73 w 148"/>
                  <a:gd name="T27" fmla="*/ 113 h 115"/>
                  <a:gd name="T28" fmla="*/ 64 w 148"/>
                  <a:gd name="T29" fmla="*/ 115 h 115"/>
                  <a:gd name="T30" fmla="*/ 54 w 148"/>
                  <a:gd name="T31" fmla="*/ 115 h 115"/>
                  <a:gd name="T32" fmla="*/ 0 w 148"/>
                  <a:gd name="T33" fmla="*/ 115 h 115"/>
                  <a:gd name="T34" fmla="*/ 0 w 148"/>
                  <a:gd name="T35" fmla="*/ 0 h 115"/>
                  <a:gd name="T36" fmla="*/ 32 w 148"/>
                  <a:gd name="T37" fmla="*/ 0 h 115"/>
                  <a:gd name="T38" fmla="*/ 32 w 148"/>
                  <a:gd name="T39" fmla="*/ 36 h 115"/>
                  <a:gd name="T40" fmla="*/ 59 w 148"/>
                  <a:gd name="T41" fmla="*/ 36 h 115"/>
                  <a:gd name="T42" fmla="*/ 59 w 148"/>
                  <a:gd name="T43" fmla="*/ 36 h 115"/>
                  <a:gd name="T44" fmla="*/ 67 w 148"/>
                  <a:gd name="T45" fmla="*/ 37 h 115"/>
                  <a:gd name="T46" fmla="*/ 76 w 148"/>
                  <a:gd name="T47" fmla="*/ 38 h 115"/>
                  <a:gd name="T48" fmla="*/ 85 w 148"/>
                  <a:gd name="T49" fmla="*/ 41 h 115"/>
                  <a:gd name="T50" fmla="*/ 92 w 148"/>
                  <a:gd name="T51" fmla="*/ 46 h 115"/>
                  <a:gd name="T52" fmla="*/ 92 w 148"/>
                  <a:gd name="T53" fmla="*/ 46 h 115"/>
                  <a:gd name="T54" fmla="*/ 65 w 148"/>
                  <a:gd name="T55" fmla="*/ 86 h 115"/>
                  <a:gd name="T56" fmla="*/ 65 w 148"/>
                  <a:gd name="T57" fmla="*/ 86 h 115"/>
                  <a:gd name="T58" fmla="*/ 67 w 148"/>
                  <a:gd name="T59" fmla="*/ 84 h 115"/>
                  <a:gd name="T60" fmla="*/ 69 w 148"/>
                  <a:gd name="T61" fmla="*/ 81 h 115"/>
                  <a:gd name="T62" fmla="*/ 70 w 148"/>
                  <a:gd name="T63" fmla="*/ 77 h 115"/>
                  <a:gd name="T64" fmla="*/ 70 w 148"/>
                  <a:gd name="T65" fmla="*/ 74 h 115"/>
                  <a:gd name="T66" fmla="*/ 70 w 148"/>
                  <a:gd name="T67" fmla="*/ 74 h 115"/>
                  <a:gd name="T68" fmla="*/ 70 w 148"/>
                  <a:gd name="T69" fmla="*/ 71 h 115"/>
                  <a:gd name="T70" fmla="*/ 69 w 148"/>
                  <a:gd name="T71" fmla="*/ 68 h 115"/>
                  <a:gd name="T72" fmla="*/ 68 w 148"/>
                  <a:gd name="T73" fmla="*/ 65 h 115"/>
                  <a:gd name="T74" fmla="*/ 66 w 148"/>
                  <a:gd name="T75" fmla="*/ 63 h 115"/>
                  <a:gd name="T76" fmla="*/ 63 w 148"/>
                  <a:gd name="T77" fmla="*/ 61 h 115"/>
                  <a:gd name="T78" fmla="*/ 60 w 148"/>
                  <a:gd name="T79" fmla="*/ 60 h 115"/>
                  <a:gd name="T80" fmla="*/ 52 w 148"/>
                  <a:gd name="T81" fmla="*/ 59 h 115"/>
                  <a:gd name="T82" fmla="*/ 33 w 148"/>
                  <a:gd name="T83" fmla="*/ 59 h 115"/>
                  <a:gd name="T84" fmla="*/ 33 w 148"/>
                  <a:gd name="T85" fmla="*/ 91 h 115"/>
                  <a:gd name="T86" fmla="*/ 52 w 148"/>
                  <a:gd name="T87" fmla="*/ 91 h 115"/>
                  <a:gd name="T88" fmla="*/ 52 w 148"/>
                  <a:gd name="T89" fmla="*/ 91 h 115"/>
                  <a:gd name="T90" fmla="*/ 56 w 148"/>
                  <a:gd name="T91" fmla="*/ 91 h 115"/>
                  <a:gd name="T92" fmla="*/ 59 w 148"/>
                  <a:gd name="T93" fmla="*/ 90 h 115"/>
                  <a:gd name="T94" fmla="*/ 62 w 148"/>
                  <a:gd name="T95" fmla="*/ 88 h 115"/>
                  <a:gd name="T96" fmla="*/ 65 w 148"/>
                  <a:gd name="T97" fmla="*/ 86 h 115"/>
                  <a:gd name="T98" fmla="*/ 65 w 148"/>
                  <a:gd name="T99" fmla="*/ 86 h 115"/>
                  <a:gd name="T100" fmla="*/ 116 w 148"/>
                  <a:gd name="T101" fmla="*/ 0 h 115"/>
                  <a:gd name="T102" fmla="*/ 148 w 148"/>
                  <a:gd name="T103" fmla="*/ 0 h 115"/>
                  <a:gd name="T104" fmla="*/ 148 w 148"/>
                  <a:gd name="T105" fmla="*/ 115 h 115"/>
                  <a:gd name="T106" fmla="*/ 116 w 148"/>
                  <a:gd name="T107" fmla="*/ 115 h 115"/>
                  <a:gd name="T108" fmla="*/ 116 w 148"/>
                  <a:gd name="T109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48" h="115">
                    <a:moveTo>
                      <a:pt x="92" y="46"/>
                    </a:moveTo>
                    <a:lnTo>
                      <a:pt x="92" y="46"/>
                    </a:lnTo>
                    <a:lnTo>
                      <a:pt x="97" y="51"/>
                    </a:lnTo>
                    <a:lnTo>
                      <a:pt x="101" y="58"/>
                    </a:lnTo>
                    <a:lnTo>
                      <a:pt x="103" y="66"/>
                    </a:lnTo>
                    <a:lnTo>
                      <a:pt x="103" y="73"/>
                    </a:lnTo>
                    <a:lnTo>
                      <a:pt x="103" y="73"/>
                    </a:lnTo>
                    <a:lnTo>
                      <a:pt x="103" y="82"/>
                    </a:lnTo>
                    <a:lnTo>
                      <a:pt x="100" y="90"/>
                    </a:lnTo>
                    <a:lnTo>
                      <a:pt x="96" y="97"/>
                    </a:lnTo>
                    <a:lnTo>
                      <a:pt x="91" y="104"/>
                    </a:lnTo>
                    <a:lnTo>
                      <a:pt x="91" y="104"/>
                    </a:lnTo>
                    <a:lnTo>
                      <a:pt x="83" y="109"/>
                    </a:lnTo>
                    <a:lnTo>
                      <a:pt x="73" y="113"/>
                    </a:lnTo>
                    <a:lnTo>
                      <a:pt x="64" y="115"/>
                    </a:lnTo>
                    <a:lnTo>
                      <a:pt x="54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2" y="0"/>
                    </a:lnTo>
                    <a:lnTo>
                      <a:pt x="32" y="36"/>
                    </a:lnTo>
                    <a:lnTo>
                      <a:pt x="59" y="36"/>
                    </a:lnTo>
                    <a:lnTo>
                      <a:pt x="59" y="36"/>
                    </a:lnTo>
                    <a:lnTo>
                      <a:pt x="67" y="37"/>
                    </a:lnTo>
                    <a:lnTo>
                      <a:pt x="76" y="38"/>
                    </a:lnTo>
                    <a:lnTo>
                      <a:pt x="85" y="41"/>
                    </a:lnTo>
                    <a:lnTo>
                      <a:pt x="92" y="46"/>
                    </a:lnTo>
                    <a:lnTo>
                      <a:pt x="92" y="46"/>
                    </a:lnTo>
                    <a:close/>
                    <a:moveTo>
                      <a:pt x="65" y="86"/>
                    </a:moveTo>
                    <a:lnTo>
                      <a:pt x="65" y="86"/>
                    </a:lnTo>
                    <a:lnTo>
                      <a:pt x="67" y="84"/>
                    </a:lnTo>
                    <a:lnTo>
                      <a:pt x="69" y="81"/>
                    </a:lnTo>
                    <a:lnTo>
                      <a:pt x="70" y="77"/>
                    </a:lnTo>
                    <a:lnTo>
                      <a:pt x="70" y="74"/>
                    </a:lnTo>
                    <a:lnTo>
                      <a:pt x="70" y="74"/>
                    </a:lnTo>
                    <a:lnTo>
                      <a:pt x="70" y="71"/>
                    </a:lnTo>
                    <a:lnTo>
                      <a:pt x="69" y="68"/>
                    </a:lnTo>
                    <a:lnTo>
                      <a:pt x="68" y="65"/>
                    </a:lnTo>
                    <a:lnTo>
                      <a:pt x="66" y="63"/>
                    </a:lnTo>
                    <a:lnTo>
                      <a:pt x="63" y="61"/>
                    </a:lnTo>
                    <a:lnTo>
                      <a:pt x="60" y="60"/>
                    </a:lnTo>
                    <a:lnTo>
                      <a:pt x="52" y="59"/>
                    </a:lnTo>
                    <a:lnTo>
                      <a:pt x="33" y="59"/>
                    </a:lnTo>
                    <a:lnTo>
                      <a:pt x="33" y="91"/>
                    </a:lnTo>
                    <a:lnTo>
                      <a:pt x="52" y="91"/>
                    </a:lnTo>
                    <a:lnTo>
                      <a:pt x="52" y="91"/>
                    </a:lnTo>
                    <a:lnTo>
                      <a:pt x="56" y="91"/>
                    </a:lnTo>
                    <a:lnTo>
                      <a:pt x="59" y="90"/>
                    </a:lnTo>
                    <a:lnTo>
                      <a:pt x="62" y="88"/>
                    </a:lnTo>
                    <a:lnTo>
                      <a:pt x="65" y="86"/>
                    </a:lnTo>
                    <a:lnTo>
                      <a:pt x="65" y="86"/>
                    </a:lnTo>
                    <a:close/>
                    <a:moveTo>
                      <a:pt x="116" y="0"/>
                    </a:moveTo>
                    <a:lnTo>
                      <a:pt x="148" y="0"/>
                    </a:lnTo>
                    <a:lnTo>
                      <a:pt x="148" y="115"/>
                    </a:lnTo>
                    <a:lnTo>
                      <a:pt x="116" y="115"/>
                    </a:lnTo>
                    <a:lnTo>
                      <a:pt x="116" y="0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12">
                <a:extLst>
                  <a:ext uri="{FF2B5EF4-FFF2-40B4-BE49-F238E27FC236}">
                    <a16:creationId xmlns:a16="http://schemas.microsoft.com/office/drawing/2014/main" id="{E9A8242B-176F-41BC-AE26-754458201C1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166479" y="1376363"/>
                <a:ext cx="79375" cy="95250"/>
              </a:xfrm>
              <a:custGeom>
                <a:avLst/>
                <a:gdLst>
                  <a:gd name="T0" fmla="*/ 96 w 101"/>
                  <a:gd name="T1" fmla="*/ 68 h 120"/>
                  <a:gd name="T2" fmla="*/ 100 w 101"/>
                  <a:gd name="T3" fmla="*/ 76 h 120"/>
                  <a:gd name="T4" fmla="*/ 101 w 101"/>
                  <a:gd name="T5" fmla="*/ 85 h 120"/>
                  <a:gd name="T6" fmla="*/ 101 w 101"/>
                  <a:gd name="T7" fmla="*/ 90 h 120"/>
                  <a:gd name="T8" fmla="*/ 97 w 101"/>
                  <a:gd name="T9" fmla="*/ 99 h 120"/>
                  <a:gd name="T10" fmla="*/ 94 w 101"/>
                  <a:gd name="T11" fmla="*/ 104 h 120"/>
                  <a:gd name="T12" fmla="*/ 85 w 101"/>
                  <a:gd name="T13" fmla="*/ 111 h 120"/>
                  <a:gd name="T14" fmla="*/ 75 w 101"/>
                  <a:gd name="T15" fmla="*/ 116 h 120"/>
                  <a:gd name="T16" fmla="*/ 61 w 101"/>
                  <a:gd name="T17" fmla="*/ 119 h 120"/>
                  <a:gd name="T18" fmla="*/ 48 w 101"/>
                  <a:gd name="T19" fmla="*/ 120 h 120"/>
                  <a:gd name="T20" fmla="*/ 23 w 101"/>
                  <a:gd name="T21" fmla="*/ 118 h 120"/>
                  <a:gd name="T22" fmla="*/ 12 w 101"/>
                  <a:gd name="T23" fmla="*/ 114 h 120"/>
                  <a:gd name="T24" fmla="*/ 10 w 101"/>
                  <a:gd name="T25" fmla="*/ 86 h 120"/>
                  <a:gd name="T26" fmla="*/ 18 w 101"/>
                  <a:gd name="T27" fmla="*/ 89 h 120"/>
                  <a:gd name="T28" fmla="*/ 26 w 101"/>
                  <a:gd name="T29" fmla="*/ 92 h 120"/>
                  <a:gd name="T30" fmla="*/ 44 w 101"/>
                  <a:gd name="T31" fmla="*/ 94 h 120"/>
                  <a:gd name="T32" fmla="*/ 53 w 101"/>
                  <a:gd name="T33" fmla="*/ 93 h 120"/>
                  <a:gd name="T34" fmla="*/ 62 w 101"/>
                  <a:gd name="T35" fmla="*/ 90 h 120"/>
                  <a:gd name="T36" fmla="*/ 67 w 101"/>
                  <a:gd name="T37" fmla="*/ 86 h 120"/>
                  <a:gd name="T38" fmla="*/ 69 w 101"/>
                  <a:gd name="T39" fmla="*/ 80 h 120"/>
                  <a:gd name="T40" fmla="*/ 68 w 101"/>
                  <a:gd name="T41" fmla="*/ 78 h 120"/>
                  <a:gd name="T42" fmla="*/ 66 w 101"/>
                  <a:gd name="T43" fmla="*/ 74 h 120"/>
                  <a:gd name="T44" fmla="*/ 64 w 101"/>
                  <a:gd name="T45" fmla="*/ 73 h 120"/>
                  <a:gd name="T46" fmla="*/ 53 w 101"/>
                  <a:gd name="T47" fmla="*/ 70 h 120"/>
                  <a:gd name="T48" fmla="*/ 23 w 101"/>
                  <a:gd name="T49" fmla="*/ 47 h 120"/>
                  <a:gd name="T50" fmla="*/ 50 w 101"/>
                  <a:gd name="T51" fmla="*/ 47 h 120"/>
                  <a:gd name="T52" fmla="*/ 60 w 101"/>
                  <a:gd name="T53" fmla="*/ 44 h 120"/>
                  <a:gd name="T54" fmla="*/ 63 w 101"/>
                  <a:gd name="T55" fmla="*/ 41 h 120"/>
                  <a:gd name="T56" fmla="*/ 64 w 101"/>
                  <a:gd name="T57" fmla="*/ 37 h 120"/>
                  <a:gd name="T58" fmla="*/ 62 w 101"/>
                  <a:gd name="T59" fmla="*/ 32 h 120"/>
                  <a:gd name="T60" fmla="*/ 58 w 101"/>
                  <a:gd name="T61" fmla="*/ 29 h 120"/>
                  <a:gd name="T62" fmla="*/ 51 w 101"/>
                  <a:gd name="T63" fmla="*/ 26 h 120"/>
                  <a:gd name="T64" fmla="*/ 44 w 101"/>
                  <a:gd name="T65" fmla="*/ 26 h 120"/>
                  <a:gd name="T66" fmla="*/ 28 w 101"/>
                  <a:gd name="T67" fmla="*/ 28 h 120"/>
                  <a:gd name="T68" fmla="*/ 20 w 101"/>
                  <a:gd name="T69" fmla="*/ 30 h 120"/>
                  <a:gd name="T70" fmla="*/ 3 w 101"/>
                  <a:gd name="T71" fmla="*/ 9 h 120"/>
                  <a:gd name="T72" fmla="*/ 13 w 101"/>
                  <a:gd name="T73" fmla="*/ 5 h 120"/>
                  <a:gd name="T74" fmla="*/ 33 w 101"/>
                  <a:gd name="T75" fmla="*/ 1 h 120"/>
                  <a:gd name="T76" fmla="*/ 44 w 101"/>
                  <a:gd name="T77" fmla="*/ 0 h 120"/>
                  <a:gd name="T78" fmla="*/ 70 w 101"/>
                  <a:gd name="T79" fmla="*/ 4 h 120"/>
                  <a:gd name="T80" fmla="*/ 75 w 101"/>
                  <a:gd name="T81" fmla="*/ 6 h 120"/>
                  <a:gd name="T82" fmla="*/ 85 w 101"/>
                  <a:gd name="T83" fmla="*/ 12 h 120"/>
                  <a:gd name="T84" fmla="*/ 89 w 101"/>
                  <a:gd name="T85" fmla="*/ 16 h 120"/>
                  <a:gd name="T86" fmla="*/ 95 w 101"/>
                  <a:gd name="T87" fmla="*/ 24 h 120"/>
                  <a:gd name="T88" fmla="*/ 96 w 101"/>
                  <a:gd name="T89" fmla="*/ 34 h 120"/>
                  <a:gd name="T90" fmla="*/ 95 w 101"/>
                  <a:gd name="T91" fmla="*/ 41 h 120"/>
                  <a:gd name="T92" fmla="*/ 92 w 101"/>
                  <a:gd name="T93" fmla="*/ 48 h 120"/>
                  <a:gd name="T94" fmla="*/ 81 w 101"/>
                  <a:gd name="T95" fmla="*/ 58 h 120"/>
                  <a:gd name="T96" fmla="*/ 85 w 101"/>
                  <a:gd name="T97" fmla="*/ 59 h 120"/>
                  <a:gd name="T98" fmla="*/ 93 w 101"/>
                  <a:gd name="T99" fmla="*/ 65 h 120"/>
                  <a:gd name="T100" fmla="*/ 96 w 101"/>
                  <a:gd name="T101" fmla="*/ 68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01" h="120">
                    <a:moveTo>
                      <a:pt x="96" y="68"/>
                    </a:moveTo>
                    <a:lnTo>
                      <a:pt x="96" y="68"/>
                    </a:lnTo>
                    <a:lnTo>
                      <a:pt x="98" y="72"/>
                    </a:lnTo>
                    <a:lnTo>
                      <a:pt x="100" y="76"/>
                    </a:lnTo>
                    <a:lnTo>
                      <a:pt x="101" y="80"/>
                    </a:lnTo>
                    <a:lnTo>
                      <a:pt x="101" y="85"/>
                    </a:lnTo>
                    <a:lnTo>
                      <a:pt x="101" y="85"/>
                    </a:lnTo>
                    <a:lnTo>
                      <a:pt x="101" y="90"/>
                    </a:lnTo>
                    <a:lnTo>
                      <a:pt x="99" y="95"/>
                    </a:lnTo>
                    <a:lnTo>
                      <a:pt x="97" y="99"/>
                    </a:lnTo>
                    <a:lnTo>
                      <a:pt x="94" y="104"/>
                    </a:lnTo>
                    <a:lnTo>
                      <a:pt x="94" y="104"/>
                    </a:lnTo>
                    <a:lnTo>
                      <a:pt x="90" y="108"/>
                    </a:lnTo>
                    <a:lnTo>
                      <a:pt x="85" y="111"/>
                    </a:lnTo>
                    <a:lnTo>
                      <a:pt x="80" y="114"/>
                    </a:lnTo>
                    <a:lnTo>
                      <a:pt x="75" y="116"/>
                    </a:lnTo>
                    <a:lnTo>
                      <a:pt x="75" y="116"/>
                    </a:lnTo>
                    <a:lnTo>
                      <a:pt x="61" y="119"/>
                    </a:lnTo>
                    <a:lnTo>
                      <a:pt x="48" y="120"/>
                    </a:lnTo>
                    <a:lnTo>
                      <a:pt x="48" y="120"/>
                    </a:lnTo>
                    <a:lnTo>
                      <a:pt x="35" y="120"/>
                    </a:lnTo>
                    <a:lnTo>
                      <a:pt x="23" y="118"/>
                    </a:lnTo>
                    <a:lnTo>
                      <a:pt x="23" y="118"/>
                    </a:lnTo>
                    <a:lnTo>
                      <a:pt x="12" y="114"/>
                    </a:lnTo>
                    <a:lnTo>
                      <a:pt x="0" y="109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8" y="89"/>
                    </a:lnTo>
                    <a:lnTo>
                      <a:pt x="26" y="92"/>
                    </a:lnTo>
                    <a:lnTo>
                      <a:pt x="26" y="92"/>
                    </a:lnTo>
                    <a:lnTo>
                      <a:pt x="35" y="93"/>
                    </a:lnTo>
                    <a:lnTo>
                      <a:pt x="44" y="94"/>
                    </a:lnTo>
                    <a:lnTo>
                      <a:pt x="44" y="94"/>
                    </a:lnTo>
                    <a:lnTo>
                      <a:pt x="53" y="93"/>
                    </a:lnTo>
                    <a:lnTo>
                      <a:pt x="62" y="90"/>
                    </a:lnTo>
                    <a:lnTo>
                      <a:pt x="62" y="90"/>
                    </a:lnTo>
                    <a:lnTo>
                      <a:pt x="64" y="89"/>
                    </a:lnTo>
                    <a:lnTo>
                      <a:pt x="67" y="86"/>
                    </a:lnTo>
                    <a:lnTo>
                      <a:pt x="68" y="84"/>
                    </a:lnTo>
                    <a:lnTo>
                      <a:pt x="69" y="80"/>
                    </a:lnTo>
                    <a:lnTo>
                      <a:pt x="69" y="80"/>
                    </a:lnTo>
                    <a:lnTo>
                      <a:pt x="68" y="78"/>
                    </a:lnTo>
                    <a:lnTo>
                      <a:pt x="67" y="76"/>
                    </a:lnTo>
                    <a:lnTo>
                      <a:pt x="66" y="74"/>
                    </a:lnTo>
                    <a:lnTo>
                      <a:pt x="64" y="73"/>
                    </a:lnTo>
                    <a:lnTo>
                      <a:pt x="64" y="73"/>
                    </a:lnTo>
                    <a:lnTo>
                      <a:pt x="59" y="71"/>
                    </a:lnTo>
                    <a:lnTo>
                      <a:pt x="53" y="70"/>
                    </a:lnTo>
                    <a:lnTo>
                      <a:pt x="23" y="70"/>
                    </a:lnTo>
                    <a:lnTo>
                      <a:pt x="23" y="47"/>
                    </a:lnTo>
                    <a:lnTo>
                      <a:pt x="50" y="47"/>
                    </a:lnTo>
                    <a:lnTo>
                      <a:pt x="50" y="47"/>
                    </a:lnTo>
                    <a:lnTo>
                      <a:pt x="55" y="46"/>
                    </a:lnTo>
                    <a:lnTo>
                      <a:pt x="60" y="44"/>
                    </a:lnTo>
                    <a:lnTo>
                      <a:pt x="60" y="44"/>
                    </a:lnTo>
                    <a:lnTo>
                      <a:pt x="63" y="41"/>
                    </a:lnTo>
                    <a:lnTo>
                      <a:pt x="64" y="37"/>
                    </a:lnTo>
                    <a:lnTo>
                      <a:pt x="64" y="37"/>
                    </a:lnTo>
                    <a:lnTo>
                      <a:pt x="63" y="35"/>
                    </a:lnTo>
                    <a:lnTo>
                      <a:pt x="62" y="32"/>
                    </a:lnTo>
                    <a:lnTo>
                      <a:pt x="61" y="30"/>
                    </a:lnTo>
                    <a:lnTo>
                      <a:pt x="58" y="29"/>
                    </a:lnTo>
                    <a:lnTo>
                      <a:pt x="58" y="29"/>
                    </a:lnTo>
                    <a:lnTo>
                      <a:pt x="51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35" y="26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0" y="30"/>
                    </a:lnTo>
                    <a:lnTo>
                      <a:pt x="13" y="34"/>
                    </a:lnTo>
                    <a:lnTo>
                      <a:pt x="3" y="9"/>
                    </a:lnTo>
                    <a:lnTo>
                      <a:pt x="3" y="9"/>
                    </a:lnTo>
                    <a:lnTo>
                      <a:pt x="13" y="5"/>
                    </a:lnTo>
                    <a:lnTo>
                      <a:pt x="23" y="2"/>
                    </a:lnTo>
                    <a:lnTo>
                      <a:pt x="33" y="1"/>
                    </a:lnTo>
                    <a:lnTo>
                      <a:pt x="44" y="0"/>
                    </a:lnTo>
                    <a:lnTo>
                      <a:pt x="44" y="0"/>
                    </a:lnTo>
                    <a:lnTo>
                      <a:pt x="57" y="1"/>
                    </a:lnTo>
                    <a:lnTo>
                      <a:pt x="70" y="4"/>
                    </a:lnTo>
                    <a:lnTo>
                      <a:pt x="70" y="4"/>
                    </a:lnTo>
                    <a:lnTo>
                      <a:pt x="75" y="6"/>
                    </a:lnTo>
                    <a:lnTo>
                      <a:pt x="80" y="9"/>
                    </a:lnTo>
                    <a:lnTo>
                      <a:pt x="85" y="12"/>
                    </a:lnTo>
                    <a:lnTo>
                      <a:pt x="89" y="16"/>
                    </a:lnTo>
                    <a:lnTo>
                      <a:pt x="89" y="16"/>
                    </a:lnTo>
                    <a:lnTo>
                      <a:pt x="92" y="20"/>
                    </a:lnTo>
                    <a:lnTo>
                      <a:pt x="95" y="24"/>
                    </a:lnTo>
                    <a:lnTo>
                      <a:pt x="96" y="29"/>
                    </a:lnTo>
                    <a:lnTo>
                      <a:pt x="96" y="34"/>
                    </a:lnTo>
                    <a:lnTo>
                      <a:pt x="96" y="34"/>
                    </a:lnTo>
                    <a:lnTo>
                      <a:pt x="95" y="41"/>
                    </a:lnTo>
                    <a:lnTo>
                      <a:pt x="92" y="48"/>
                    </a:lnTo>
                    <a:lnTo>
                      <a:pt x="92" y="48"/>
                    </a:lnTo>
                    <a:lnTo>
                      <a:pt x="87" y="53"/>
                    </a:lnTo>
                    <a:lnTo>
                      <a:pt x="81" y="58"/>
                    </a:lnTo>
                    <a:lnTo>
                      <a:pt x="81" y="58"/>
                    </a:lnTo>
                    <a:lnTo>
                      <a:pt x="85" y="59"/>
                    </a:lnTo>
                    <a:lnTo>
                      <a:pt x="89" y="62"/>
                    </a:lnTo>
                    <a:lnTo>
                      <a:pt x="93" y="65"/>
                    </a:lnTo>
                    <a:lnTo>
                      <a:pt x="96" y="68"/>
                    </a:lnTo>
                    <a:lnTo>
                      <a:pt x="96" y="68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13">
                <a:extLst>
                  <a:ext uri="{FF2B5EF4-FFF2-40B4-BE49-F238E27FC236}">
                    <a16:creationId xmlns:a16="http://schemas.microsoft.com/office/drawing/2014/main" id="{E01B079E-D285-4471-A5CF-BD568CC8BFFE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1256966" y="1377950"/>
                <a:ext cx="101600" cy="93662"/>
              </a:xfrm>
              <a:custGeom>
                <a:avLst/>
                <a:gdLst>
                  <a:gd name="T0" fmla="*/ 31 w 128"/>
                  <a:gd name="T1" fmla="*/ 112 h 119"/>
                  <a:gd name="T2" fmla="*/ 21 w 128"/>
                  <a:gd name="T3" fmla="*/ 105 h 119"/>
                  <a:gd name="T4" fmla="*/ 7 w 128"/>
                  <a:gd name="T5" fmla="*/ 87 h 119"/>
                  <a:gd name="T6" fmla="*/ 0 w 128"/>
                  <a:gd name="T7" fmla="*/ 65 h 119"/>
                  <a:gd name="T8" fmla="*/ 2 w 128"/>
                  <a:gd name="T9" fmla="*/ 43 h 119"/>
                  <a:gd name="T10" fmla="*/ 7 w 128"/>
                  <a:gd name="T11" fmla="*/ 32 h 119"/>
                  <a:gd name="T12" fmla="*/ 11 w 128"/>
                  <a:gd name="T13" fmla="*/ 24 h 119"/>
                  <a:gd name="T14" fmla="*/ 24 w 128"/>
                  <a:gd name="T15" fmla="*/ 12 h 119"/>
                  <a:gd name="T16" fmla="*/ 31 w 128"/>
                  <a:gd name="T17" fmla="*/ 7 h 119"/>
                  <a:gd name="T18" fmla="*/ 47 w 128"/>
                  <a:gd name="T19" fmla="*/ 2 h 119"/>
                  <a:gd name="T20" fmla="*/ 65 w 128"/>
                  <a:gd name="T21" fmla="*/ 0 h 119"/>
                  <a:gd name="T22" fmla="*/ 81 w 128"/>
                  <a:gd name="T23" fmla="*/ 2 h 119"/>
                  <a:gd name="T24" fmla="*/ 97 w 128"/>
                  <a:gd name="T25" fmla="*/ 7 h 119"/>
                  <a:gd name="T26" fmla="*/ 102 w 128"/>
                  <a:gd name="T27" fmla="*/ 10 h 119"/>
                  <a:gd name="T28" fmla="*/ 115 w 128"/>
                  <a:gd name="T29" fmla="*/ 22 h 119"/>
                  <a:gd name="T30" fmla="*/ 126 w 128"/>
                  <a:gd name="T31" fmla="*/ 42 h 119"/>
                  <a:gd name="T32" fmla="*/ 128 w 128"/>
                  <a:gd name="T33" fmla="*/ 64 h 119"/>
                  <a:gd name="T34" fmla="*/ 124 w 128"/>
                  <a:gd name="T35" fmla="*/ 81 h 119"/>
                  <a:gd name="T36" fmla="*/ 122 w 128"/>
                  <a:gd name="T37" fmla="*/ 86 h 119"/>
                  <a:gd name="T38" fmla="*/ 111 w 128"/>
                  <a:gd name="T39" fmla="*/ 100 h 119"/>
                  <a:gd name="T40" fmla="*/ 97 w 128"/>
                  <a:gd name="T41" fmla="*/ 112 h 119"/>
                  <a:gd name="T42" fmla="*/ 89 w 128"/>
                  <a:gd name="T43" fmla="*/ 115 h 119"/>
                  <a:gd name="T44" fmla="*/ 73 w 128"/>
                  <a:gd name="T45" fmla="*/ 119 h 119"/>
                  <a:gd name="T46" fmla="*/ 56 w 128"/>
                  <a:gd name="T47" fmla="*/ 119 h 119"/>
                  <a:gd name="T48" fmla="*/ 39 w 128"/>
                  <a:gd name="T49" fmla="*/ 115 h 119"/>
                  <a:gd name="T50" fmla="*/ 31 w 128"/>
                  <a:gd name="T51" fmla="*/ 112 h 119"/>
                  <a:gd name="T52" fmla="*/ 80 w 128"/>
                  <a:gd name="T53" fmla="*/ 87 h 119"/>
                  <a:gd name="T54" fmla="*/ 91 w 128"/>
                  <a:gd name="T55" fmla="*/ 76 h 119"/>
                  <a:gd name="T56" fmla="*/ 94 w 128"/>
                  <a:gd name="T57" fmla="*/ 68 h 119"/>
                  <a:gd name="T58" fmla="*/ 94 w 128"/>
                  <a:gd name="T59" fmla="*/ 50 h 119"/>
                  <a:gd name="T60" fmla="*/ 91 w 128"/>
                  <a:gd name="T61" fmla="*/ 42 h 119"/>
                  <a:gd name="T62" fmla="*/ 80 w 128"/>
                  <a:gd name="T63" fmla="*/ 30 h 119"/>
                  <a:gd name="T64" fmla="*/ 73 w 128"/>
                  <a:gd name="T65" fmla="*/ 27 h 119"/>
                  <a:gd name="T66" fmla="*/ 57 w 128"/>
                  <a:gd name="T67" fmla="*/ 27 h 119"/>
                  <a:gd name="T68" fmla="*/ 48 w 128"/>
                  <a:gd name="T69" fmla="*/ 30 h 119"/>
                  <a:gd name="T70" fmla="*/ 37 w 128"/>
                  <a:gd name="T71" fmla="*/ 42 h 119"/>
                  <a:gd name="T72" fmla="*/ 34 w 128"/>
                  <a:gd name="T73" fmla="*/ 50 h 119"/>
                  <a:gd name="T74" fmla="*/ 34 w 128"/>
                  <a:gd name="T75" fmla="*/ 68 h 119"/>
                  <a:gd name="T76" fmla="*/ 37 w 128"/>
                  <a:gd name="T77" fmla="*/ 76 h 119"/>
                  <a:gd name="T78" fmla="*/ 48 w 128"/>
                  <a:gd name="T79" fmla="*/ 87 h 119"/>
                  <a:gd name="T80" fmla="*/ 57 w 128"/>
                  <a:gd name="T81" fmla="*/ 90 h 119"/>
                  <a:gd name="T82" fmla="*/ 73 w 128"/>
                  <a:gd name="T83" fmla="*/ 90 h 119"/>
                  <a:gd name="T84" fmla="*/ 80 w 128"/>
                  <a:gd name="T85" fmla="*/ 87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28" h="119">
                    <a:moveTo>
                      <a:pt x="31" y="112"/>
                    </a:moveTo>
                    <a:lnTo>
                      <a:pt x="31" y="112"/>
                    </a:lnTo>
                    <a:lnTo>
                      <a:pt x="26" y="109"/>
                    </a:lnTo>
                    <a:lnTo>
                      <a:pt x="21" y="105"/>
                    </a:lnTo>
                    <a:lnTo>
                      <a:pt x="13" y="96"/>
                    </a:lnTo>
                    <a:lnTo>
                      <a:pt x="7" y="87"/>
                    </a:lnTo>
                    <a:lnTo>
                      <a:pt x="3" y="76"/>
                    </a:lnTo>
                    <a:lnTo>
                      <a:pt x="0" y="65"/>
                    </a:lnTo>
                    <a:lnTo>
                      <a:pt x="0" y="54"/>
                    </a:lnTo>
                    <a:lnTo>
                      <a:pt x="2" y="43"/>
                    </a:lnTo>
                    <a:lnTo>
                      <a:pt x="4" y="37"/>
                    </a:lnTo>
                    <a:lnTo>
                      <a:pt x="7" y="32"/>
                    </a:lnTo>
                    <a:lnTo>
                      <a:pt x="7" y="32"/>
                    </a:lnTo>
                    <a:lnTo>
                      <a:pt x="11" y="24"/>
                    </a:lnTo>
                    <a:lnTo>
                      <a:pt x="17" y="18"/>
                    </a:lnTo>
                    <a:lnTo>
                      <a:pt x="24" y="12"/>
                    </a:lnTo>
                    <a:lnTo>
                      <a:pt x="31" y="7"/>
                    </a:lnTo>
                    <a:lnTo>
                      <a:pt x="31" y="7"/>
                    </a:lnTo>
                    <a:lnTo>
                      <a:pt x="39" y="4"/>
                    </a:lnTo>
                    <a:lnTo>
                      <a:pt x="47" y="2"/>
                    </a:lnTo>
                    <a:lnTo>
                      <a:pt x="56" y="0"/>
                    </a:lnTo>
                    <a:lnTo>
                      <a:pt x="65" y="0"/>
                    </a:lnTo>
                    <a:lnTo>
                      <a:pt x="73" y="0"/>
                    </a:lnTo>
                    <a:lnTo>
                      <a:pt x="81" y="2"/>
                    </a:lnTo>
                    <a:lnTo>
                      <a:pt x="89" y="4"/>
                    </a:lnTo>
                    <a:lnTo>
                      <a:pt x="97" y="7"/>
                    </a:lnTo>
                    <a:lnTo>
                      <a:pt x="97" y="7"/>
                    </a:lnTo>
                    <a:lnTo>
                      <a:pt x="102" y="10"/>
                    </a:lnTo>
                    <a:lnTo>
                      <a:pt x="107" y="14"/>
                    </a:lnTo>
                    <a:lnTo>
                      <a:pt x="115" y="22"/>
                    </a:lnTo>
                    <a:lnTo>
                      <a:pt x="121" y="31"/>
                    </a:lnTo>
                    <a:lnTo>
                      <a:pt x="126" y="42"/>
                    </a:lnTo>
                    <a:lnTo>
                      <a:pt x="128" y="53"/>
                    </a:lnTo>
                    <a:lnTo>
                      <a:pt x="128" y="64"/>
                    </a:lnTo>
                    <a:lnTo>
                      <a:pt x="126" y="75"/>
                    </a:lnTo>
                    <a:lnTo>
                      <a:pt x="124" y="81"/>
                    </a:lnTo>
                    <a:lnTo>
                      <a:pt x="122" y="86"/>
                    </a:lnTo>
                    <a:lnTo>
                      <a:pt x="122" y="86"/>
                    </a:lnTo>
                    <a:lnTo>
                      <a:pt x="117" y="94"/>
                    </a:lnTo>
                    <a:lnTo>
                      <a:pt x="111" y="100"/>
                    </a:lnTo>
                    <a:lnTo>
                      <a:pt x="105" y="107"/>
                    </a:lnTo>
                    <a:lnTo>
                      <a:pt x="97" y="112"/>
                    </a:lnTo>
                    <a:lnTo>
                      <a:pt x="97" y="112"/>
                    </a:lnTo>
                    <a:lnTo>
                      <a:pt x="89" y="115"/>
                    </a:lnTo>
                    <a:lnTo>
                      <a:pt x="81" y="117"/>
                    </a:lnTo>
                    <a:lnTo>
                      <a:pt x="73" y="119"/>
                    </a:lnTo>
                    <a:lnTo>
                      <a:pt x="65" y="119"/>
                    </a:lnTo>
                    <a:lnTo>
                      <a:pt x="56" y="119"/>
                    </a:lnTo>
                    <a:lnTo>
                      <a:pt x="47" y="117"/>
                    </a:lnTo>
                    <a:lnTo>
                      <a:pt x="39" y="115"/>
                    </a:lnTo>
                    <a:lnTo>
                      <a:pt x="31" y="112"/>
                    </a:lnTo>
                    <a:lnTo>
                      <a:pt x="31" y="112"/>
                    </a:lnTo>
                    <a:close/>
                    <a:moveTo>
                      <a:pt x="80" y="87"/>
                    </a:moveTo>
                    <a:lnTo>
                      <a:pt x="80" y="87"/>
                    </a:lnTo>
                    <a:lnTo>
                      <a:pt x="87" y="82"/>
                    </a:lnTo>
                    <a:lnTo>
                      <a:pt x="91" y="76"/>
                    </a:lnTo>
                    <a:lnTo>
                      <a:pt x="91" y="76"/>
                    </a:lnTo>
                    <a:lnTo>
                      <a:pt x="94" y="68"/>
                    </a:lnTo>
                    <a:lnTo>
                      <a:pt x="96" y="59"/>
                    </a:lnTo>
                    <a:lnTo>
                      <a:pt x="94" y="50"/>
                    </a:lnTo>
                    <a:lnTo>
                      <a:pt x="91" y="42"/>
                    </a:lnTo>
                    <a:lnTo>
                      <a:pt x="91" y="42"/>
                    </a:lnTo>
                    <a:lnTo>
                      <a:pt x="87" y="35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73" y="27"/>
                    </a:lnTo>
                    <a:lnTo>
                      <a:pt x="65" y="26"/>
                    </a:lnTo>
                    <a:lnTo>
                      <a:pt x="57" y="27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2" y="35"/>
                    </a:lnTo>
                    <a:lnTo>
                      <a:pt x="37" y="42"/>
                    </a:lnTo>
                    <a:lnTo>
                      <a:pt x="37" y="42"/>
                    </a:lnTo>
                    <a:lnTo>
                      <a:pt x="34" y="50"/>
                    </a:lnTo>
                    <a:lnTo>
                      <a:pt x="33" y="59"/>
                    </a:lnTo>
                    <a:lnTo>
                      <a:pt x="34" y="68"/>
                    </a:lnTo>
                    <a:lnTo>
                      <a:pt x="37" y="76"/>
                    </a:lnTo>
                    <a:lnTo>
                      <a:pt x="37" y="76"/>
                    </a:lnTo>
                    <a:lnTo>
                      <a:pt x="42" y="82"/>
                    </a:lnTo>
                    <a:lnTo>
                      <a:pt x="48" y="87"/>
                    </a:lnTo>
                    <a:lnTo>
                      <a:pt x="48" y="87"/>
                    </a:lnTo>
                    <a:lnTo>
                      <a:pt x="57" y="90"/>
                    </a:lnTo>
                    <a:lnTo>
                      <a:pt x="65" y="91"/>
                    </a:lnTo>
                    <a:lnTo>
                      <a:pt x="73" y="90"/>
                    </a:lnTo>
                    <a:lnTo>
                      <a:pt x="80" y="87"/>
                    </a:lnTo>
                    <a:lnTo>
                      <a:pt x="80" y="87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14">
                <a:extLst>
                  <a:ext uri="{FF2B5EF4-FFF2-40B4-BE49-F238E27FC236}">
                    <a16:creationId xmlns:a16="http://schemas.microsoft.com/office/drawing/2014/main" id="{A5EF15B3-5908-4C03-A264-5AE289A7DF1A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1374441" y="1379538"/>
                <a:ext cx="82550" cy="90487"/>
              </a:xfrm>
              <a:custGeom>
                <a:avLst/>
                <a:gdLst>
                  <a:gd name="T0" fmla="*/ 99 w 104"/>
                  <a:gd name="T1" fmla="*/ 64 h 115"/>
                  <a:gd name="T2" fmla="*/ 103 w 104"/>
                  <a:gd name="T3" fmla="*/ 72 h 115"/>
                  <a:gd name="T4" fmla="*/ 104 w 104"/>
                  <a:gd name="T5" fmla="*/ 81 h 115"/>
                  <a:gd name="T6" fmla="*/ 104 w 104"/>
                  <a:gd name="T7" fmla="*/ 88 h 115"/>
                  <a:gd name="T8" fmla="*/ 98 w 104"/>
                  <a:gd name="T9" fmla="*/ 101 h 115"/>
                  <a:gd name="T10" fmla="*/ 92 w 104"/>
                  <a:gd name="T11" fmla="*/ 106 h 115"/>
                  <a:gd name="T12" fmla="*/ 78 w 104"/>
                  <a:gd name="T13" fmla="*/ 113 h 115"/>
                  <a:gd name="T14" fmla="*/ 59 w 104"/>
                  <a:gd name="T15" fmla="*/ 115 h 115"/>
                  <a:gd name="T16" fmla="*/ 0 w 104"/>
                  <a:gd name="T17" fmla="*/ 0 h 115"/>
                  <a:gd name="T18" fmla="*/ 56 w 104"/>
                  <a:gd name="T19" fmla="*/ 0 h 115"/>
                  <a:gd name="T20" fmla="*/ 72 w 104"/>
                  <a:gd name="T21" fmla="*/ 2 h 115"/>
                  <a:gd name="T22" fmla="*/ 88 w 104"/>
                  <a:gd name="T23" fmla="*/ 8 h 115"/>
                  <a:gd name="T24" fmla="*/ 93 w 104"/>
                  <a:gd name="T25" fmla="*/ 12 h 115"/>
                  <a:gd name="T26" fmla="*/ 99 w 104"/>
                  <a:gd name="T27" fmla="*/ 23 h 115"/>
                  <a:gd name="T28" fmla="*/ 99 w 104"/>
                  <a:gd name="T29" fmla="*/ 30 h 115"/>
                  <a:gd name="T30" fmla="*/ 95 w 104"/>
                  <a:gd name="T31" fmla="*/ 45 h 115"/>
                  <a:gd name="T32" fmla="*/ 90 w 104"/>
                  <a:gd name="T33" fmla="*/ 50 h 115"/>
                  <a:gd name="T34" fmla="*/ 84 w 104"/>
                  <a:gd name="T35" fmla="*/ 54 h 115"/>
                  <a:gd name="T36" fmla="*/ 92 w 104"/>
                  <a:gd name="T37" fmla="*/ 58 h 115"/>
                  <a:gd name="T38" fmla="*/ 99 w 104"/>
                  <a:gd name="T39" fmla="*/ 64 h 115"/>
                  <a:gd name="T40" fmla="*/ 31 w 104"/>
                  <a:gd name="T41" fmla="*/ 46 h 115"/>
                  <a:gd name="T42" fmla="*/ 53 w 104"/>
                  <a:gd name="T43" fmla="*/ 46 h 115"/>
                  <a:gd name="T44" fmla="*/ 63 w 104"/>
                  <a:gd name="T45" fmla="*/ 43 h 115"/>
                  <a:gd name="T46" fmla="*/ 67 w 104"/>
                  <a:gd name="T47" fmla="*/ 34 h 115"/>
                  <a:gd name="T48" fmla="*/ 66 w 104"/>
                  <a:gd name="T49" fmla="*/ 29 h 115"/>
                  <a:gd name="T50" fmla="*/ 59 w 104"/>
                  <a:gd name="T51" fmla="*/ 24 h 115"/>
                  <a:gd name="T52" fmla="*/ 31 w 104"/>
                  <a:gd name="T53" fmla="*/ 23 h 115"/>
                  <a:gd name="T54" fmla="*/ 72 w 104"/>
                  <a:gd name="T55" fmla="*/ 79 h 115"/>
                  <a:gd name="T56" fmla="*/ 71 w 104"/>
                  <a:gd name="T57" fmla="*/ 74 h 115"/>
                  <a:gd name="T58" fmla="*/ 64 w 104"/>
                  <a:gd name="T59" fmla="*/ 68 h 115"/>
                  <a:gd name="T60" fmla="*/ 32 w 104"/>
                  <a:gd name="T61" fmla="*/ 67 h 115"/>
                  <a:gd name="T62" fmla="*/ 58 w 104"/>
                  <a:gd name="T63" fmla="*/ 91 h 115"/>
                  <a:gd name="T64" fmla="*/ 64 w 104"/>
                  <a:gd name="T65" fmla="*/ 90 h 115"/>
                  <a:gd name="T66" fmla="*/ 71 w 104"/>
                  <a:gd name="T67" fmla="*/ 84 h 115"/>
                  <a:gd name="T68" fmla="*/ 72 w 104"/>
                  <a:gd name="T69" fmla="*/ 79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4" h="115">
                    <a:moveTo>
                      <a:pt x="99" y="64"/>
                    </a:moveTo>
                    <a:lnTo>
                      <a:pt x="99" y="64"/>
                    </a:lnTo>
                    <a:lnTo>
                      <a:pt x="101" y="68"/>
                    </a:lnTo>
                    <a:lnTo>
                      <a:pt x="103" y="72"/>
                    </a:lnTo>
                    <a:lnTo>
                      <a:pt x="104" y="77"/>
                    </a:lnTo>
                    <a:lnTo>
                      <a:pt x="104" y="81"/>
                    </a:lnTo>
                    <a:lnTo>
                      <a:pt x="104" y="81"/>
                    </a:lnTo>
                    <a:lnTo>
                      <a:pt x="104" y="88"/>
                    </a:lnTo>
                    <a:lnTo>
                      <a:pt x="101" y="95"/>
                    </a:lnTo>
                    <a:lnTo>
                      <a:pt x="98" y="101"/>
                    </a:lnTo>
                    <a:lnTo>
                      <a:pt x="92" y="106"/>
                    </a:lnTo>
                    <a:lnTo>
                      <a:pt x="92" y="106"/>
                    </a:lnTo>
                    <a:lnTo>
                      <a:pt x="86" y="110"/>
                    </a:lnTo>
                    <a:lnTo>
                      <a:pt x="78" y="113"/>
                    </a:lnTo>
                    <a:lnTo>
                      <a:pt x="69" y="114"/>
                    </a:lnTo>
                    <a:lnTo>
                      <a:pt x="59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4" y="0"/>
                    </a:lnTo>
                    <a:lnTo>
                      <a:pt x="72" y="2"/>
                    </a:lnTo>
                    <a:lnTo>
                      <a:pt x="80" y="4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93" y="12"/>
                    </a:lnTo>
                    <a:lnTo>
                      <a:pt x="96" y="17"/>
                    </a:lnTo>
                    <a:lnTo>
                      <a:pt x="99" y="23"/>
                    </a:lnTo>
                    <a:lnTo>
                      <a:pt x="99" y="30"/>
                    </a:lnTo>
                    <a:lnTo>
                      <a:pt x="99" y="30"/>
                    </a:lnTo>
                    <a:lnTo>
                      <a:pt x="98" y="37"/>
                    </a:lnTo>
                    <a:lnTo>
                      <a:pt x="95" y="45"/>
                    </a:lnTo>
                    <a:lnTo>
                      <a:pt x="95" y="45"/>
                    </a:lnTo>
                    <a:lnTo>
                      <a:pt x="90" y="50"/>
                    </a:lnTo>
                    <a:lnTo>
                      <a:pt x="84" y="54"/>
                    </a:lnTo>
                    <a:lnTo>
                      <a:pt x="84" y="54"/>
                    </a:lnTo>
                    <a:lnTo>
                      <a:pt x="88" y="56"/>
                    </a:lnTo>
                    <a:lnTo>
                      <a:pt x="92" y="58"/>
                    </a:lnTo>
                    <a:lnTo>
                      <a:pt x="96" y="61"/>
                    </a:lnTo>
                    <a:lnTo>
                      <a:pt x="99" y="64"/>
                    </a:lnTo>
                    <a:lnTo>
                      <a:pt x="99" y="64"/>
                    </a:lnTo>
                    <a:close/>
                    <a:moveTo>
                      <a:pt x="31" y="46"/>
                    </a:moveTo>
                    <a:lnTo>
                      <a:pt x="53" y="46"/>
                    </a:lnTo>
                    <a:lnTo>
                      <a:pt x="53" y="46"/>
                    </a:lnTo>
                    <a:lnTo>
                      <a:pt x="59" y="45"/>
                    </a:lnTo>
                    <a:lnTo>
                      <a:pt x="63" y="43"/>
                    </a:lnTo>
                    <a:lnTo>
                      <a:pt x="66" y="39"/>
                    </a:lnTo>
                    <a:lnTo>
                      <a:pt x="67" y="34"/>
                    </a:lnTo>
                    <a:lnTo>
                      <a:pt x="67" y="34"/>
                    </a:lnTo>
                    <a:lnTo>
                      <a:pt x="66" y="29"/>
                    </a:lnTo>
                    <a:lnTo>
                      <a:pt x="63" y="26"/>
                    </a:lnTo>
                    <a:lnTo>
                      <a:pt x="59" y="24"/>
                    </a:lnTo>
                    <a:lnTo>
                      <a:pt x="53" y="23"/>
                    </a:lnTo>
                    <a:lnTo>
                      <a:pt x="31" y="23"/>
                    </a:lnTo>
                    <a:lnTo>
                      <a:pt x="31" y="46"/>
                    </a:lnTo>
                    <a:close/>
                    <a:moveTo>
                      <a:pt x="72" y="79"/>
                    </a:moveTo>
                    <a:lnTo>
                      <a:pt x="72" y="79"/>
                    </a:lnTo>
                    <a:lnTo>
                      <a:pt x="71" y="74"/>
                    </a:lnTo>
                    <a:lnTo>
                      <a:pt x="68" y="70"/>
                    </a:lnTo>
                    <a:lnTo>
                      <a:pt x="64" y="68"/>
                    </a:lnTo>
                    <a:lnTo>
                      <a:pt x="58" y="67"/>
                    </a:lnTo>
                    <a:lnTo>
                      <a:pt x="32" y="67"/>
                    </a:lnTo>
                    <a:lnTo>
                      <a:pt x="32" y="91"/>
                    </a:lnTo>
                    <a:lnTo>
                      <a:pt x="58" y="91"/>
                    </a:lnTo>
                    <a:lnTo>
                      <a:pt x="58" y="91"/>
                    </a:lnTo>
                    <a:lnTo>
                      <a:pt x="64" y="90"/>
                    </a:lnTo>
                    <a:lnTo>
                      <a:pt x="68" y="88"/>
                    </a:lnTo>
                    <a:lnTo>
                      <a:pt x="71" y="84"/>
                    </a:lnTo>
                    <a:lnTo>
                      <a:pt x="72" y="79"/>
                    </a:lnTo>
                    <a:lnTo>
                      <a:pt x="72" y="79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15">
                <a:extLst>
                  <a:ext uri="{FF2B5EF4-FFF2-40B4-BE49-F238E27FC236}">
                    <a16:creationId xmlns:a16="http://schemas.microsoft.com/office/drawing/2014/main" id="{C0A78373-8DAD-4C69-A622-44103123B09F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1474454" y="1379538"/>
                <a:ext cx="115888" cy="90487"/>
              </a:xfrm>
              <a:custGeom>
                <a:avLst/>
                <a:gdLst>
                  <a:gd name="T0" fmla="*/ 91 w 147"/>
                  <a:gd name="T1" fmla="*/ 46 h 115"/>
                  <a:gd name="T2" fmla="*/ 91 w 147"/>
                  <a:gd name="T3" fmla="*/ 46 h 115"/>
                  <a:gd name="T4" fmla="*/ 97 w 147"/>
                  <a:gd name="T5" fmla="*/ 51 h 115"/>
                  <a:gd name="T6" fmla="*/ 100 w 147"/>
                  <a:gd name="T7" fmla="*/ 58 h 115"/>
                  <a:gd name="T8" fmla="*/ 103 w 147"/>
                  <a:gd name="T9" fmla="*/ 66 h 115"/>
                  <a:gd name="T10" fmla="*/ 103 w 147"/>
                  <a:gd name="T11" fmla="*/ 73 h 115"/>
                  <a:gd name="T12" fmla="*/ 103 w 147"/>
                  <a:gd name="T13" fmla="*/ 73 h 115"/>
                  <a:gd name="T14" fmla="*/ 102 w 147"/>
                  <a:gd name="T15" fmla="*/ 82 h 115"/>
                  <a:gd name="T16" fmla="*/ 100 w 147"/>
                  <a:gd name="T17" fmla="*/ 90 h 115"/>
                  <a:gd name="T18" fmla="*/ 96 w 147"/>
                  <a:gd name="T19" fmla="*/ 97 h 115"/>
                  <a:gd name="T20" fmla="*/ 90 w 147"/>
                  <a:gd name="T21" fmla="*/ 104 h 115"/>
                  <a:gd name="T22" fmla="*/ 90 w 147"/>
                  <a:gd name="T23" fmla="*/ 104 h 115"/>
                  <a:gd name="T24" fmla="*/ 82 w 147"/>
                  <a:gd name="T25" fmla="*/ 109 h 115"/>
                  <a:gd name="T26" fmla="*/ 73 w 147"/>
                  <a:gd name="T27" fmla="*/ 113 h 115"/>
                  <a:gd name="T28" fmla="*/ 64 w 147"/>
                  <a:gd name="T29" fmla="*/ 115 h 115"/>
                  <a:gd name="T30" fmla="*/ 55 w 147"/>
                  <a:gd name="T31" fmla="*/ 115 h 115"/>
                  <a:gd name="T32" fmla="*/ 0 w 147"/>
                  <a:gd name="T33" fmla="*/ 115 h 115"/>
                  <a:gd name="T34" fmla="*/ 0 w 147"/>
                  <a:gd name="T35" fmla="*/ 0 h 115"/>
                  <a:gd name="T36" fmla="*/ 32 w 147"/>
                  <a:gd name="T37" fmla="*/ 0 h 115"/>
                  <a:gd name="T38" fmla="*/ 32 w 147"/>
                  <a:gd name="T39" fmla="*/ 36 h 115"/>
                  <a:gd name="T40" fmla="*/ 59 w 147"/>
                  <a:gd name="T41" fmla="*/ 36 h 115"/>
                  <a:gd name="T42" fmla="*/ 59 w 147"/>
                  <a:gd name="T43" fmla="*/ 36 h 115"/>
                  <a:gd name="T44" fmla="*/ 68 w 147"/>
                  <a:gd name="T45" fmla="*/ 37 h 115"/>
                  <a:gd name="T46" fmla="*/ 76 w 147"/>
                  <a:gd name="T47" fmla="*/ 38 h 115"/>
                  <a:gd name="T48" fmla="*/ 84 w 147"/>
                  <a:gd name="T49" fmla="*/ 41 h 115"/>
                  <a:gd name="T50" fmla="*/ 91 w 147"/>
                  <a:gd name="T51" fmla="*/ 46 h 115"/>
                  <a:gd name="T52" fmla="*/ 91 w 147"/>
                  <a:gd name="T53" fmla="*/ 46 h 115"/>
                  <a:gd name="T54" fmla="*/ 66 w 147"/>
                  <a:gd name="T55" fmla="*/ 86 h 115"/>
                  <a:gd name="T56" fmla="*/ 66 w 147"/>
                  <a:gd name="T57" fmla="*/ 86 h 115"/>
                  <a:gd name="T58" fmla="*/ 68 w 147"/>
                  <a:gd name="T59" fmla="*/ 84 h 115"/>
                  <a:gd name="T60" fmla="*/ 69 w 147"/>
                  <a:gd name="T61" fmla="*/ 81 h 115"/>
                  <a:gd name="T62" fmla="*/ 70 w 147"/>
                  <a:gd name="T63" fmla="*/ 77 h 115"/>
                  <a:gd name="T64" fmla="*/ 71 w 147"/>
                  <a:gd name="T65" fmla="*/ 74 h 115"/>
                  <a:gd name="T66" fmla="*/ 71 w 147"/>
                  <a:gd name="T67" fmla="*/ 74 h 115"/>
                  <a:gd name="T68" fmla="*/ 70 w 147"/>
                  <a:gd name="T69" fmla="*/ 71 h 115"/>
                  <a:gd name="T70" fmla="*/ 70 w 147"/>
                  <a:gd name="T71" fmla="*/ 68 h 115"/>
                  <a:gd name="T72" fmla="*/ 68 w 147"/>
                  <a:gd name="T73" fmla="*/ 65 h 115"/>
                  <a:gd name="T74" fmla="*/ 66 w 147"/>
                  <a:gd name="T75" fmla="*/ 63 h 115"/>
                  <a:gd name="T76" fmla="*/ 64 w 147"/>
                  <a:gd name="T77" fmla="*/ 61 h 115"/>
                  <a:gd name="T78" fmla="*/ 61 w 147"/>
                  <a:gd name="T79" fmla="*/ 60 h 115"/>
                  <a:gd name="T80" fmla="*/ 53 w 147"/>
                  <a:gd name="T81" fmla="*/ 59 h 115"/>
                  <a:gd name="T82" fmla="*/ 32 w 147"/>
                  <a:gd name="T83" fmla="*/ 59 h 115"/>
                  <a:gd name="T84" fmla="*/ 32 w 147"/>
                  <a:gd name="T85" fmla="*/ 91 h 115"/>
                  <a:gd name="T86" fmla="*/ 53 w 147"/>
                  <a:gd name="T87" fmla="*/ 91 h 115"/>
                  <a:gd name="T88" fmla="*/ 53 w 147"/>
                  <a:gd name="T89" fmla="*/ 91 h 115"/>
                  <a:gd name="T90" fmla="*/ 56 w 147"/>
                  <a:gd name="T91" fmla="*/ 91 h 115"/>
                  <a:gd name="T92" fmla="*/ 60 w 147"/>
                  <a:gd name="T93" fmla="*/ 90 h 115"/>
                  <a:gd name="T94" fmla="*/ 63 w 147"/>
                  <a:gd name="T95" fmla="*/ 88 h 115"/>
                  <a:gd name="T96" fmla="*/ 66 w 147"/>
                  <a:gd name="T97" fmla="*/ 86 h 115"/>
                  <a:gd name="T98" fmla="*/ 66 w 147"/>
                  <a:gd name="T99" fmla="*/ 86 h 115"/>
                  <a:gd name="T100" fmla="*/ 115 w 147"/>
                  <a:gd name="T101" fmla="*/ 0 h 115"/>
                  <a:gd name="T102" fmla="*/ 147 w 147"/>
                  <a:gd name="T103" fmla="*/ 0 h 115"/>
                  <a:gd name="T104" fmla="*/ 147 w 147"/>
                  <a:gd name="T105" fmla="*/ 115 h 115"/>
                  <a:gd name="T106" fmla="*/ 115 w 147"/>
                  <a:gd name="T107" fmla="*/ 115 h 115"/>
                  <a:gd name="T108" fmla="*/ 115 w 147"/>
                  <a:gd name="T109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47" h="115">
                    <a:moveTo>
                      <a:pt x="91" y="46"/>
                    </a:moveTo>
                    <a:lnTo>
                      <a:pt x="91" y="46"/>
                    </a:lnTo>
                    <a:lnTo>
                      <a:pt x="97" y="51"/>
                    </a:lnTo>
                    <a:lnTo>
                      <a:pt x="100" y="58"/>
                    </a:lnTo>
                    <a:lnTo>
                      <a:pt x="103" y="66"/>
                    </a:lnTo>
                    <a:lnTo>
                      <a:pt x="103" y="73"/>
                    </a:lnTo>
                    <a:lnTo>
                      <a:pt x="103" y="73"/>
                    </a:lnTo>
                    <a:lnTo>
                      <a:pt x="102" y="82"/>
                    </a:lnTo>
                    <a:lnTo>
                      <a:pt x="100" y="90"/>
                    </a:lnTo>
                    <a:lnTo>
                      <a:pt x="96" y="97"/>
                    </a:lnTo>
                    <a:lnTo>
                      <a:pt x="90" y="104"/>
                    </a:lnTo>
                    <a:lnTo>
                      <a:pt x="90" y="104"/>
                    </a:lnTo>
                    <a:lnTo>
                      <a:pt x="82" y="109"/>
                    </a:lnTo>
                    <a:lnTo>
                      <a:pt x="73" y="113"/>
                    </a:lnTo>
                    <a:lnTo>
                      <a:pt x="64" y="115"/>
                    </a:lnTo>
                    <a:lnTo>
                      <a:pt x="55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2" y="0"/>
                    </a:lnTo>
                    <a:lnTo>
                      <a:pt x="32" y="36"/>
                    </a:lnTo>
                    <a:lnTo>
                      <a:pt x="59" y="36"/>
                    </a:lnTo>
                    <a:lnTo>
                      <a:pt x="59" y="36"/>
                    </a:lnTo>
                    <a:lnTo>
                      <a:pt x="68" y="37"/>
                    </a:lnTo>
                    <a:lnTo>
                      <a:pt x="76" y="38"/>
                    </a:lnTo>
                    <a:lnTo>
                      <a:pt x="84" y="41"/>
                    </a:lnTo>
                    <a:lnTo>
                      <a:pt x="91" y="46"/>
                    </a:lnTo>
                    <a:lnTo>
                      <a:pt x="91" y="46"/>
                    </a:lnTo>
                    <a:close/>
                    <a:moveTo>
                      <a:pt x="66" y="86"/>
                    </a:moveTo>
                    <a:lnTo>
                      <a:pt x="66" y="86"/>
                    </a:lnTo>
                    <a:lnTo>
                      <a:pt x="68" y="84"/>
                    </a:lnTo>
                    <a:lnTo>
                      <a:pt x="69" y="81"/>
                    </a:lnTo>
                    <a:lnTo>
                      <a:pt x="70" y="77"/>
                    </a:lnTo>
                    <a:lnTo>
                      <a:pt x="71" y="74"/>
                    </a:lnTo>
                    <a:lnTo>
                      <a:pt x="71" y="74"/>
                    </a:lnTo>
                    <a:lnTo>
                      <a:pt x="70" y="71"/>
                    </a:lnTo>
                    <a:lnTo>
                      <a:pt x="70" y="68"/>
                    </a:lnTo>
                    <a:lnTo>
                      <a:pt x="68" y="65"/>
                    </a:lnTo>
                    <a:lnTo>
                      <a:pt x="66" y="63"/>
                    </a:lnTo>
                    <a:lnTo>
                      <a:pt x="64" y="61"/>
                    </a:lnTo>
                    <a:lnTo>
                      <a:pt x="61" y="60"/>
                    </a:lnTo>
                    <a:lnTo>
                      <a:pt x="53" y="59"/>
                    </a:lnTo>
                    <a:lnTo>
                      <a:pt x="32" y="59"/>
                    </a:lnTo>
                    <a:lnTo>
                      <a:pt x="32" y="91"/>
                    </a:lnTo>
                    <a:lnTo>
                      <a:pt x="53" y="91"/>
                    </a:lnTo>
                    <a:lnTo>
                      <a:pt x="53" y="91"/>
                    </a:lnTo>
                    <a:lnTo>
                      <a:pt x="56" y="91"/>
                    </a:lnTo>
                    <a:lnTo>
                      <a:pt x="60" y="90"/>
                    </a:lnTo>
                    <a:lnTo>
                      <a:pt x="63" y="88"/>
                    </a:lnTo>
                    <a:lnTo>
                      <a:pt x="66" y="86"/>
                    </a:lnTo>
                    <a:lnTo>
                      <a:pt x="66" y="86"/>
                    </a:lnTo>
                    <a:close/>
                    <a:moveTo>
                      <a:pt x="115" y="0"/>
                    </a:moveTo>
                    <a:lnTo>
                      <a:pt x="147" y="0"/>
                    </a:lnTo>
                    <a:lnTo>
                      <a:pt x="147" y="115"/>
                    </a:lnTo>
                    <a:lnTo>
                      <a:pt x="115" y="115"/>
                    </a:lnTo>
                    <a:lnTo>
                      <a:pt x="115" y="0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16">
                <a:extLst>
                  <a:ext uri="{FF2B5EF4-FFF2-40B4-BE49-F238E27FC236}">
                    <a16:creationId xmlns:a16="http://schemas.microsoft.com/office/drawing/2014/main" id="{0FA0F967-8887-4B03-9933-170D8D6F4AB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344154" y="1535113"/>
                <a:ext cx="85725" cy="90487"/>
              </a:xfrm>
              <a:custGeom>
                <a:avLst/>
                <a:gdLst>
                  <a:gd name="T0" fmla="*/ 109 w 109"/>
                  <a:gd name="T1" fmla="*/ 0 h 115"/>
                  <a:gd name="T2" fmla="*/ 109 w 109"/>
                  <a:gd name="T3" fmla="*/ 115 h 115"/>
                  <a:gd name="T4" fmla="*/ 77 w 109"/>
                  <a:gd name="T5" fmla="*/ 115 h 115"/>
                  <a:gd name="T6" fmla="*/ 77 w 109"/>
                  <a:gd name="T7" fmla="*/ 71 h 115"/>
                  <a:gd name="T8" fmla="*/ 32 w 109"/>
                  <a:gd name="T9" fmla="*/ 71 h 115"/>
                  <a:gd name="T10" fmla="*/ 32 w 109"/>
                  <a:gd name="T11" fmla="*/ 115 h 115"/>
                  <a:gd name="T12" fmla="*/ 0 w 109"/>
                  <a:gd name="T13" fmla="*/ 115 h 115"/>
                  <a:gd name="T14" fmla="*/ 0 w 109"/>
                  <a:gd name="T15" fmla="*/ 0 h 115"/>
                  <a:gd name="T16" fmla="*/ 32 w 109"/>
                  <a:gd name="T17" fmla="*/ 0 h 115"/>
                  <a:gd name="T18" fmla="*/ 32 w 109"/>
                  <a:gd name="T19" fmla="*/ 43 h 115"/>
                  <a:gd name="T20" fmla="*/ 77 w 109"/>
                  <a:gd name="T21" fmla="*/ 43 h 115"/>
                  <a:gd name="T22" fmla="*/ 77 w 109"/>
                  <a:gd name="T23" fmla="*/ 0 h 115"/>
                  <a:gd name="T24" fmla="*/ 109 w 109"/>
                  <a:gd name="T25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9" h="115">
                    <a:moveTo>
                      <a:pt x="109" y="0"/>
                    </a:moveTo>
                    <a:lnTo>
                      <a:pt x="109" y="115"/>
                    </a:lnTo>
                    <a:lnTo>
                      <a:pt x="77" y="115"/>
                    </a:lnTo>
                    <a:lnTo>
                      <a:pt x="77" y="71"/>
                    </a:lnTo>
                    <a:lnTo>
                      <a:pt x="32" y="71"/>
                    </a:lnTo>
                    <a:lnTo>
                      <a:pt x="3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2" y="0"/>
                    </a:lnTo>
                    <a:lnTo>
                      <a:pt x="32" y="43"/>
                    </a:lnTo>
                    <a:lnTo>
                      <a:pt x="77" y="43"/>
                    </a:lnTo>
                    <a:lnTo>
                      <a:pt x="77" y="0"/>
                    </a:lnTo>
                    <a:lnTo>
                      <a:pt x="109" y="0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17">
                <a:extLst>
                  <a:ext uri="{FF2B5EF4-FFF2-40B4-BE49-F238E27FC236}">
                    <a16:creationId xmlns:a16="http://schemas.microsoft.com/office/drawing/2014/main" id="{546CFC5C-8A7D-43B0-B6A0-FC1A1E141B40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447341" y="1533525"/>
                <a:ext cx="101600" cy="95250"/>
              </a:xfrm>
              <a:custGeom>
                <a:avLst/>
                <a:gdLst>
                  <a:gd name="T0" fmla="*/ 31 w 128"/>
                  <a:gd name="T1" fmla="*/ 112 h 120"/>
                  <a:gd name="T2" fmla="*/ 21 w 128"/>
                  <a:gd name="T3" fmla="*/ 105 h 120"/>
                  <a:gd name="T4" fmla="*/ 6 w 128"/>
                  <a:gd name="T5" fmla="*/ 88 h 120"/>
                  <a:gd name="T6" fmla="*/ 0 w 128"/>
                  <a:gd name="T7" fmla="*/ 67 h 120"/>
                  <a:gd name="T8" fmla="*/ 2 w 128"/>
                  <a:gd name="T9" fmla="*/ 43 h 120"/>
                  <a:gd name="T10" fmla="*/ 6 w 128"/>
                  <a:gd name="T11" fmla="*/ 32 h 120"/>
                  <a:gd name="T12" fmla="*/ 11 w 128"/>
                  <a:gd name="T13" fmla="*/ 25 h 120"/>
                  <a:gd name="T14" fmla="*/ 23 w 128"/>
                  <a:gd name="T15" fmla="*/ 12 h 120"/>
                  <a:gd name="T16" fmla="*/ 31 w 128"/>
                  <a:gd name="T17" fmla="*/ 8 h 120"/>
                  <a:gd name="T18" fmla="*/ 46 w 128"/>
                  <a:gd name="T19" fmla="*/ 2 h 120"/>
                  <a:gd name="T20" fmla="*/ 64 w 128"/>
                  <a:gd name="T21" fmla="*/ 0 h 120"/>
                  <a:gd name="T22" fmla="*/ 81 w 128"/>
                  <a:gd name="T23" fmla="*/ 2 h 120"/>
                  <a:gd name="T24" fmla="*/ 97 w 128"/>
                  <a:gd name="T25" fmla="*/ 8 h 120"/>
                  <a:gd name="T26" fmla="*/ 102 w 128"/>
                  <a:gd name="T27" fmla="*/ 11 h 120"/>
                  <a:gd name="T28" fmla="*/ 115 w 128"/>
                  <a:gd name="T29" fmla="*/ 22 h 120"/>
                  <a:gd name="T30" fmla="*/ 125 w 128"/>
                  <a:gd name="T31" fmla="*/ 42 h 120"/>
                  <a:gd name="T32" fmla="*/ 128 w 128"/>
                  <a:gd name="T33" fmla="*/ 65 h 120"/>
                  <a:gd name="T34" fmla="*/ 124 w 128"/>
                  <a:gd name="T35" fmla="*/ 82 h 120"/>
                  <a:gd name="T36" fmla="*/ 121 w 128"/>
                  <a:gd name="T37" fmla="*/ 87 h 120"/>
                  <a:gd name="T38" fmla="*/ 111 w 128"/>
                  <a:gd name="T39" fmla="*/ 101 h 120"/>
                  <a:gd name="T40" fmla="*/ 97 w 128"/>
                  <a:gd name="T41" fmla="*/ 112 h 120"/>
                  <a:gd name="T42" fmla="*/ 89 w 128"/>
                  <a:gd name="T43" fmla="*/ 115 h 120"/>
                  <a:gd name="T44" fmla="*/ 72 w 128"/>
                  <a:gd name="T45" fmla="*/ 119 h 120"/>
                  <a:gd name="T46" fmla="*/ 55 w 128"/>
                  <a:gd name="T47" fmla="*/ 119 h 120"/>
                  <a:gd name="T48" fmla="*/ 38 w 128"/>
                  <a:gd name="T49" fmla="*/ 115 h 120"/>
                  <a:gd name="T50" fmla="*/ 31 w 128"/>
                  <a:gd name="T51" fmla="*/ 112 h 120"/>
                  <a:gd name="T52" fmla="*/ 80 w 128"/>
                  <a:gd name="T53" fmla="*/ 89 h 120"/>
                  <a:gd name="T54" fmla="*/ 91 w 128"/>
                  <a:gd name="T55" fmla="*/ 77 h 120"/>
                  <a:gd name="T56" fmla="*/ 94 w 128"/>
                  <a:gd name="T57" fmla="*/ 69 h 120"/>
                  <a:gd name="T58" fmla="*/ 94 w 128"/>
                  <a:gd name="T59" fmla="*/ 52 h 120"/>
                  <a:gd name="T60" fmla="*/ 91 w 128"/>
                  <a:gd name="T61" fmla="*/ 42 h 120"/>
                  <a:gd name="T62" fmla="*/ 80 w 128"/>
                  <a:gd name="T63" fmla="*/ 31 h 120"/>
                  <a:gd name="T64" fmla="*/ 72 w 128"/>
                  <a:gd name="T65" fmla="*/ 28 h 120"/>
                  <a:gd name="T66" fmla="*/ 55 w 128"/>
                  <a:gd name="T67" fmla="*/ 28 h 120"/>
                  <a:gd name="T68" fmla="*/ 47 w 128"/>
                  <a:gd name="T69" fmla="*/ 31 h 120"/>
                  <a:gd name="T70" fmla="*/ 36 w 128"/>
                  <a:gd name="T71" fmla="*/ 42 h 120"/>
                  <a:gd name="T72" fmla="*/ 33 w 128"/>
                  <a:gd name="T73" fmla="*/ 52 h 120"/>
                  <a:gd name="T74" fmla="*/ 33 w 128"/>
                  <a:gd name="T75" fmla="*/ 69 h 120"/>
                  <a:gd name="T76" fmla="*/ 36 w 128"/>
                  <a:gd name="T77" fmla="*/ 77 h 120"/>
                  <a:gd name="T78" fmla="*/ 47 w 128"/>
                  <a:gd name="T79" fmla="*/ 89 h 120"/>
                  <a:gd name="T80" fmla="*/ 55 w 128"/>
                  <a:gd name="T81" fmla="*/ 92 h 120"/>
                  <a:gd name="T82" fmla="*/ 72 w 128"/>
                  <a:gd name="T83" fmla="*/ 92 h 120"/>
                  <a:gd name="T84" fmla="*/ 80 w 128"/>
                  <a:gd name="T85" fmla="*/ 89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28" h="120">
                    <a:moveTo>
                      <a:pt x="31" y="112"/>
                    </a:moveTo>
                    <a:lnTo>
                      <a:pt x="31" y="112"/>
                    </a:lnTo>
                    <a:lnTo>
                      <a:pt x="25" y="109"/>
                    </a:lnTo>
                    <a:lnTo>
                      <a:pt x="21" y="105"/>
                    </a:lnTo>
                    <a:lnTo>
                      <a:pt x="13" y="97"/>
                    </a:lnTo>
                    <a:lnTo>
                      <a:pt x="6" y="88"/>
                    </a:lnTo>
                    <a:lnTo>
                      <a:pt x="2" y="78"/>
                    </a:lnTo>
                    <a:lnTo>
                      <a:pt x="0" y="67"/>
                    </a:lnTo>
                    <a:lnTo>
                      <a:pt x="0" y="55"/>
                    </a:lnTo>
                    <a:lnTo>
                      <a:pt x="2" y="43"/>
                    </a:lnTo>
                    <a:lnTo>
                      <a:pt x="4" y="38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11" y="25"/>
                    </a:lnTo>
                    <a:lnTo>
                      <a:pt x="16" y="18"/>
                    </a:lnTo>
                    <a:lnTo>
                      <a:pt x="23" y="12"/>
                    </a:lnTo>
                    <a:lnTo>
                      <a:pt x="31" y="8"/>
                    </a:lnTo>
                    <a:lnTo>
                      <a:pt x="31" y="8"/>
                    </a:lnTo>
                    <a:lnTo>
                      <a:pt x="38" y="4"/>
                    </a:lnTo>
                    <a:lnTo>
                      <a:pt x="46" y="2"/>
                    </a:lnTo>
                    <a:lnTo>
                      <a:pt x="55" y="0"/>
                    </a:lnTo>
                    <a:lnTo>
                      <a:pt x="64" y="0"/>
                    </a:lnTo>
                    <a:lnTo>
                      <a:pt x="72" y="0"/>
                    </a:lnTo>
                    <a:lnTo>
                      <a:pt x="81" y="2"/>
                    </a:lnTo>
                    <a:lnTo>
                      <a:pt x="89" y="4"/>
                    </a:lnTo>
                    <a:lnTo>
                      <a:pt x="97" y="8"/>
                    </a:lnTo>
                    <a:lnTo>
                      <a:pt x="97" y="8"/>
                    </a:lnTo>
                    <a:lnTo>
                      <a:pt x="102" y="11"/>
                    </a:lnTo>
                    <a:lnTo>
                      <a:pt x="106" y="14"/>
                    </a:lnTo>
                    <a:lnTo>
                      <a:pt x="115" y="22"/>
                    </a:lnTo>
                    <a:lnTo>
                      <a:pt x="121" y="32"/>
                    </a:lnTo>
                    <a:lnTo>
                      <a:pt x="125" y="42"/>
                    </a:lnTo>
                    <a:lnTo>
                      <a:pt x="127" y="54"/>
                    </a:lnTo>
                    <a:lnTo>
                      <a:pt x="128" y="65"/>
                    </a:lnTo>
                    <a:lnTo>
                      <a:pt x="126" y="76"/>
                    </a:lnTo>
                    <a:lnTo>
                      <a:pt x="124" y="82"/>
                    </a:lnTo>
                    <a:lnTo>
                      <a:pt x="121" y="87"/>
                    </a:lnTo>
                    <a:lnTo>
                      <a:pt x="121" y="87"/>
                    </a:lnTo>
                    <a:lnTo>
                      <a:pt x="116" y="95"/>
                    </a:lnTo>
                    <a:lnTo>
                      <a:pt x="111" y="101"/>
                    </a:lnTo>
                    <a:lnTo>
                      <a:pt x="104" y="107"/>
                    </a:lnTo>
                    <a:lnTo>
                      <a:pt x="97" y="112"/>
                    </a:lnTo>
                    <a:lnTo>
                      <a:pt x="97" y="112"/>
                    </a:lnTo>
                    <a:lnTo>
                      <a:pt x="89" y="115"/>
                    </a:lnTo>
                    <a:lnTo>
                      <a:pt x="81" y="118"/>
                    </a:lnTo>
                    <a:lnTo>
                      <a:pt x="72" y="119"/>
                    </a:lnTo>
                    <a:lnTo>
                      <a:pt x="64" y="120"/>
                    </a:lnTo>
                    <a:lnTo>
                      <a:pt x="55" y="119"/>
                    </a:lnTo>
                    <a:lnTo>
                      <a:pt x="46" y="118"/>
                    </a:lnTo>
                    <a:lnTo>
                      <a:pt x="38" y="115"/>
                    </a:lnTo>
                    <a:lnTo>
                      <a:pt x="31" y="112"/>
                    </a:lnTo>
                    <a:lnTo>
                      <a:pt x="31" y="112"/>
                    </a:lnTo>
                    <a:close/>
                    <a:moveTo>
                      <a:pt x="80" y="89"/>
                    </a:moveTo>
                    <a:lnTo>
                      <a:pt x="80" y="89"/>
                    </a:lnTo>
                    <a:lnTo>
                      <a:pt x="86" y="84"/>
                    </a:lnTo>
                    <a:lnTo>
                      <a:pt x="91" y="77"/>
                    </a:lnTo>
                    <a:lnTo>
                      <a:pt x="91" y="77"/>
                    </a:lnTo>
                    <a:lnTo>
                      <a:pt x="94" y="69"/>
                    </a:lnTo>
                    <a:lnTo>
                      <a:pt x="95" y="60"/>
                    </a:lnTo>
                    <a:lnTo>
                      <a:pt x="94" y="52"/>
                    </a:lnTo>
                    <a:lnTo>
                      <a:pt x="91" y="42"/>
                    </a:lnTo>
                    <a:lnTo>
                      <a:pt x="91" y="42"/>
                    </a:lnTo>
                    <a:lnTo>
                      <a:pt x="86" y="36"/>
                    </a:lnTo>
                    <a:lnTo>
                      <a:pt x="80" y="31"/>
                    </a:lnTo>
                    <a:lnTo>
                      <a:pt x="80" y="31"/>
                    </a:lnTo>
                    <a:lnTo>
                      <a:pt x="72" y="28"/>
                    </a:lnTo>
                    <a:lnTo>
                      <a:pt x="64" y="27"/>
                    </a:lnTo>
                    <a:lnTo>
                      <a:pt x="55" y="28"/>
                    </a:lnTo>
                    <a:lnTo>
                      <a:pt x="47" y="31"/>
                    </a:lnTo>
                    <a:lnTo>
                      <a:pt x="47" y="31"/>
                    </a:lnTo>
                    <a:lnTo>
                      <a:pt x="41" y="36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3" y="52"/>
                    </a:lnTo>
                    <a:lnTo>
                      <a:pt x="32" y="60"/>
                    </a:lnTo>
                    <a:lnTo>
                      <a:pt x="33" y="69"/>
                    </a:lnTo>
                    <a:lnTo>
                      <a:pt x="36" y="77"/>
                    </a:lnTo>
                    <a:lnTo>
                      <a:pt x="36" y="77"/>
                    </a:lnTo>
                    <a:lnTo>
                      <a:pt x="41" y="84"/>
                    </a:lnTo>
                    <a:lnTo>
                      <a:pt x="47" y="89"/>
                    </a:lnTo>
                    <a:lnTo>
                      <a:pt x="47" y="89"/>
                    </a:lnTo>
                    <a:lnTo>
                      <a:pt x="55" y="92"/>
                    </a:lnTo>
                    <a:lnTo>
                      <a:pt x="64" y="93"/>
                    </a:lnTo>
                    <a:lnTo>
                      <a:pt x="72" y="92"/>
                    </a:lnTo>
                    <a:lnTo>
                      <a:pt x="80" y="89"/>
                    </a:lnTo>
                    <a:lnTo>
                      <a:pt x="80" y="89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18">
                <a:extLst>
                  <a:ext uri="{FF2B5EF4-FFF2-40B4-BE49-F238E27FC236}">
                    <a16:creationId xmlns:a16="http://schemas.microsoft.com/office/drawing/2014/main" id="{1B29B77B-399B-47DB-9D61-55AE1771F252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564816" y="1535113"/>
                <a:ext cx="84138" cy="90487"/>
              </a:xfrm>
              <a:custGeom>
                <a:avLst/>
                <a:gdLst>
                  <a:gd name="T0" fmla="*/ 99 w 105"/>
                  <a:gd name="T1" fmla="*/ 66 h 115"/>
                  <a:gd name="T2" fmla="*/ 103 w 105"/>
                  <a:gd name="T3" fmla="*/ 74 h 115"/>
                  <a:gd name="T4" fmla="*/ 105 w 105"/>
                  <a:gd name="T5" fmla="*/ 83 h 115"/>
                  <a:gd name="T6" fmla="*/ 104 w 105"/>
                  <a:gd name="T7" fmla="*/ 90 h 115"/>
                  <a:gd name="T8" fmla="*/ 98 w 105"/>
                  <a:gd name="T9" fmla="*/ 102 h 115"/>
                  <a:gd name="T10" fmla="*/ 93 w 105"/>
                  <a:gd name="T11" fmla="*/ 107 h 115"/>
                  <a:gd name="T12" fmla="*/ 77 w 105"/>
                  <a:gd name="T13" fmla="*/ 114 h 115"/>
                  <a:gd name="T14" fmla="*/ 59 w 105"/>
                  <a:gd name="T15" fmla="*/ 115 h 115"/>
                  <a:gd name="T16" fmla="*/ 0 w 105"/>
                  <a:gd name="T17" fmla="*/ 0 h 115"/>
                  <a:gd name="T18" fmla="*/ 56 w 105"/>
                  <a:gd name="T19" fmla="*/ 0 h 115"/>
                  <a:gd name="T20" fmla="*/ 73 w 105"/>
                  <a:gd name="T21" fmla="*/ 2 h 115"/>
                  <a:gd name="T22" fmla="*/ 88 w 105"/>
                  <a:gd name="T23" fmla="*/ 8 h 115"/>
                  <a:gd name="T24" fmla="*/ 93 w 105"/>
                  <a:gd name="T25" fmla="*/ 12 h 115"/>
                  <a:gd name="T26" fmla="*/ 99 w 105"/>
                  <a:gd name="T27" fmla="*/ 24 h 115"/>
                  <a:gd name="T28" fmla="*/ 99 w 105"/>
                  <a:gd name="T29" fmla="*/ 30 h 115"/>
                  <a:gd name="T30" fmla="*/ 95 w 105"/>
                  <a:gd name="T31" fmla="*/ 45 h 115"/>
                  <a:gd name="T32" fmla="*/ 90 w 105"/>
                  <a:gd name="T33" fmla="*/ 52 h 115"/>
                  <a:gd name="T34" fmla="*/ 84 w 105"/>
                  <a:gd name="T35" fmla="*/ 56 h 115"/>
                  <a:gd name="T36" fmla="*/ 92 w 105"/>
                  <a:gd name="T37" fmla="*/ 60 h 115"/>
                  <a:gd name="T38" fmla="*/ 99 w 105"/>
                  <a:gd name="T39" fmla="*/ 66 h 115"/>
                  <a:gd name="T40" fmla="*/ 32 w 105"/>
                  <a:gd name="T41" fmla="*/ 46 h 115"/>
                  <a:gd name="T42" fmla="*/ 53 w 105"/>
                  <a:gd name="T43" fmla="*/ 46 h 115"/>
                  <a:gd name="T44" fmla="*/ 63 w 105"/>
                  <a:gd name="T45" fmla="*/ 43 h 115"/>
                  <a:gd name="T46" fmla="*/ 67 w 105"/>
                  <a:gd name="T47" fmla="*/ 35 h 115"/>
                  <a:gd name="T48" fmla="*/ 66 w 105"/>
                  <a:gd name="T49" fmla="*/ 30 h 115"/>
                  <a:gd name="T50" fmla="*/ 59 w 105"/>
                  <a:gd name="T51" fmla="*/ 24 h 115"/>
                  <a:gd name="T52" fmla="*/ 32 w 105"/>
                  <a:gd name="T53" fmla="*/ 23 h 115"/>
                  <a:gd name="T54" fmla="*/ 72 w 105"/>
                  <a:gd name="T55" fmla="*/ 80 h 115"/>
                  <a:gd name="T56" fmla="*/ 71 w 105"/>
                  <a:gd name="T57" fmla="*/ 75 h 115"/>
                  <a:gd name="T58" fmla="*/ 64 w 105"/>
                  <a:gd name="T59" fmla="*/ 69 h 115"/>
                  <a:gd name="T60" fmla="*/ 32 w 105"/>
                  <a:gd name="T61" fmla="*/ 69 h 115"/>
                  <a:gd name="T62" fmla="*/ 58 w 105"/>
                  <a:gd name="T63" fmla="*/ 92 h 115"/>
                  <a:gd name="T64" fmla="*/ 64 w 105"/>
                  <a:gd name="T65" fmla="*/ 91 h 115"/>
                  <a:gd name="T66" fmla="*/ 71 w 105"/>
                  <a:gd name="T67" fmla="*/ 85 h 115"/>
                  <a:gd name="T68" fmla="*/ 72 w 105"/>
                  <a:gd name="T69" fmla="*/ 8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5" h="115">
                    <a:moveTo>
                      <a:pt x="99" y="66"/>
                    </a:moveTo>
                    <a:lnTo>
                      <a:pt x="99" y="66"/>
                    </a:lnTo>
                    <a:lnTo>
                      <a:pt x="102" y="70"/>
                    </a:lnTo>
                    <a:lnTo>
                      <a:pt x="103" y="74"/>
                    </a:lnTo>
                    <a:lnTo>
                      <a:pt x="104" y="78"/>
                    </a:lnTo>
                    <a:lnTo>
                      <a:pt x="105" y="83"/>
                    </a:lnTo>
                    <a:lnTo>
                      <a:pt x="105" y="83"/>
                    </a:lnTo>
                    <a:lnTo>
                      <a:pt x="104" y="90"/>
                    </a:lnTo>
                    <a:lnTo>
                      <a:pt x="102" y="96"/>
                    </a:lnTo>
                    <a:lnTo>
                      <a:pt x="98" y="102"/>
                    </a:lnTo>
                    <a:lnTo>
                      <a:pt x="93" y="107"/>
                    </a:lnTo>
                    <a:lnTo>
                      <a:pt x="93" y="107"/>
                    </a:lnTo>
                    <a:lnTo>
                      <a:pt x="85" y="111"/>
                    </a:lnTo>
                    <a:lnTo>
                      <a:pt x="77" y="114"/>
                    </a:lnTo>
                    <a:lnTo>
                      <a:pt x="68" y="115"/>
                    </a:lnTo>
                    <a:lnTo>
                      <a:pt x="59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5" y="1"/>
                    </a:lnTo>
                    <a:lnTo>
                      <a:pt x="73" y="2"/>
                    </a:lnTo>
                    <a:lnTo>
                      <a:pt x="81" y="4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93" y="12"/>
                    </a:lnTo>
                    <a:lnTo>
                      <a:pt x="97" y="18"/>
                    </a:lnTo>
                    <a:lnTo>
                      <a:pt x="99" y="24"/>
                    </a:lnTo>
                    <a:lnTo>
                      <a:pt x="99" y="30"/>
                    </a:lnTo>
                    <a:lnTo>
                      <a:pt x="99" y="30"/>
                    </a:lnTo>
                    <a:lnTo>
                      <a:pt x="98" y="38"/>
                    </a:lnTo>
                    <a:lnTo>
                      <a:pt x="95" y="45"/>
                    </a:lnTo>
                    <a:lnTo>
                      <a:pt x="95" y="45"/>
                    </a:lnTo>
                    <a:lnTo>
                      <a:pt x="90" y="52"/>
                    </a:lnTo>
                    <a:lnTo>
                      <a:pt x="84" y="56"/>
                    </a:lnTo>
                    <a:lnTo>
                      <a:pt x="84" y="56"/>
                    </a:lnTo>
                    <a:lnTo>
                      <a:pt x="88" y="57"/>
                    </a:lnTo>
                    <a:lnTo>
                      <a:pt x="92" y="60"/>
                    </a:lnTo>
                    <a:lnTo>
                      <a:pt x="96" y="62"/>
                    </a:lnTo>
                    <a:lnTo>
                      <a:pt x="99" y="66"/>
                    </a:lnTo>
                    <a:lnTo>
                      <a:pt x="99" y="66"/>
                    </a:lnTo>
                    <a:close/>
                    <a:moveTo>
                      <a:pt x="32" y="46"/>
                    </a:moveTo>
                    <a:lnTo>
                      <a:pt x="53" y="46"/>
                    </a:lnTo>
                    <a:lnTo>
                      <a:pt x="53" y="46"/>
                    </a:lnTo>
                    <a:lnTo>
                      <a:pt x="59" y="45"/>
                    </a:lnTo>
                    <a:lnTo>
                      <a:pt x="63" y="43"/>
                    </a:lnTo>
                    <a:lnTo>
                      <a:pt x="66" y="40"/>
                    </a:lnTo>
                    <a:lnTo>
                      <a:pt x="67" y="35"/>
                    </a:lnTo>
                    <a:lnTo>
                      <a:pt x="67" y="35"/>
                    </a:lnTo>
                    <a:lnTo>
                      <a:pt x="66" y="30"/>
                    </a:lnTo>
                    <a:lnTo>
                      <a:pt x="63" y="26"/>
                    </a:lnTo>
                    <a:lnTo>
                      <a:pt x="59" y="24"/>
                    </a:lnTo>
                    <a:lnTo>
                      <a:pt x="53" y="23"/>
                    </a:lnTo>
                    <a:lnTo>
                      <a:pt x="32" y="23"/>
                    </a:lnTo>
                    <a:lnTo>
                      <a:pt x="32" y="46"/>
                    </a:lnTo>
                    <a:close/>
                    <a:moveTo>
                      <a:pt x="72" y="80"/>
                    </a:moveTo>
                    <a:lnTo>
                      <a:pt x="72" y="80"/>
                    </a:lnTo>
                    <a:lnTo>
                      <a:pt x="71" y="75"/>
                    </a:lnTo>
                    <a:lnTo>
                      <a:pt x="69" y="72"/>
                    </a:lnTo>
                    <a:lnTo>
                      <a:pt x="64" y="69"/>
                    </a:lnTo>
                    <a:lnTo>
                      <a:pt x="58" y="69"/>
                    </a:lnTo>
                    <a:lnTo>
                      <a:pt x="32" y="69"/>
                    </a:lnTo>
                    <a:lnTo>
                      <a:pt x="32" y="92"/>
                    </a:lnTo>
                    <a:lnTo>
                      <a:pt x="58" y="92"/>
                    </a:lnTo>
                    <a:lnTo>
                      <a:pt x="58" y="92"/>
                    </a:lnTo>
                    <a:lnTo>
                      <a:pt x="64" y="91"/>
                    </a:lnTo>
                    <a:lnTo>
                      <a:pt x="69" y="89"/>
                    </a:lnTo>
                    <a:lnTo>
                      <a:pt x="71" y="85"/>
                    </a:lnTo>
                    <a:lnTo>
                      <a:pt x="72" y="80"/>
                    </a:lnTo>
                    <a:lnTo>
                      <a:pt x="72" y="80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19">
                <a:extLst>
                  <a:ext uri="{FF2B5EF4-FFF2-40B4-BE49-F238E27FC236}">
                    <a16:creationId xmlns:a16="http://schemas.microsoft.com/office/drawing/2014/main" id="{E422D1AF-C134-43A0-BF03-519BFBD30653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664829" y="1535113"/>
                <a:ext cx="115888" cy="90487"/>
              </a:xfrm>
              <a:custGeom>
                <a:avLst/>
                <a:gdLst>
                  <a:gd name="T0" fmla="*/ 92 w 147"/>
                  <a:gd name="T1" fmla="*/ 46 h 115"/>
                  <a:gd name="T2" fmla="*/ 92 w 147"/>
                  <a:gd name="T3" fmla="*/ 46 h 115"/>
                  <a:gd name="T4" fmla="*/ 97 w 147"/>
                  <a:gd name="T5" fmla="*/ 53 h 115"/>
                  <a:gd name="T6" fmla="*/ 101 w 147"/>
                  <a:gd name="T7" fmla="*/ 60 h 115"/>
                  <a:gd name="T8" fmla="*/ 103 w 147"/>
                  <a:gd name="T9" fmla="*/ 67 h 115"/>
                  <a:gd name="T10" fmla="*/ 103 w 147"/>
                  <a:gd name="T11" fmla="*/ 75 h 115"/>
                  <a:gd name="T12" fmla="*/ 103 w 147"/>
                  <a:gd name="T13" fmla="*/ 75 h 115"/>
                  <a:gd name="T14" fmla="*/ 103 w 147"/>
                  <a:gd name="T15" fmla="*/ 83 h 115"/>
                  <a:gd name="T16" fmla="*/ 100 w 147"/>
                  <a:gd name="T17" fmla="*/ 91 h 115"/>
                  <a:gd name="T18" fmla="*/ 96 w 147"/>
                  <a:gd name="T19" fmla="*/ 99 h 115"/>
                  <a:gd name="T20" fmla="*/ 90 w 147"/>
                  <a:gd name="T21" fmla="*/ 105 h 115"/>
                  <a:gd name="T22" fmla="*/ 90 w 147"/>
                  <a:gd name="T23" fmla="*/ 105 h 115"/>
                  <a:gd name="T24" fmla="*/ 82 w 147"/>
                  <a:gd name="T25" fmla="*/ 110 h 115"/>
                  <a:gd name="T26" fmla="*/ 74 w 147"/>
                  <a:gd name="T27" fmla="*/ 113 h 115"/>
                  <a:gd name="T28" fmla="*/ 65 w 147"/>
                  <a:gd name="T29" fmla="*/ 115 h 115"/>
                  <a:gd name="T30" fmla="*/ 55 w 147"/>
                  <a:gd name="T31" fmla="*/ 115 h 115"/>
                  <a:gd name="T32" fmla="*/ 0 w 147"/>
                  <a:gd name="T33" fmla="*/ 115 h 115"/>
                  <a:gd name="T34" fmla="*/ 0 w 147"/>
                  <a:gd name="T35" fmla="*/ 1 h 115"/>
                  <a:gd name="T36" fmla="*/ 32 w 147"/>
                  <a:gd name="T37" fmla="*/ 1 h 115"/>
                  <a:gd name="T38" fmla="*/ 32 w 147"/>
                  <a:gd name="T39" fmla="*/ 37 h 115"/>
                  <a:gd name="T40" fmla="*/ 59 w 147"/>
                  <a:gd name="T41" fmla="*/ 37 h 115"/>
                  <a:gd name="T42" fmla="*/ 59 w 147"/>
                  <a:gd name="T43" fmla="*/ 37 h 115"/>
                  <a:gd name="T44" fmla="*/ 68 w 147"/>
                  <a:gd name="T45" fmla="*/ 37 h 115"/>
                  <a:gd name="T46" fmla="*/ 76 w 147"/>
                  <a:gd name="T47" fmla="*/ 39 h 115"/>
                  <a:gd name="T48" fmla="*/ 84 w 147"/>
                  <a:gd name="T49" fmla="*/ 42 h 115"/>
                  <a:gd name="T50" fmla="*/ 92 w 147"/>
                  <a:gd name="T51" fmla="*/ 46 h 115"/>
                  <a:gd name="T52" fmla="*/ 92 w 147"/>
                  <a:gd name="T53" fmla="*/ 46 h 115"/>
                  <a:gd name="T54" fmla="*/ 66 w 147"/>
                  <a:gd name="T55" fmla="*/ 88 h 115"/>
                  <a:gd name="T56" fmla="*/ 66 w 147"/>
                  <a:gd name="T57" fmla="*/ 88 h 115"/>
                  <a:gd name="T58" fmla="*/ 68 w 147"/>
                  <a:gd name="T59" fmla="*/ 85 h 115"/>
                  <a:gd name="T60" fmla="*/ 70 w 147"/>
                  <a:gd name="T61" fmla="*/ 82 h 115"/>
                  <a:gd name="T62" fmla="*/ 71 w 147"/>
                  <a:gd name="T63" fmla="*/ 79 h 115"/>
                  <a:gd name="T64" fmla="*/ 71 w 147"/>
                  <a:gd name="T65" fmla="*/ 76 h 115"/>
                  <a:gd name="T66" fmla="*/ 71 w 147"/>
                  <a:gd name="T67" fmla="*/ 76 h 115"/>
                  <a:gd name="T68" fmla="*/ 71 w 147"/>
                  <a:gd name="T69" fmla="*/ 72 h 115"/>
                  <a:gd name="T70" fmla="*/ 70 w 147"/>
                  <a:gd name="T71" fmla="*/ 69 h 115"/>
                  <a:gd name="T72" fmla="*/ 68 w 147"/>
                  <a:gd name="T73" fmla="*/ 67 h 115"/>
                  <a:gd name="T74" fmla="*/ 66 w 147"/>
                  <a:gd name="T75" fmla="*/ 64 h 115"/>
                  <a:gd name="T76" fmla="*/ 64 w 147"/>
                  <a:gd name="T77" fmla="*/ 63 h 115"/>
                  <a:gd name="T78" fmla="*/ 61 w 147"/>
                  <a:gd name="T79" fmla="*/ 62 h 115"/>
                  <a:gd name="T80" fmla="*/ 53 w 147"/>
                  <a:gd name="T81" fmla="*/ 61 h 115"/>
                  <a:gd name="T82" fmla="*/ 32 w 147"/>
                  <a:gd name="T83" fmla="*/ 61 h 115"/>
                  <a:gd name="T84" fmla="*/ 32 w 147"/>
                  <a:gd name="T85" fmla="*/ 92 h 115"/>
                  <a:gd name="T86" fmla="*/ 53 w 147"/>
                  <a:gd name="T87" fmla="*/ 92 h 115"/>
                  <a:gd name="T88" fmla="*/ 53 w 147"/>
                  <a:gd name="T89" fmla="*/ 92 h 115"/>
                  <a:gd name="T90" fmla="*/ 57 w 147"/>
                  <a:gd name="T91" fmla="*/ 92 h 115"/>
                  <a:gd name="T92" fmla="*/ 60 w 147"/>
                  <a:gd name="T93" fmla="*/ 91 h 115"/>
                  <a:gd name="T94" fmla="*/ 63 w 147"/>
                  <a:gd name="T95" fmla="*/ 90 h 115"/>
                  <a:gd name="T96" fmla="*/ 66 w 147"/>
                  <a:gd name="T97" fmla="*/ 88 h 115"/>
                  <a:gd name="T98" fmla="*/ 66 w 147"/>
                  <a:gd name="T99" fmla="*/ 88 h 115"/>
                  <a:gd name="T100" fmla="*/ 116 w 147"/>
                  <a:gd name="T101" fmla="*/ 0 h 115"/>
                  <a:gd name="T102" fmla="*/ 147 w 147"/>
                  <a:gd name="T103" fmla="*/ 0 h 115"/>
                  <a:gd name="T104" fmla="*/ 147 w 147"/>
                  <a:gd name="T105" fmla="*/ 115 h 115"/>
                  <a:gd name="T106" fmla="*/ 116 w 147"/>
                  <a:gd name="T107" fmla="*/ 115 h 115"/>
                  <a:gd name="T108" fmla="*/ 116 w 147"/>
                  <a:gd name="T109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47" h="115">
                    <a:moveTo>
                      <a:pt x="92" y="46"/>
                    </a:moveTo>
                    <a:lnTo>
                      <a:pt x="92" y="46"/>
                    </a:lnTo>
                    <a:lnTo>
                      <a:pt x="97" y="53"/>
                    </a:lnTo>
                    <a:lnTo>
                      <a:pt x="101" y="60"/>
                    </a:lnTo>
                    <a:lnTo>
                      <a:pt x="103" y="67"/>
                    </a:lnTo>
                    <a:lnTo>
                      <a:pt x="103" y="75"/>
                    </a:lnTo>
                    <a:lnTo>
                      <a:pt x="103" y="75"/>
                    </a:lnTo>
                    <a:lnTo>
                      <a:pt x="103" y="83"/>
                    </a:lnTo>
                    <a:lnTo>
                      <a:pt x="100" y="91"/>
                    </a:lnTo>
                    <a:lnTo>
                      <a:pt x="96" y="99"/>
                    </a:lnTo>
                    <a:lnTo>
                      <a:pt x="90" y="105"/>
                    </a:lnTo>
                    <a:lnTo>
                      <a:pt x="90" y="105"/>
                    </a:lnTo>
                    <a:lnTo>
                      <a:pt x="82" y="110"/>
                    </a:lnTo>
                    <a:lnTo>
                      <a:pt x="74" y="113"/>
                    </a:lnTo>
                    <a:lnTo>
                      <a:pt x="65" y="115"/>
                    </a:lnTo>
                    <a:lnTo>
                      <a:pt x="55" y="115"/>
                    </a:lnTo>
                    <a:lnTo>
                      <a:pt x="0" y="115"/>
                    </a:lnTo>
                    <a:lnTo>
                      <a:pt x="0" y="1"/>
                    </a:lnTo>
                    <a:lnTo>
                      <a:pt x="32" y="1"/>
                    </a:lnTo>
                    <a:lnTo>
                      <a:pt x="32" y="37"/>
                    </a:lnTo>
                    <a:lnTo>
                      <a:pt x="59" y="37"/>
                    </a:lnTo>
                    <a:lnTo>
                      <a:pt x="59" y="37"/>
                    </a:lnTo>
                    <a:lnTo>
                      <a:pt x="68" y="37"/>
                    </a:lnTo>
                    <a:lnTo>
                      <a:pt x="76" y="39"/>
                    </a:lnTo>
                    <a:lnTo>
                      <a:pt x="84" y="42"/>
                    </a:lnTo>
                    <a:lnTo>
                      <a:pt x="92" y="46"/>
                    </a:lnTo>
                    <a:lnTo>
                      <a:pt x="92" y="46"/>
                    </a:lnTo>
                    <a:close/>
                    <a:moveTo>
                      <a:pt x="66" y="88"/>
                    </a:moveTo>
                    <a:lnTo>
                      <a:pt x="66" y="88"/>
                    </a:lnTo>
                    <a:lnTo>
                      <a:pt x="68" y="85"/>
                    </a:lnTo>
                    <a:lnTo>
                      <a:pt x="70" y="82"/>
                    </a:lnTo>
                    <a:lnTo>
                      <a:pt x="71" y="79"/>
                    </a:lnTo>
                    <a:lnTo>
                      <a:pt x="71" y="76"/>
                    </a:lnTo>
                    <a:lnTo>
                      <a:pt x="71" y="76"/>
                    </a:lnTo>
                    <a:lnTo>
                      <a:pt x="71" y="72"/>
                    </a:lnTo>
                    <a:lnTo>
                      <a:pt x="70" y="69"/>
                    </a:lnTo>
                    <a:lnTo>
                      <a:pt x="68" y="67"/>
                    </a:lnTo>
                    <a:lnTo>
                      <a:pt x="66" y="64"/>
                    </a:lnTo>
                    <a:lnTo>
                      <a:pt x="64" y="63"/>
                    </a:lnTo>
                    <a:lnTo>
                      <a:pt x="61" y="62"/>
                    </a:lnTo>
                    <a:lnTo>
                      <a:pt x="53" y="61"/>
                    </a:lnTo>
                    <a:lnTo>
                      <a:pt x="32" y="61"/>
                    </a:lnTo>
                    <a:lnTo>
                      <a:pt x="32" y="92"/>
                    </a:lnTo>
                    <a:lnTo>
                      <a:pt x="53" y="92"/>
                    </a:lnTo>
                    <a:lnTo>
                      <a:pt x="53" y="92"/>
                    </a:lnTo>
                    <a:lnTo>
                      <a:pt x="57" y="92"/>
                    </a:lnTo>
                    <a:lnTo>
                      <a:pt x="60" y="91"/>
                    </a:lnTo>
                    <a:lnTo>
                      <a:pt x="63" y="90"/>
                    </a:lnTo>
                    <a:lnTo>
                      <a:pt x="66" y="88"/>
                    </a:lnTo>
                    <a:lnTo>
                      <a:pt x="66" y="88"/>
                    </a:lnTo>
                    <a:close/>
                    <a:moveTo>
                      <a:pt x="116" y="0"/>
                    </a:moveTo>
                    <a:lnTo>
                      <a:pt x="147" y="0"/>
                    </a:lnTo>
                    <a:lnTo>
                      <a:pt x="147" y="115"/>
                    </a:lnTo>
                    <a:lnTo>
                      <a:pt x="116" y="115"/>
                    </a:lnTo>
                    <a:lnTo>
                      <a:pt x="116" y="0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20">
                <a:extLst>
                  <a:ext uri="{FF2B5EF4-FFF2-40B4-BE49-F238E27FC236}">
                    <a16:creationId xmlns:a16="http://schemas.microsoft.com/office/drawing/2014/main" id="{DC6A2D56-C40C-41C3-A96F-75AA52B2EBA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802941" y="1535113"/>
                <a:ext cx="74613" cy="90487"/>
              </a:xfrm>
              <a:custGeom>
                <a:avLst/>
                <a:gdLst>
                  <a:gd name="T0" fmla="*/ 92 w 92"/>
                  <a:gd name="T1" fmla="*/ 90 h 115"/>
                  <a:gd name="T2" fmla="*/ 92 w 92"/>
                  <a:gd name="T3" fmla="*/ 115 h 115"/>
                  <a:gd name="T4" fmla="*/ 0 w 92"/>
                  <a:gd name="T5" fmla="*/ 115 h 115"/>
                  <a:gd name="T6" fmla="*/ 0 w 92"/>
                  <a:gd name="T7" fmla="*/ 0 h 115"/>
                  <a:gd name="T8" fmla="*/ 90 w 92"/>
                  <a:gd name="T9" fmla="*/ 0 h 115"/>
                  <a:gd name="T10" fmla="*/ 90 w 92"/>
                  <a:gd name="T11" fmla="*/ 25 h 115"/>
                  <a:gd name="T12" fmla="*/ 32 w 92"/>
                  <a:gd name="T13" fmla="*/ 25 h 115"/>
                  <a:gd name="T14" fmla="*/ 32 w 92"/>
                  <a:gd name="T15" fmla="*/ 44 h 115"/>
                  <a:gd name="T16" fmla="*/ 83 w 92"/>
                  <a:gd name="T17" fmla="*/ 44 h 115"/>
                  <a:gd name="T18" fmla="*/ 83 w 92"/>
                  <a:gd name="T19" fmla="*/ 69 h 115"/>
                  <a:gd name="T20" fmla="*/ 32 w 92"/>
                  <a:gd name="T21" fmla="*/ 69 h 115"/>
                  <a:gd name="T22" fmla="*/ 32 w 92"/>
                  <a:gd name="T23" fmla="*/ 90 h 115"/>
                  <a:gd name="T24" fmla="*/ 92 w 92"/>
                  <a:gd name="T25" fmla="*/ 9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2" h="115">
                    <a:moveTo>
                      <a:pt x="92" y="90"/>
                    </a:moveTo>
                    <a:lnTo>
                      <a:pt x="9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25"/>
                    </a:lnTo>
                    <a:lnTo>
                      <a:pt x="32" y="25"/>
                    </a:lnTo>
                    <a:lnTo>
                      <a:pt x="32" y="44"/>
                    </a:lnTo>
                    <a:lnTo>
                      <a:pt x="83" y="44"/>
                    </a:lnTo>
                    <a:lnTo>
                      <a:pt x="83" y="69"/>
                    </a:lnTo>
                    <a:lnTo>
                      <a:pt x="32" y="69"/>
                    </a:lnTo>
                    <a:lnTo>
                      <a:pt x="32" y="90"/>
                    </a:lnTo>
                    <a:lnTo>
                      <a:pt x="92" y="90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21">
                <a:extLst>
                  <a:ext uri="{FF2B5EF4-FFF2-40B4-BE49-F238E27FC236}">
                    <a16:creationId xmlns:a16="http://schemas.microsoft.com/office/drawing/2014/main" id="{1607C92D-81A8-48E5-A26A-471B8CE4F4ED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934704" y="1535113"/>
                <a:ext cx="82550" cy="90487"/>
              </a:xfrm>
              <a:custGeom>
                <a:avLst/>
                <a:gdLst>
                  <a:gd name="T0" fmla="*/ 79 w 104"/>
                  <a:gd name="T1" fmla="*/ 5 h 115"/>
                  <a:gd name="T2" fmla="*/ 79 w 104"/>
                  <a:gd name="T3" fmla="*/ 5 h 115"/>
                  <a:gd name="T4" fmla="*/ 85 w 104"/>
                  <a:gd name="T5" fmla="*/ 8 h 115"/>
                  <a:gd name="T6" fmla="*/ 90 w 104"/>
                  <a:gd name="T7" fmla="*/ 12 h 115"/>
                  <a:gd name="T8" fmla="*/ 94 w 104"/>
                  <a:gd name="T9" fmla="*/ 16 h 115"/>
                  <a:gd name="T10" fmla="*/ 98 w 104"/>
                  <a:gd name="T11" fmla="*/ 20 h 115"/>
                  <a:gd name="T12" fmla="*/ 98 w 104"/>
                  <a:gd name="T13" fmla="*/ 20 h 115"/>
                  <a:gd name="T14" fmla="*/ 101 w 104"/>
                  <a:gd name="T15" fmla="*/ 27 h 115"/>
                  <a:gd name="T16" fmla="*/ 104 w 104"/>
                  <a:gd name="T17" fmla="*/ 35 h 115"/>
                  <a:gd name="T18" fmla="*/ 104 w 104"/>
                  <a:gd name="T19" fmla="*/ 43 h 115"/>
                  <a:gd name="T20" fmla="*/ 104 w 104"/>
                  <a:gd name="T21" fmla="*/ 51 h 115"/>
                  <a:gd name="T22" fmla="*/ 102 w 104"/>
                  <a:gd name="T23" fmla="*/ 59 h 115"/>
                  <a:gd name="T24" fmla="*/ 98 w 104"/>
                  <a:gd name="T25" fmla="*/ 66 h 115"/>
                  <a:gd name="T26" fmla="*/ 93 w 104"/>
                  <a:gd name="T27" fmla="*/ 72 h 115"/>
                  <a:gd name="T28" fmla="*/ 87 w 104"/>
                  <a:gd name="T29" fmla="*/ 77 h 115"/>
                  <a:gd name="T30" fmla="*/ 87 w 104"/>
                  <a:gd name="T31" fmla="*/ 77 h 115"/>
                  <a:gd name="T32" fmla="*/ 79 w 104"/>
                  <a:gd name="T33" fmla="*/ 81 h 115"/>
                  <a:gd name="T34" fmla="*/ 79 w 104"/>
                  <a:gd name="T35" fmla="*/ 81 h 115"/>
                  <a:gd name="T36" fmla="*/ 72 w 104"/>
                  <a:gd name="T37" fmla="*/ 83 h 115"/>
                  <a:gd name="T38" fmla="*/ 66 w 104"/>
                  <a:gd name="T39" fmla="*/ 85 h 115"/>
                  <a:gd name="T40" fmla="*/ 59 w 104"/>
                  <a:gd name="T41" fmla="*/ 85 h 115"/>
                  <a:gd name="T42" fmla="*/ 52 w 104"/>
                  <a:gd name="T43" fmla="*/ 86 h 115"/>
                  <a:gd name="T44" fmla="*/ 32 w 104"/>
                  <a:gd name="T45" fmla="*/ 86 h 115"/>
                  <a:gd name="T46" fmla="*/ 32 w 104"/>
                  <a:gd name="T47" fmla="*/ 115 h 115"/>
                  <a:gd name="T48" fmla="*/ 0 w 104"/>
                  <a:gd name="T49" fmla="*/ 115 h 115"/>
                  <a:gd name="T50" fmla="*/ 0 w 104"/>
                  <a:gd name="T51" fmla="*/ 0 h 115"/>
                  <a:gd name="T52" fmla="*/ 52 w 104"/>
                  <a:gd name="T53" fmla="*/ 0 h 115"/>
                  <a:gd name="T54" fmla="*/ 52 w 104"/>
                  <a:gd name="T55" fmla="*/ 0 h 115"/>
                  <a:gd name="T56" fmla="*/ 59 w 104"/>
                  <a:gd name="T57" fmla="*/ 1 h 115"/>
                  <a:gd name="T58" fmla="*/ 66 w 104"/>
                  <a:gd name="T59" fmla="*/ 2 h 115"/>
                  <a:gd name="T60" fmla="*/ 73 w 104"/>
                  <a:gd name="T61" fmla="*/ 3 h 115"/>
                  <a:gd name="T62" fmla="*/ 79 w 104"/>
                  <a:gd name="T63" fmla="*/ 5 h 115"/>
                  <a:gd name="T64" fmla="*/ 79 w 104"/>
                  <a:gd name="T65" fmla="*/ 5 h 115"/>
                  <a:gd name="T66" fmla="*/ 65 w 104"/>
                  <a:gd name="T67" fmla="*/ 56 h 115"/>
                  <a:gd name="T68" fmla="*/ 65 w 104"/>
                  <a:gd name="T69" fmla="*/ 56 h 115"/>
                  <a:gd name="T70" fmla="*/ 67 w 104"/>
                  <a:gd name="T71" fmla="*/ 53 h 115"/>
                  <a:gd name="T72" fmla="*/ 69 w 104"/>
                  <a:gd name="T73" fmla="*/ 50 h 115"/>
                  <a:gd name="T74" fmla="*/ 70 w 104"/>
                  <a:gd name="T75" fmla="*/ 46 h 115"/>
                  <a:gd name="T76" fmla="*/ 70 w 104"/>
                  <a:gd name="T77" fmla="*/ 43 h 115"/>
                  <a:gd name="T78" fmla="*/ 70 w 104"/>
                  <a:gd name="T79" fmla="*/ 43 h 115"/>
                  <a:gd name="T80" fmla="*/ 70 w 104"/>
                  <a:gd name="T81" fmla="*/ 39 h 115"/>
                  <a:gd name="T82" fmla="*/ 69 w 104"/>
                  <a:gd name="T83" fmla="*/ 36 h 115"/>
                  <a:gd name="T84" fmla="*/ 67 w 104"/>
                  <a:gd name="T85" fmla="*/ 33 h 115"/>
                  <a:gd name="T86" fmla="*/ 65 w 104"/>
                  <a:gd name="T87" fmla="*/ 30 h 115"/>
                  <a:gd name="T88" fmla="*/ 65 w 104"/>
                  <a:gd name="T89" fmla="*/ 30 h 115"/>
                  <a:gd name="T90" fmla="*/ 62 w 104"/>
                  <a:gd name="T91" fmla="*/ 28 h 115"/>
                  <a:gd name="T92" fmla="*/ 58 w 104"/>
                  <a:gd name="T93" fmla="*/ 27 h 115"/>
                  <a:gd name="T94" fmla="*/ 54 w 104"/>
                  <a:gd name="T95" fmla="*/ 26 h 115"/>
                  <a:gd name="T96" fmla="*/ 50 w 104"/>
                  <a:gd name="T97" fmla="*/ 26 h 115"/>
                  <a:gd name="T98" fmla="*/ 32 w 104"/>
                  <a:gd name="T99" fmla="*/ 26 h 115"/>
                  <a:gd name="T100" fmla="*/ 32 w 104"/>
                  <a:gd name="T101" fmla="*/ 60 h 115"/>
                  <a:gd name="T102" fmla="*/ 50 w 104"/>
                  <a:gd name="T103" fmla="*/ 60 h 115"/>
                  <a:gd name="T104" fmla="*/ 50 w 104"/>
                  <a:gd name="T105" fmla="*/ 60 h 115"/>
                  <a:gd name="T106" fmla="*/ 54 w 104"/>
                  <a:gd name="T107" fmla="*/ 60 h 115"/>
                  <a:gd name="T108" fmla="*/ 58 w 104"/>
                  <a:gd name="T109" fmla="*/ 59 h 115"/>
                  <a:gd name="T110" fmla="*/ 62 w 104"/>
                  <a:gd name="T111" fmla="*/ 58 h 115"/>
                  <a:gd name="T112" fmla="*/ 65 w 104"/>
                  <a:gd name="T113" fmla="*/ 56 h 115"/>
                  <a:gd name="T114" fmla="*/ 65 w 104"/>
                  <a:gd name="T115" fmla="*/ 56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04" h="115">
                    <a:moveTo>
                      <a:pt x="79" y="5"/>
                    </a:moveTo>
                    <a:lnTo>
                      <a:pt x="79" y="5"/>
                    </a:lnTo>
                    <a:lnTo>
                      <a:pt x="85" y="8"/>
                    </a:lnTo>
                    <a:lnTo>
                      <a:pt x="90" y="12"/>
                    </a:lnTo>
                    <a:lnTo>
                      <a:pt x="94" y="16"/>
                    </a:lnTo>
                    <a:lnTo>
                      <a:pt x="98" y="20"/>
                    </a:lnTo>
                    <a:lnTo>
                      <a:pt x="98" y="20"/>
                    </a:lnTo>
                    <a:lnTo>
                      <a:pt x="101" y="27"/>
                    </a:lnTo>
                    <a:lnTo>
                      <a:pt x="104" y="35"/>
                    </a:lnTo>
                    <a:lnTo>
                      <a:pt x="104" y="43"/>
                    </a:lnTo>
                    <a:lnTo>
                      <a:pt x="104" y="51"/>
                    </a:lnTo>
                    <a:lnTo>
                      <a:pt x="102" y="59"/>
                    </a:lnTo>
                    <a:lnTo>
                      <a:pt x="98" y="66"/>
                    </a:lnTo>
                    <a:lnTo>
                      <a:pt x="93" y="72"/>
                    </a:lnTo>
                    <a:lnTo>
                      <a:pt x="87" y="77"/>
                    </a:lnTo>
                    <a:lnTo>
                      <a:pt x="87" y="77"/>
                    </a:lnTo>
                    <a:lnTo>
                      <a:pt x="79" y="81"/>
                    </a:lnTo>
                    <a:lnTo>
                      <a:pt x="79" y="81"/>
                    </a:lnTo>
                    <a:lnTo>
                      <a:pt x="72" y="83"/>
                    </a:lnTo>
                    <a:lnTo>
                      <a:pt x="66" y="85"/>
                    </a:lnTo>
                    <a:lnTo>
                      <a:pt x="59" y="85"/>
                    </a:lnTo>
                    <a:lnTo>
                      <a:pt x="52" y="86"/>
                    </a:lnTo>
                    <a:lnTo>
                      <a:pt x="32" y="86"/>
                    </a:lnTo>
                    <a:lnTo>
                      <a:pt x="3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52" y="0"/>
                    </a:lnTo>
                    <a:lnTo>
                      <a:pt x="52" y="0"/>
                    </a:lnTo>
                    <a:lnTo>
                      <a:pt x="59" y="1"/>
                    </a:lnTo>
                    <a:lnTo>
                      <a:pt x="66" y="2"/>
                    </a:lnTo>
                    <a:lnTo>
                      <a:pt x="73" y="3"/>
                    </a:lnTo>
                    <a:lnTo>
                      <a:pt x="79" y="5"/>
                    </a:lnTo>
                    <a:lnTo>
                      <a:pt x="79" y="5"/>
                    </a:lnTo>
                    <a:close/>
                    <a:moveTo>
                      <a:pt x="65" y="56"/>
                    </a:moveTo>
                    <a:lnTo>
                      <a:pt x="65" y="56"/>
                    </a:lnTo>
                    <a:lnTo>
                      <a:pt x="67" y="53"/>
                    </a:lnTo>
                    <a:lnTo>
                      <a:pt x="69" y="50"/>
                    </a:lnTo>
                    <a:lnTo>
                      <a:pt x="70" y="46"/>
                    </a:lnTo>
                    <a:lnTo>
                      <a:pt x="70" y="43"/>
                    </a:lnTo>
                    <a:lnTo>
                      <a:pt x="70" y="43"/>
                    </a:lnTo>
                    <a:lnTo>
                      <a:pt x="70" y="39"/>
                    </a:lnTo>
                    <a:lnTo>
                      <a:pt x="69" y="36"/>
                    </a:lnTo>
                    <a:lnTo>
                      <a:pt x="67" y="33"/>
                    </a:lnTo>
                    <a:lnTo>
                      <a:pt x="65" y="30"/>
                    </a:lnTo>
                    <a:lnTo>
                      <a:pt x="65" y="30"/>
                    </a:lnTo>
                    <a:lnTo>
                      <a:pt x="62" y="28"/>
                    </a:lnTo>
                    <a:lnTo>
                      <a:pt x="58" y="27"/>
                    </a:lnTo>
                    <a:lnTo>
                      <a:pt x="54" y="26"/>
                    </a:lnTo>
                    <a:lnTo>
                      <a:pt x="50" y="26"/>
                    </a:lnTo>
                    <a:lnTo>
                      <a:pt x="32" y="26"/>
                    </a:lnTo>
                    <a:lnTo>
                      <a:pt x="32" y="60"/>
                    </a:lnTo>
                    <a:lnTo>
                      <a:pt x="50" y="60"/>
                    </a:lnTo>
                    <a:lnTo>
                      <a:pt x="50" y="60"/>
                    </a:lnTo>
                    <a:lnTo>
                      <a:pt x="54" y="60"/>
                    </a:lnTo>
                    <a:lnTo>
                      <a:pt x="58" y="59"/>
                    </a:lnTo>
                    <a:lnTo>
                      <a:pt x="62" y="58"/>
                    </a:lnTo>
                    <a:lnTo>
                      <a:pt x="65" y="56"/>
                    </a:lnTo>
                    <a:lnTo>
                      <a:pt x="65" y="56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22">
                <a:extLst>
                  <a:ext uri="{FF2B5EF4-FFF2-40B4-BE49-F238E27FC236}">
                    <a16:creationId xmlns:a16="http://schemas.microsoft.com/office/drawing/2014/main" id="{2F75C871-B04A-4801-A51F-80ED8E5D7CC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029954" y="1535113"/>
                <a:ext cx="74613" cy="90487"/>
              </a:xfrm>
              <a:custGeom>
                <a:avLst/>
                <a:gdLst>
                  <a:gd name="T0" fmla="*/ 93 w 93"/>
                  <a:gd name="T1" fmla="*/ 90 h 115"/>
                  <a:gd name="T2" fmla="*/ 93 w 93"/>
                  <a:gd name="T3" fmla="*/ 115 h 115"/>
                  <a:gd name="T4" fmla="*/ 0 w 93"/>
                  <a:gd name="T5" fmla="*/ 115 h 115"/>
                  <a:gd name="T6" fmla="*/ 0 w 93"/>
                  <a:gd name="T7" fmla="*/ 0 h 115"/>
                  <a:gd name="T8" fmla="*/ 91 w 93"/>
                  <a:gd name="T9" fmla="*/ 0 h 115"/>
                  <a:gd name="T10" fmla="*/ 91 w 93"/>
                  <a:gd name="T11" fmla="*/ 25 h 115"/>
                  <a:gd name="T12" fmla="*/ 32 w 93"/>
                  <a:gd name="T13" fmla="*/ 25 h 115"/>
                  <a:gd name="T14" fmla="*/ 32 w 93"/>
                  <a:gd name="T15" fmla="*/ 44 h 115"/>
                  <a:gd name="T16" fmla="*/ 83 w 93"/>
                  <a:gd name="T17" fmla="*/ 44 h 115"/>
                  <a:gd name="T18" fmla="*/ 83 w 93"/>
                  <a:gd name="T19" fmla="*/ 69 h 115"/>
                  <a:gd name="T20" fmla="*/ 32 w 93"/>
                  <a:gd name="T21" fmla="*/ 69 h 115"/>
                  <a:gd name="T22" fmla="*/ 32 w 93"/>
                  <a:gd name="T23" fmla="*/ 90 h 115"/>
                  <a:gd name="T24" fmla="*/ 93 w 93"/>
                  <a:gd name="T25" fmla="*/ 9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3" h="115">
                    <a:moveTo>
                      <a:pt x="93" y="90"/>
                    </a:moveTo>
                    <a:lnTo>
                      <a:pt x="93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91" y="0"/>
                    </a:lnTo>
                    <a:lnTo>
                      <a:pt x="91" y="25"/>
                    </a:lnTo>
                    <a:lnTo>
                      <a:pt x="32" y="25"/>
                    </a:lnTo>
                    <a:lnTo>
                      <a:pt x="32" y="44"/>
                    </a:lnTo>
                    <a:lnTo>
                      <a:pt x="83" y="44"/>
                    </a:lnTo>
                    <a:lnTo>
                      <a:pt x="83" y="69"/>
                    </a:lnTo>
                    <a:lnTo>
                      <a:pt x="32" y="69"/>
                    </a:lnTo>
                    <a:lnTo>
                      <a:pt x="32" y="90"/>
                    </a:lnTo>
                    <a:lnTo>
                      <a:pt x="93" y="90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23">
                <a:extLst>
                  <a:ext uri="{FF2B5EF4-FFF2-40B4-BE49-F238E27FC236}">
                    <a16:creationId xmlns:a16="http://schemas.microsoft.com/office/drawing/2014/main" id="{C429E987-9B75-4C91-95E9-4FE8E7D5BBF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122029" y="1535113"/>
                <a:ext cx="122238" cy="90487"/>
              </a:xfrm>
              <a:custGeom>
                <a:avLst/>
                <a:gdLst>
                  <a:gd name="T0" fmla="*/ 155 w 155"/>
                  <a:gd name="T1" fmla="*/ 0 h 115"/>
                  <a:gd name="T2" fmla="*/ 155 w 155"/>
                  <a:gd name="T3" fmla="*/ 115 h 115"/>
                  <a:gd name="T4" fmla="*/ 0 w 155"/>
                  <a:gd name="T5" fmla="*/ 115 h 115"/>
                  <a:gd name="T6" fmla="*/ 0 w 155"/>
                  <a:gd name="T7" fmla="*/ 0 h 115"/>
                  <a:gd name="T8" fmla="*/ 31 w 155"/>
                  <a:gd name="T9" fmla="*/ 0 h 115"/>
                  <a:gd name="T10" fmla="*/ 31 w 155"/>
                  <a:gd name="T11" fmla="*/ 90 h 115"/>
                  <a:gd name="T12" fmla="*/ 61 w 155"/>
                  <a:gd name="T13" fmla="*/ 90 h 115"/>
                  <a:gd name="T14" fmla="*/ 61 w 155"/>
                  <a:gd name="T15" fmla="*/ 0 h 115"/>
                  <a:gd name="T16" fmla="*/ 93 w 155"/>
                  <a:gd name="T17" fmla="*/ 0 h 115"/>
                  <a:gd name="T18" fmla="*/ 93 w 155"/>
                  <a:gd name="T19" fmla="*/ 90 h 115"/>
                  <a:gd name="T20" fmla="*/ 123 w 155"/>
                  <a:gd name="T21" fmla="*/ 90 h 115"/>
                  <a:gd name="T22" fmla="*/ 123 w 155"/>
                  <a:gd name="T23" fmla="*/ 0 h 115"/>
                  <a:gd name="T24" fmla="*/ 155 w 155"/>
                  <a:gd name="T25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5" h="115">
                    <a:moveTo>
                      <a:pt x="155" y="0"/>
                    </a:moveTo>
                    <a:lnTo>
                      <a:pt x="155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1" y="0"/>
                    </a:lnTo>
                    <a:lnTo>
                      <a:pt x="31" y="90"/>
                    </a:lnTo>
                    <a:lnTo>
                      <a:pt x="61" y="90"/>
                    </a:lnTo>
                    <a:lnTo>
                      <a:pt x="61" y="0"/>
                    </a:lnTo>
                    <a:lnTo>
                      <a:pt x="93" y="0"/>
                    </a:lnTo>
                    <a:lnTo>
                      <a:pt x="93" y="90"/>
                    </a:lnTo>
                    <a:lnTo>
                      <a:pt x="123" y="90"/>
                    </a:lnTo>
                    <a:lnTo>
                      <a:pt x="123" y="0"/>
                    </a:lnTo>
                    <a:lnTo>
                      <a:pt x="155" y="0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24">
                <a:extLst>
                  <a:ext uri="{FF2B5EF4-FFF2-40B4-BE49-F238E27FC236}">
                    <a16:creationId xmlns:a16="http://schemas.microsoft.com/office/drawing/2014/main" id="{AADC9A4B-119F-46FB-9990-C7C7AB58AC5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268079" y="1535113"/>
                <a:ext cx="71438" cy="90487"/>
              </a:xfrm>
              <a:custGeom>
                <a:avLst/>
                <a:gdLst>
                  <a:gd name="T0" fmla="*/ 92 w 92"/>
                  <a:gd name="T1" fmla="*/ 90 h 115"/>
                  <a:gd name="T2" fmla="*/ 92 w 92"/>
                  <a:gd name="T3" fmla="*/ 115 h 115"/>
                  <a:gd name="T4" fmla="*/ 0 w 92"/>
                  <a:gd name="T5" fmla="*/ 115 h 115"/>
                  <a:gd name="T6" fmla="*/ 0 w 92"/>
                  <a:gd name="T7" fmla="*/ 0 h 115"/>
                  <a:gd name="T8" fmla="*/ 90 w 92"/>
                  <a:gd name="T9" fmla="*/ 0 h 115"/>
                  <a:gd name="T10" fmla="*/ 90 w 92"/>
                  <a:gd name="T11" fmla="*/ 25 h 115"/>
                  <a:gd name="T12" fmla="*/ 32 w 92"/>
                  <a:gd name="T13" fmla="*/ 25 h 115"/>
                  <a:gd name="T14" fmla="*/ 32 w 92"/>
                  <a:gd name="T15" fmla="*/ 44 h 115"/>
                  <a:gd name="T16" fmla="*/ 83 w 92"/>
                  <a:gd name="T17" fmla="*/ 44 h 115"/>
                  <a:gd name="T18" fmla="*/ 83 w 92"/>
                  <a:gd name="T19" fmla="*/ 69 h 115"/>
                  <a:gd name="T20" fmla="*/ 32 w 92"/>
                  <a:gd name="T21" fmla="*/ 69 h 115"/>
                  <a:gd name="T22" fmla="*/ 32 w 92"/>
                  <a:gd name="T23" fmla="*/ 90 h 115"/>
                  <a:gd name="T24" fmla="*/ 92 w 92"/>
                  <a:gd name="T25" fmla="*/ 9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2" h="115">
                    <a:moveTo>
                      <a:pt x="92" y="90"/>
                    </a:moveTo>
                    <a:lnTo>
                      <a:pt x="9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25"/>
                    </a:lnTo>
                    <a:lnTo>
                      <a:pt x="32" y="25"/>
                    </a:lnTo>
                    <a:lnTo>
                      <a:pt x="32" y="44"/>
                    </a:lnTo>
                    <a:lnTo>
                      <a:pt x="83" y="44"/>
                    </a:lnTo>
                    <a:lnTo>
                      <a:pt x="83" y="69"/>
                    </a:lnTo>
                    <a:lnTo>
                      <a:pt x="32" y="69"/>
                    </a:lnTo>
                    <a:lnTo>
                      <a:pt x="32" y="90"/>
                    </a:lnTo>
                    <a:lnTo>
                      <a:pt x="92" y="90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25">
                <a:extLst>
                  <a:ext uri="{FF2B5EF4-FFF2-40B4-BE49-F238E27FC236}">
                    <a16:creationId xmlns:a16="http://schemas.microsoft.com/office/drawing/2014/main" id="{A1911CAB-A5E2-4B6F-84AD-1EB67BC2FC4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358566" y="1535113"/>
                <a:ext cx="85725" cy="90487"/>
              </a:xfrm>
              <a:custGeom>
                <a:avLst/>
                <a:gdLst>
                  <a:gd name="T0" fmla="*/ 109 w 109"/>
                  <a:gd name="T1" fmla="*/ 0 h 115"/>
                  <a:gd name="T2" fmla="*/ 109 w 109"/>
                  <a:gd name="T3" fmla="*/ 115 h 115"/>
                  <a:gd name="T4" fmla="*/ 77 w 109"/>
                  <a:gd name="T5" fmla="*/ 115 h 115"/>
                  <a:gd name="T6" fmla="*/ 77 w 109"/>
                  <a:gd name="T7" fmla="*/ 71 h 115"/>
                  <a:gd name="T8" fmla="*/ 32 w 109"/>
                  <a:gd name="T9" fmla="*/ 71 h 115"/>
                  <a:gd name="T10" fmla="*/ 32 w 109"/>
                  <a:gd name="T11" fmla="*/ 115 h 115"/>
                  <a:gd name="T12" fmla="*/ 0 w 109"/>
                  <a:gd name="T13" fmla="*/ 115 h 115"/>
                  <a:gd name="T14" fmla="*/ 0 w 109"/>
                  <a:gd name="T15" fmla="*/ 0 h 115"/>
                  <a:gd name="T16" fmla="*/ 32 w 109"/>
                  <a:gd name="T17" fmla="*/ 0 h 115"/>
                  <a:gd name="T18" fmla="*/ 32 w 109"/>
                  <a:gd name="T19" fmla="*/ 43 h 115"/>
                  <a:gd name="T20" fmla="*/ 77 w 109"/>
                  <a:gd name="T21" fmla="*/ 43 h 115"/>
                  <a:gd name="T22" fmla="*/ 77 w 109"/>
                  <a:gd name="T23" fmla="*/ 0 h 115"/>
                  <a:gd name="T24" fmla="*/ 109 w 109"/>
                  <a:gd name="T25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9" h="115">
                    <a:moveTo>
                      <a:pt x="109" y="0"/>
                    </a:moveTo>
                    <a:lnTo>
                      <a:pt x="109" y="115"/>
                    </a:lnTo>
                    <a:lnTo>
                      <a:pt x="77" y="115"/>
                    </a:lnTo>
                    <a:lnTo>
                      <a:pt x="77" y="71"/>
                    </a:lnTo>
                    <a:lnTo>
                      <a:pt x="32" y="71"/>
                    </a:lnTo>
                    <a:lnTo>
                      <a:pt x="3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2" y="0"/>
                    </a:lnTo>
                    <a:lnTo>
                      <a:pt x="32" y="43"/>
                    </a:lnTo>
                    <a:lnTo>
                      <a:pt x="77" y="43"/>
                    </a:lnTo>
                    <a:lnTo>
                      <a:pt x="77" y="0"/>
                    </a:lnTo>
                    <a:lnTo>
                      <a:pt x="109" y="0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26">
                <a:extLst>
                  <a:ext uri="{FF2B5EF4-FFF2-40B4-BE49-F238E27FC236}">
                    <a16:creationId xmlns:a16="http://schemas.microsoft.com/office/drawing/2014/main" id="{0BCE6AAE-D95E-431F-89E9-687597473A8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466516" y="1535113"/>
                <a:ext cx="87313" cy="90487"/>
              </a:xfrm>
              <a:custGeom>
                <a:avLst/>
                <a:gdLst>
                  <a:gd name="T0" fmla="*/ 0 w 110"/>
                  <a:gd name="T1" fmla="*/ 0 h 115"/>
                  <a:gd name="T2" fmla="*/ 32 w 110"/>
                  <a:gd name="T3" fmla="*/ 0 h 115"/>
                  <a:gd name="T4" fmla="*/ 32 w 110"/>
                  <a:gd name="T5" fmla="*/ 68 h 115"/>
                  <a:gd name="T6" fmla="*/ 80 w 110"/>
                  <a:gd name="T7" fmla="*/ 0 h 115"/>
                  <a:gd name="T8" fmla="*/ 110 w 110"/>
                  <a:gd name="T9" fmla="*/ 0 h 115"/>
                  <a:gd name="T10" fmla="*/ 110 w 110"/>
                  <a:gd name="T11" fmla="*/ 115 h 115"/>
                  <a:gd name="T12" fmla="*/ 78 w 110"/>
                  <a:gd name="T13" fmla="*/ 115 h 115"/>
                  <a:gd name="T14" fmla="*/ 78 w 110"/>
                  <a:gd name="T15" fmla="*/ 48 h 115"/>
                  <a:gd name="T16" fmla="*/ 30 w 110"/>
                  <a:gd name="T17" fmla="*/ 115 h 115"/>
                  <a:gd name="T18" fmla="*/ 0 w 110"/>
                  <a:gd name="T19" fmla="*/ 115 h 115"/>
                  <a:gd name="T20" fmla="*/ 0 w 110"/>
                  <a:gd name="T21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0" h="115">
                    <a:moveTo>
                      <a:pt x="0" y="0"/>
                    </a:moveTo>
                    <a:lnTo>
                      <a:pt x="32" y="0"/>
                    </a:lnTo>
                    <a:lnTo>
                      <a:pt x="32" y="68"/>
                    </a:lnTo>
                    <a:lnTo>
                      <a:pt x="80" y="0"/>
                    </a:lnTo>
                    <a:lnTo>
                      <a:pt x="110" y="0"/>
                    </a:lnTo>
                    <a:lnTo>
                      <a:pt x="110" y="115"/>
                    </a:lnTo>
                    <a:lnTo>
                      <a:pt x="78" y="115"/>
                    </a:lnTo>
                    <a:lnTo>
                      <a:pt x="78" y="48"/>
                    </a:lnTo>
                    <a:lnTo>
                      <a:pt x="30" y="115"/>
                    </a:lnTo>
                    <a:lnTo>
                      <a:pt x="0" y="11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27">
                <a:extLst>
                  <a:ext uri="{FF2B5EF4-FFF2-40B4-BE49-F238E27FC236}">
                    <a16:creationId xmlns:a16="http://schemas.microsoft.com/office/drawing/2014/main" id="{D87268C6-13E8-4F4B-B35F-BB9889A301D6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1571291" y="1535113"/>
                <a:ext cx="80963" cy="90487"/>
              </a:xfrm>
              <a:custGeom>
                <a:avLst/>
                <a:gdLst>
                  <a:gd name="T0" fmla="*/ 103 w 103"/>
                  <a:gd name="T1" fmla="*/ 0 h 115"/>
                  <a:gd name="T2" fmla="*/ 103 w 103"/>
                  <a:gd name="T3" fmla="*/ 115 h 115"/>
                  <a:gd name="T4" fmla="*/ 71 w 103"/>
                  <a:gd name="T5" fmla="*/ 115 h 115"/>
                  <a:gd name="T6" fmla="*/ 71 w 103"/>
                  <a:gd name="T7" fmla="*/ 87 h 115"/>
                  <a:gd name="T8" fmla="*/ 54 w 103"/>
                  <a:gd name="T9" fmla="*/ 87 h 115"/>
                  <a:gd name="T10" fmla="*/ 34 w 103"/>
                  <a:gd name="T11" fmla="*/ 115 h 115"/>
                  <a:gd name="T12" fmla="*/ 0 w 103"/>
                  <a:gd name="T13" fmla="*/ 115 h 115"/>
                  <a:gd name="T14" fmla="*/ 23 w 103"/>
                  <a:gd name="T15" fmla="*/ 82 h 115"/>
                  <a:gd name="T16" fmla="*/ 23 w 103"/>
                  <a:gd name="T17" fmla="*/ 82 h 115"/>
                  <a:gd name="T18" fmla="*/ 18 w 103"/>
                  <a:gd name="T19" fmla="*/ 79 h 115"/>
                  <a:gd name="T20" fmla="*/ 13 w 103"/>
                  <a:gd name="T21" fmla="*/ 76 h 115"/>
                  <a:gd name="T22" fmla="*/ 9 w 103"/>
                  <a:gd name="T23" fmla="*/ 72 h 115"/>
                  <a:gd name="T24" fmla="*/ 6 w 103"/>
                  <a:gd name="T25" fmla="*/ 67 h 115"/>
                  <a:gd name="T26" fmla="*/ 6 w 103"/>
                  <a:gd name="T27" fmla="*/ 67 h 115"/>
                  <a:gd name="T28" fmla="*/ 3 w 103"/>
                  <a:gd name="T29" fmla="*/ 62 h 115"/>
                  <a:gd name="T30" fmla="*/ 1 w 103"/>
                  <a:gd name="T31" fmla="*/ 57 h 115"/>
                  <a:gd name="T32" fmla="*/ 0 w 103"/>
                  <a:gd name="T33" fmla="*/ 51 h 115"/>
                  <a:gd name="T34" fmla="*/ 0 w 103"/>
                  <a:gd name="T35" fmla="*/ 44 h 115"/>
                  <a:gd name="T36" fmla="*/ 0 w 103"/>
                  <a:gd name="T37" fmla="*/ 44 h 115"/>
                  <a:gd name="T38" fmla="*/ 0 w 103"/>
                  <a:gd name="T39" fmla="*/ 38 h 115"/>
                  <a:gd name="T40" fmla="*/ 1 w 103"/>
                  <a:gd name="T41" fmla="*/ 32 h 115"/>
                  <a:gd name="T42" fmla="*/ 3 w 103"/>
                  <a:gd name="T43" fmla="*/ 26 h 115"/>
                  <a:gd name="T44" fmla="*/ 6 w 103"/>
                  <a:gd name="T45" fmla="*/ 21 h 115"/>
                  <a:gd name="T46" fmla="*/ 6 w 103"/>
                  <a:gd name="T47" fmla="*/ 21 h 115"/>
                  <a:gd name="T48" fmla="*/ 10 w 103"/>
                  <a:gd name="T49" fmla="*/ 16 h 115"/>
                  <a:gd name="T50" fmla="*/ 14 w 103"/>
                  <a:gd name="T51" fmla="*/ 12 h 115"/>
                  <a:gd name="T52" fmla="*/ 19 w 103"/>
                  <a:gd name="T53" fmla="*/ 8 h 115"/>
                  <a:gd name="T54" fmla="*/ 24 w 103"/>
                  <a:gd name="T55" fmla="*/ 6 h 115"/>
                  <a:gd name="T56" fmla="*/ 24 w 103"/>
                  <a:gd name="T57" fmla="*/ 6 h 115"/>
                  <a:gd name="T58" fmla="*/ 30 w 103"/>
                  <a:gd name="T59" fmla="*/ 3 h 115"/>
                  <a:gd name="T60" fmla="*/ 37 w 103"/>
                  <a:gd name="T61" fmla="*/ 2 h 115"/>
                  <a:gd name="T62" fmla="*/ 45 w 103"/>
                  <a:gd name="T63" fmla="*/ 1 h 115"/>
                  <a:gd name="T64" fmla="*/ 52 w 103"/>
                  <a:gd name="T65" fmla="*/ 1 h 115"/>
                  <a:gd name="T66" fmla="*/ 103 w 103"/>
                  <a:gd name="T67" fmla="*/ 0 h 115"/>
                  <a:gd name="T68" fmla="*/ 32 w 103"/>
                  <a:gd name="T69" fmla="*/ 43 h 115"/>
                  <a:gd name="T70" fmla="*/ 32 w 103"/>
                  <a:gd name="T71" fmla="*/ 43 h 115"/>
                  <a:gd name="T72" fmla="*/ 33 w 103"/>
                  <a:gd name="T73" fmla="*/ 48 h 115"/>
                  <a:gd name="T74" fmla="*/ 34 w 103"/>
                  <a:gd name="T75" fmla="*/ 51 h 115"/>
                  <a:gd name="T76" fmla="*/ 35 w 103"/>
                  <a:gd name="T77" fmla="*/ 54 h 115"/>
                  <a:gd name="T78" fmla="*/ 37 w 103"/>
                  <a:gd name="T79" fmla="*/ 57 h 115"/>
                  <a:gd name="T80" fmla="*/ 37 w 103"/>
                  <a:gd name="T81" fmla="*/ 57 h 115"/>
                  <a:gd name="T82" fmla="*/ 42 w 103"/>
                  <a:gd name="T83" fmla="*/ 59 h 115"/>
                  <a:gd name="T84" fmla="*/ 45 w 103"/>
                  <a:gd name="T85" fmla="*/ 61 h 115"/>
                  <a:gd name="T86" fmla="*/ 49 w 103"/>
                  <a:gd name="T87" fmla="*/ 62 h 115"/>
                  <a:gd name="T88" fmla="*/ 52 w 103"/>
                  <a:gd name="T89" fmla="*/ 62 h 115"/>
                  <a:gd name="T90" fmla="*/ 72 w 103"/>
                  <a:gd name="T91" fmla="*/ 62 h 115"/>
                  <a:gd name="T92" fmla="*/ 72 w 103"/>
                  <a:gd name="T93" fmla="*/ 26 h 115"/>
                  <a:gd name="T94" fmla="*/ 53 w 103"/>
                  <a:gd name="T95" fmla="*/ 26 h 115"/>
                  <a:gd name="T96" fmla="*/ 53 w 103"/>
                  <a:gd name="T97" fmla="*/ 26 h 115"/>
                  <a:gd name="T98" fmla="*/ 48 w 103"/>
                  <a:gd name="T99" fmla="*/ 26 h 115"/>
                  <a:gd name="T100" fmla="*/ 44 w 103"/>
                  <a:gd name="T101" fmla="*/ 27 h 115"/>
                  <a:gd name="T102" fmla="*/ 41 w 103"/>
                  <a:gd name="T103" fmla="*/ 28 h 115"/>
                  <a:gd name="T104" fmla="*/ 37 w 103"/>
                  <a:gd name="T105" fmla="*/ 30 h 115"/>
                  <a:gd name="T106" fmla="*/ 35 w 103"/>
                  <a:gd name="T107" fmla="*/ 32 h 115"/>
                  <a:gd name="T108" fmla="*/ 34 w 103"/>
                  <a:gd name="T109" fmla="*/ 35 h 115"/>
                  <a:gd name="T110" fmla="*/ 33 w 103"/>
                  <a:gd name="T111" fmla="*/ 39 h 115"/>
                  <a:gd name="T112" fmla="*/ 32 w 103"/>
                  <a:gd name="T113" fmla="*/ 43 h 115"/>
                  <a:gd name="T114" fmla="*/ 32 w 103"/>
                  <a:gd name="T115" fmla="*/ 43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03" h="115">
                    <a:moveTo>
                      <a:pt x="103" y="0"/>
                    </a:moveTo>
                    <a:lnTo>
                      <a:pt x="103" y="115"/>
                    </a:lnTo>
                    <a:lnTo>
                      <a:pt x="71" y="115"/>
                    </a:lnTo>
                    <a:lnTo>
                      <a:pt x="71" y="87"/>
                    </a:lnTo>
                    <a:lnTo>
                      <a:pt x="54" y="87"/>
                    </a:lnTo>
                    <a:lnTo>
                      <a:pt x="34" y="115"/>
                    </a:lnTo>
                    <a:lnTo>
                      <a:pt x="0" y="115"/>
                    </a:lnTo>
                    <a:lnTo>
                      <a:pt x="23" y="82"/>
                    </a:lnTo>
                    <a:lnTo>
                      <a:pt x="23" y="82"/>
                    </a:lnTo>
                    <a:lnTo>
                      <a:pt x="18" y="79"/>
                    </a:lnTo>
                    <a:lnTo>
                      <a:pt x="13" y="76"/>
                    </a:lnTo>
                    <a:lnTo>
                      <a:pt x="9" y="72"/>
                    </a:lnTo>
                    <a:lnTo>
                      <a:pt x="6" y="67"/>
                    </a:lnTo>
                    <a:lnTo>
                      <a:pt x="6" y="67"/>
                    </a:lnTo>
                    <a:lnTo>
                      <a:pt x="3" y="62"/>
                    </a:lnTo>
                    <a:lnTo>
                      <a:pt x="1" y="57"/>
                    </a:lnTo>
                    <a:lnTo>
                      <a:pt x="0" y="51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38"/>
                    </a:lnTo>
                    <a:lnTo>
                      <a:pt x="1" y="32"/>
                    </a:lnTo>
                    <a:lnTo>
                      <a:pt x="3" y="26"/>
                    </a:lnTo>
                    <a:lnTo>
                      <a:pt x="6" y="21"/>
                    </a:lnTo>
                    <a:lnTo>
                      <a:pt x="6" y="21"/>
                    </a:lnTo>
                    <a:lnTo>
                      <a:pt x="10" y="16"/>
                    </a:lnTo>
                    <a:lnTo>
                      <a:pt x="14" y="12"/>
                    </a:lnTo>
                    <a:lnTo>
                      <a:pt x="19" y="8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30" y="3"/>
                    </a:lnTo>
                    <a:lnTo>
                      <a:pt x="37" y="2"/>
                    </a:lnTo>
                    <a:lnTo>
                      <a:pt x="45" y="1"/>
                    </a:lnTo>
                    <a:lnTo>
                      <a:pt x="52" y="1"/>
                    </a:lnTo>
                    <a:lnTo>
                      <a:pt x="103" y="0"/>
                    </a:lnTo>
                    <a:close/>
                    <a:moveTo>
                      <a:pt x="32" y="43"/>
                    </a:moveTo>
                    <a:lnTo>
                      <a:pt x="32" y="43"/>
                    </a:lnTo>
                    <a:lnTo>
                      <a:pt x="33" y="48"/>
                    </a:lnTo>
                    <a:lnTo>
                      <a:pt x="34" y="51"/>
                    </a:lnTo>
                    <a:lnTo>
                      <a:pt x="35" y="54"/>
                    </a:lnTo>
                    <a:lnTo>
                      <a:pt x="37" y="57"/>
                    </a:lnTo>
                    <a:lnTo>
                      <a:pt x="37" y="57"/>
                    </a:lnTo>
                    <a:lnTo>
                      <a:pt x="42" y="59"/>
                    </a:lnTo>
                    <a:lnTo>
                      <a:pt x="45" y="61"/>
                    </a:lnTo>
                    <a:lnTo>
                      <a:pt x="49" y="62"/>
                    </a:lnTo>
                    <a:lnTo>
                      <a:pt x="52" y="62"/>
                    </a:lnTo>
                    <a:lnTo>
                      <a:pt x="72" y="62"/>
                    </a:lnTo>
                    <a:lnTo>
                      <a:pt x="72" y="26"/>
                    </a:lnTo>
                    <a:lnTo>
                      <a:pt x="53" y="26"/>
                    </a:lnTo>
                    <a:lnTo>
                      <a:pt x="53" y="26"/>
                    </a:lnTo>
                    <a:lnTo>
                      <a:pt x="48" y="26"/>
                    </a:lnTo>
                    <a:lnTo>
                      <a:pt x="44" y="27"/>
                    </a:lnTo>
                    <a:lnTo>
                      <a:pt x="41" y="28"/>
                    </a:lnTo>
                    <a:lnTo>
                      <a:pt x="37" y="30"/>
                    </a:lnTo>
                    <a:lnTo>
                      <a:pt x="35" y="32"/>
                    </a:lnTo>
                    <a:lnTo>
                      <a:pt x="34" y="35"/>
                    </a:lnTo>
                    <a:lnTo>
                      <a:pt x="33" y="39"/>
                    </a:lnTo>
                    <a:lnTo>
                      <a:pt x="32" y="43"/>
                    </a:lnTo>
                    <a:lnTo>
                      <a:pt x="32" y="43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BD0D6D21-F8C4-4340-9054-3DC84A9B7D36}"/>
                </a:ext>
              </a:extLst>
            </p:cNvPr>
            <p:cNvGrpSpPr/>
            <p:nvPr userDrawn="1"/>
          </p:nvGrpSpPr>
          <p:grpSpPr>
            <a:xfrm>
              <a:off x="10332720" y="658368"/>
              <a:ext cx="670092" cy="617763"/>
              <a:chOff x="10301291" y="611188"/>
              <a:chExt cx="731838" cy="674687"/>
            </a:xfrm>
          </p:grpSpPr>
          <p:sp>
            <p:nvSpPr>
              <p:cNvPr id="41" name="Freeform 28">
                <a:extLst>
                  <a:ext uri="{FF2B5EF4-FFF2-40B4-BE49-F238E27FC236}">
                    <a16:creationId xmlns:a16="http://schemas.microsoft.com/office/drawing/2014/main" id="{FF2B1953-1BC6-4BF9-9B4B-DE952E3A55A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301291" y="611188"/>
                <a:ext cx="731838" cy="674687"/>
              </a:xfrm>
              <a:custGeom>
                <a:avLst/>
                <a:gdLst>
                  <a:gd name="T0" fmla="*/ 922 w 922"/>
                  <a:gd name="T1" fmla="*/ 0 h 850"/>
                  <a:gd name="T2" fmla="*/ 922 w 922"/>
                  <a:gd name="T3" fmla="*/ 850 h 850"/>
                  <a:gd name="T4" fmla="*/ 0 w 922"/>
                  <a:gd name="T5" fmla="*/ 850 h 850"/>
                  <a:gd name="T6" fmla="*/ 922 w 922"/>
                  <a:gd name="T7" fmla="*/ 0 h 8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22" h="850">
                    <a:moveTo>
                      <a:pt x="922" y="0"/>
                    </a:moveTo>
                    <a:lnTo>
                      <a:pt x="922" y="850"/>
                    </a:lnTo>
                    <a:lnTo>
                      <a:pt x="0" y="850"/>
                    </a:lnTo>
                    <a:lnTo>
                      <a:pt x="922" y="0"/>
                    </a:lnTo>
                    <a:close/>
                  </a:path>
                </a:pathLst>
              </a:custGeom>
              <a:solidFill>
                <a:srgbClr val="46AC4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29">
                <a:extLst>
                  <a:ext uri="{FF2B5EF4-FFF2-40B4-BE49-F238E27FC236}">
                    <a16:creationId xmlns:a16="http://schemas.microsoft.com/office/drawing/2014/main" id="{AD53EADD-13F3-4B59-8823-E2C24AA1DF2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877554" y="611188"/>
                <a:ext cx="155575" cy="674687"/>
              </a:xfrm>
              <a:custGeom>
                <a:avLst/>
                <a:gdLst>
                  <a:gd name="T0" fmla="*/ 196 w 196"/>
                  <a:gd name="T1" fmla="*/ 0 h 850"/>
                  <a:gd name="T2" fmla="*/ 196 w 196"/>
                  <a:gd name="T3" fmla="*/ 850 h 850"/>
                  <a:gd name="T4" fmla="*/ 0 w 196"/>
                  <a:gd name="T5" fmla="*/ 850 h 850"/>
                  <a:gd name="T6" fmla="*/ 0 w 196"/>
                  <a:gd name="T7" fmla="*/ 181 h 850"/>
                  <a:gd name="T8" fmla="*/ 196 w 196"/>
                  <a:gd name="T9" fmla="*/ 0 h 8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6" h="850">
                    <a:moveTo>
                      <a:pt x="196" y="0"/>
                    </a:moveTo>
                    <a:lnTo>
                      <a:pt x="196" y="850"/>
                    </a:lnTo>
                    <a:lnTo>
                      <a:pt x="0" y="850"/>
                    </a:lnTo>
                    <a:lnTo>
                      <a:pt x="0" y="181"/>
                    </a:lnTo>
                    <a:lnTo>
                      <a:pt x="196" y="0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30">
                <a:extLst>
                  <a:ext uri="{FF2B5EF4-FFF2-40B4-BE49-F238E27FC236}">
                    <a16:creationId xmlns:a16="http://schemas.microsoft.com/office/drawing/2014/main" id="{263BDA92-C396-4D61-9A01-67EBEA167231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301291" y="625475"/>
                <a:ext cx="493713" cy="660400"/>
              </a:xfrm>
              <a:custGeom>
                <a:avLst/>
                <a:gdLst>
                  <a:gd name="T0" fmla="*/ 339 w 622"/>
                  <a:gd name="T1" fmla="*/ 302 h 833"/>
                  <a:gd name="T2" fmla="*/ 366 w 622"/>
                  <a:gd name="T3" fmla="*/ 303 h 833"/>
                  <a:gd name="T4" fmla="*/ 419 w 622"/>
                  <a:gd name="T5" fmla="*/ 309 h 833"/>
                  <a:gd name="T6" fmla="*/ 447 w 622"/>
                  <a:gd name="T7" fmla="*/ 315 h 833"/>
                  <a:gd name="T8" fmla="*/ 493 w 622"/>
                  <a:gd name="T9" fmla="*/ 332 h 833"/>
                  <a:gd name="T10" fmla="*/ 536 w 622"/>
                  <a:gd name="T11" fmla="*/ 358 h 833"/>
                  <a:gd name="T12" fmla="*/ 546 w 622"/>
                  <a:gd name="T13" fmla="*/ 366 h 833"/>
                  <a:gd name="T14" fmla="*/ 564 w 622"/>
                  <a:gd name="T15" fmla="*/ 383 h 833"/>
                  <a:gd name="T16" fmla="*/ 580 w 622"/>
                  <a:gd name="T17" fmla="*/ 404 h 833"/>
                  <a:gd name="T18" fmla="*/ 594 w 622"/>
                  <a:gd name="T19" fmla="*/ 428 h 833"/>
                  <a:gd name="T20" fmla="*/ 600 w 622"/>
                  <a:gd name="T21" fmla="*/ 440 h 833"/>
                  <a:gd name="T22" fmla="*/ 609 w 622"/>
                  <a:gd name="T23" fmla="*/ 468 h 833"/>
                  <a:gd name="T24" fmla="*/ 616 w 622"/>
                  <a:gd name="T25" fmla="*/ 500 h 833"/>
                  <a:gd name="T26" fmla="*/ 620 w 622"/>
                  <a:gd name="T27" fmla="*/ 532 h 833"/>
                  <a:gd name="T28" fmla="*/ 622 w 622"/>
                  <a:gd name="T29" fmla="*/ 568 h 833"/>
                  <a:gd name="T30" fmla="*/ 621 w 622"/>
                  <a:gd name="T31" fmla="*/ 586 h 833"/>
                  <a:gd name="T32" fmla="*/ 619 w 622"/>
                  <a:gd name="T33" fmla="*/ 620 h 833"/>
                  <a:gd name="T34" fmla="*/ 613 w 622"/>
                  <a:gd name="T35" fmla="*/ 653 h 833"/>
                  <a:gd name="T36" fmla="*/ 605 w 622"/>
                  <a:gd name="T37" fmla="*/ 682 h 833"/>
                  <a:gd name="T38" fmla="*/ 600 w 622"/>
                  <a:gd name="T39" fmla="*/ 695 h 833"/>
                  <a:gd name="T40" fmla="*/ 587 w 622"/>
                  <a:gd name="T41" fmla="*/ 720 h 833"/>
                  <a:gd name="T42" fmla="*/ 573 w 622"/>
                  <a:gd name="T43" fmla="*/ 742 h 833"/>
                  <a:gd name="T44" fmla="*/ 555 w 622"/>
                  <a:gd name="T45" fmla="*/ 761 h 833"/>
                  <a:gd name="T46" fmla="*/ 536 w 622"/>
                  <a:gd name="T47" fmla="*/ 779 h 833"/>
                  <a:gd name="T48" fmla="*/ 515 w 622"/>
                  <a:gd name="T49" fmla="*/ 792 h 833"/>
                  <a:gd name="T50" fmla="*/ 470 w 622"/>
                  <a:gd name="T51" fmla="*/ 813 h 833"/>
                  <a:gd name="T52" fmla="*/ 447 w 622"/>
                  <a:gd name="T53" fmla="*/ 820 h 833"/>
                  <a:gd name="T54" fmla="*/ 392 w 622"/>
                  <a:gd name="T55" fmla="*/ 830 h 833"/>
                  <a:gd name="T56" fmla="*/ 338 w 622"/>
                  <a:gd name="T57" fmla="*/ 833 h 833"/>
                  <a:gd name="T58" fmla="*/ 0 w 622"/>
                  <a:gd name="T59" fmla="*/ 0 h 833"/>
                  <a:gd name="T60" fmla="*/ 558 w 622"/>
                  <a:gd name="T61" fmla="*/ 187 h 833"/>
                  <a:gd name="T62" fmla="*/ 187 w 622"/>
                  <a:gd name="T63" fmla="*/ 302 h 833"/>
                  <a:gd name="T64" fmla="*/ 338 w 622"/>
                  <a:gd name="T65" fmla="*/ 661 h 833"/>
                  <a:gd name="T66" fmla="*/ 349 w 622"/>
                  <a:gd name="T67" fmla="*/ 660 h 833"/>
                  <a:gd name="T68" fmla="*/ 368 w 622"/>
                  <a:gd name="T69" fmla="*/ 658 h 833"/>
                  <a:gd name="T70" fmla="*/ 384 w 622"/>
                  <a:gd name="T71" fmla="*/ 652 h 833"/>
                  <a:gd name="T72" fmla="*/ 397 w 622"/>
                  <a:gd name="T73" fmla="*/ 644 h 833"/>
                  <a:gd name="T74" fmla="*/ 408 w 622"/>
                  <a:gd name="T75" fmla="*/ 634 h 833"/>
                  <a:gd name="T76" fmla="*/ 416 w 622"/>
                  <a:gd name="T77" fmla="*/ 620 h 833"/>
                  <a:gd name="T78" fmla="*/ 422 w 622"/>
                  <a:gd name="T79" fmla="*/ 604 h 833"/>
                  <a:gd name="T80" fmla="*/ 424 w 622"/>
                  <a:gd name="T81" fmla="*/ 586 h 833"/>
                  <a:gd name="T82" fmla="*/ 425 w 622"/>
                  <a:gd name="T83" fmla="*/ 575 h 833"/>
                  <a:gd name="T84" fmla="*/ 423 w 622"/>
                  <a:gd name="T85" fmla="*/ 556 h 833"/>
                  <a:gd name="T86" fmla="*/ 419 w 622"/>
                  <a:gd name="T87" fmla="*/ 539 h 833"/>
                  <a:gd name="T88" fmla="*/ 413 w 622"/>
                  <a:gd name="T89" fmla="*/ 524 h 833"/>
                  <a:gd name="T90" fmla="*/ 403 w 622"/>
                  <a:gd name="T91" fmla="*/ 512 h 833"/>
                  <a:gd name="T92" fmla="*/ 391 w 622"/>
                  <a:gd name="T93" fmla="*/ 503 h 833"/>
                  <a:gd name="T94" fmla="*/ 376 w 622"/>
                  <a:gd name="T95" fmla="*/ 497 h 833"/>
                  <a:gd name="T96" fmla="*/ 358 w 622"/>
                  <a:gd name="T97" fmla="*/ 493 h 833"/>
                  <a:gd name="T98" fmla="*/ 338 w 622"/>
                  <a:gd name="T99" fmla="*/ 491 h 833"/>
                  <a:gd name="T100" fmla="*/ 187 w 622"/>
                  <a:gd name="T101" fmla="*/ 661 h 8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622" h="833">
                    <a:moveTo>
                      <a:pt x="187" y="302"/>
                    </a:moveTo>
                    <a:lnTo>
                      <a:pt x="339" y="302"/>
                    </a:lnTo>
                    <a:lnTo>
                      <a:pt x="339" y="302"/>
                    </a:lnTo>
                    <a:lnTo>
                      <a:pt x="366" y="303"/>
                    </a:lnTo>
                    <a:lnTo>
                      <a:pt x="393" y="305"/>
                    </a:lnTo>
                    <a:lnTo>
                      <a:pt x="419" y="309"/>
                    </a:lnTo>
                    <a:lnTo>
                      <a:pt x="447" y="315"/>
                    </a:lnTo>
                    <a:lnTo>
                      <a:pt x="447" y="315"/>
                    </a:lnTo>
                    <a:lnTo>
                      <a:pt x="471" y="323"/>
                    </a:lnTo>
                    <a:lnTo>
                      <a:pt x="493" y="332"/>
                    </a:lnTo>
                    <a:lnTo>
                      <a:pt x="515" y="345"/>
                    </a:lnTo>
                    <a:lnTo>
                      <a:pt x="536" y="358"/>
                    </a:lnTo>
                    <a:lnTo>
                      <a:pt x="536" y="358"/>
                    </a:lnTo>
                    <a:lnTo>
                      <a:pt x="546" y="366"/>
                    </a:lnTo>
                    <a:lnTo>
                      <a:pt x="555" y="374"/>
                    </a:lnTo>
                    <a:lnTo>
                      <a:pt x="564" y="383"/>
                    </a:lnTo>
                    <a:lnTo>
                      <a:pt x="573" y="393"/>
                    </a:lnTo>
                    <a:lnTo>
                      <a:pt x="580" y="404"/>
                    </a:lnTo>
                    <a:lnTo>
                      <a:pt x="587" y="415"/>
                    </a:lnTo>
                    <a:lnTo>
                      <a:pt x="594" y="428"/>
                    </a:lnTo>
                    <a:lnTo>
                      <a:pt x="600" y="440"/>
                    </a:lnTo>
                    <a:lnTo>
                      <a:pt x="600" y="440"/>
                    </a:lnTo>
                    <a:lnTo>
                      <a:pt x="605" y="454"/>
                    </a:lnTo>
                    <a:lnTo>
                      <a:pt x="609" y="468"/>
                    </a:lnTo>
                    <a:lnTo>
                      <a:pt x="613" y="484"/>
                    </a:lnTo>
                    <a:lnTo>
                      <a:pt x="616" y="500"/>
                    </a:lnTo>
                    <a:lnTo>
                      <a:pt x="619" y="516"/>
                    </a:lnTo>
                    <a:lnTo>
                      <a:pt x="620" y="532"/>
                    </a:lnTo>
                    <a:lnTo>
                      <a:pt x="621" y="550"/>
                    </a:lnTo>
                    <a:lnTo>
                      <a:pt x="622" y="568"/>
                    </a:lnTo>
                    <a:lnTo>
                      <a:pt x="622" y="568"/>
                    </a:lnTo>
                    <a:lnTo>
                      <a:pt x="621" y="586"/>
                    </a:lnTo>
                    <a:lnTo>
                      <a:pt x="620" y="603"/>
                    </a:lnTo>
                    <a:lnTo>
                      <a:pt x="619" y="620"/>
                    </a:lnTo>
                    <a:lnTo>
                      <a:pt x="616" y="637"/>
                    </a:lnTo>
                    <a:lnTo>
                      <a:pt x="613" y="653"/>
                    </a:lnTo>
                    <a:lnTo>
                      <a:pt x="609" y="668"/>
                    </a:lnTo>
                    <a:lnTo>
                      <a:pt x="605" y="682"/>
                    </a:lnTo>
                    <a:lnTo>
                      <a:pt x="600" y="695"/>
                    </a:lnTo>
                    <a:lnTo>
                      <a:pt x="600" y="695"/>
                    </a:lnTo>
                    <a:lnTo>
                      <a:pt x="594" y="708"/>
                    </a:lnTo>
                    <a:lnTo>
                      <a:pt x="587" y="720"/>
                    </a:lnTo>
                    <a:lnTo>
                      <a:pt x="580" y="732"/>
                    </a:lnTo>
                    <a:lnTo>
                      <a:pt x="573" y="742"/>
                    </a:lnTo>
                    <a:lnTo>
                      <a:pt x="564" y="752"/>
                    </a:lnTo>
                    <a:lnTo>
                      <a:pt x="555" y="761"/>
                    </a:lnTo>
                    <a:lnTo>
                      <a:pt x="546" y="771"/>
                    </a:lnTo>
                    <a:lnTo>
                      <a:pt x="536" y="779"/>
                    </a:lnTo>
                    <a:lnTo>
                      <a:pt x="536" y="779"/>
                    </a:lnTo>
                    <a:lnTo>
                      <a:pt x="515" y="792"/>
                    </a:lnTo>
                    <a:lnTo>
                      <a:pt x="493" y="804"/>
                    </a:lnTo>
                    <a:lnTo>
                      <a:pt x="470" y="813"/>
                    </a:lnTo>
                    <a:lnTo>
                      <a:pt x="447" y="820"/>
                    </a:lnTo>
                    <a:lnTo>
                      <a:pt x="447" y="820"/>
                    </a:lnTo>
                    <a:lnTo>
                      <a:pt x="419" y="826"/>
                    </a:lnTo>
                    <a:lnTo>
                      <a:pt x="392" y="830"/>
                    </a:lnTo>
                    <a:lnTo>
                      <a:pt x="365" y="833"/>
                    </a:lnTo>
                    <a:lnTo>
                      <a:pt x="338" y="833"/>
                    </a:lnTo>
                    <a:lnTo>
                      <a:pt x="0" y="833"/>
                    </a:lnTo>
                    <a:lnTo>
                      <a:pt x="0" y="0"/>
                    </a:lnTo>
                    <a:lnTo>
                      <a:pt x="558" y="0"/>
                    </a:lnTo>
                    <a:lnTo>
                      <a:pt x="558" y="187"/>
                    </a:lnTo>
                    <a:lnTo>
                      <a:pt x="187" y="187"/>
                    </a:lnTo>
                    <a:lnTo>
                      <a:pt x="187" y="302"/>
                    </a:lnTo>
                    <a:close/>
                    <a:moveTo>
                      <a:pt x="187" y="661"/>
                    </a:moveTo>
                    <a:lnTo>
                      <a:pt x="338" y="661"/>
                    </a:lnTo>
                    <a:lnTo>
                      <a:pt x="338" y="661"/>
                    </a:lnTo>
                    <a:lnTo>
                      <a:pt x="349" y="660"/>
                    </a:lnTo>
                    <a:lnTo>
                      <a:pt x="358" y="659"/>
                    </a:lnTo>
                    <a:lnTo>
                      <a:pt x="368" y="658"/>
                    </a:lnTo>
                    <a:lnTo>
                      <a:pt x="376" y="655"/>
                    </a:lnTo>
                    <a:lnTo>
                      <a:pt x="384" y="652"/>
                    </a:lnTo>
                    <a:lnTo>
                      <a:pt x="391" y="649"/>
                    </a:lnTo>
                    <a:lnTo>
                      <a:pt x="397" y="644"/>
                    </a:lnTo>
                    <a:lnTo>
                      <a:pt x="403" y="640"/>
                    </a:lnTo>
                    <a:lnTo>
                      <a:pt x="408" y="634"/>
                    </a:lnTo>
                    <a:lnTo>
                      <a:pt x="413" y="628"/>
                    </a:lnTo>
                    <a:lnTo>
                      <a:pt x="416" y="620"/>
                    </a:lnTo>
                    <a:lnTo>
                      <a:pt x="419" y="612"/>
                    </a:lnTo>
                    <a:lnTo>
                      <a:pt x="422" y="604"/>
                    </a:lnTo>
                    <a:lnTo>
                      <a:pt x="423" y="595"/>
                    </a:lnTo>
                    <a:lnTo>
                      <a:pt x="424" y="586"/>
                    </a:lnTo>
                    <a:lnTo>
                      <a:pt x="425" y="575"/>
                    </a:lnTo>
                    <a:lnTo>
                      <a:pt x="425" y="575"/>
                    </a:lnTo>
                    <a:lnTo>
                      <a:pt x="424" y="565"/>
                    </a:lnTo>
                    <a:lnTo>
                      <a:pt x="423" y="556"/>
                    </a:lnTo>
                    <a:lnTo>
                      <a:pt x="422" y="547"/>
                    </a:lnTo>
                    <a:lnTo>
                      <a:pt x="419" y="539"/>
                    </a:lnTo>
                    <a:lnTo>
                      <a:pt x="416" y="531"/>
                    </a:lnTo>
                    <a:lnTo>
                      <a:pt x="413" y="524"/>
                    </a:lnTo>
                    <a:lnTo>
                      <a:pt x="408" y="518"/>
                    </a:lnTo>
                    <a:lnTo>
                      <a:pt x="403" y="512"/>
                    </a:lnTo>
                    <a:lnTo>
                      <a:pt x="397" y="507"/>
                    </a:lnTo>
                    <a:lnTo>
                      <a:pt x="391" y="503"/>
                    </a:lnTo>
                    <a:lnTo>
                      <a:pt x="384" y="500"/>
                    </a:lnTo>
                    <a:lnTo>
                      <a:pt x="376" y="497"/>
                    </a:lnTo>
                    <a:lnTo>
                      <a:pt x="368" y="494"/>
                    </a:lnTo>
                    <a:lnTo>
                      <a:pt x="358" y="493"/>
                    </a:lnTo>
                    <a:lnTo>
                      <a:pt x="349" y="492"/>
                    </a:lnTo>
                    <a:lnTo>
                      <a:pt x="338" y="491"/>
                    </a:lnTo>
                    <a:lnTo>
                      <a:pt x="187" y="491"/>
                    </a:lnTo>
                    <a:lnTo>
                      <a:pt x="187" y="661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101" name="Date Placeholder 3">
            <a:extLst>
              <a:ext uri="{FF2B5EF4-FFF2-40B4-BE49-F238E27FC236}">
                <a16:creationId xmlns:a16="http://schemas.microsoft.com/office/drawing/2014/main" id="{5688F2F0-CB16-4EC3-BE61-7D9653EEE27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677397" y="6463527"/>
            <a:ext cx="1588344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685767" rtl="0" eaLnBrk="1" latinLnBrk="0" hangingPunct="1">
              <a:defRPr lang="en-IN" sz="800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fld id="{F2D47F6D-66D5-48D1-95C8-8B2EA5E69E4E}" type="datetime4">
              <a:rPr lang="ru-RU" smtClean="0"/>
              <a:t>16 августа 2022 г.</a:t>
            </a:fld>
            <a:endParaRPr lang="en-US" dirty="0"/>
          </a:p>
        </p:txBody>
      </p:sp>
      <p:sp>
        <p:nvSpPr>
          <p:cNvPr id="102" name="Footer Placeholder 4">
            <a:extLst>
              <a:ext uri="{FF2B5EF4-FFF2-40B4-BE49-F238E27FC236}">
                <a16:creationId xmlns:a16="http://schemas.microsoft.com/office/drawing/2014/main" id="{F4E30CCF-83EC-45E9-8115-4F13934FC8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83077" y="6463527"/>
            <a:ext cx="41148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685767" rtl="0" eaLnBrk="1" latinLnBrk="0" hangingPunct="1">
              <a:defRPr lang="en-IN" sz="8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ru-RU"/>
              <a:t>Название темы</a:t>
            </a:r>
            <a:endParaRPr lang="en-US" dirty="0"/>
          </a:p>
        </p:txBody>
      </p:sp>
      <p:sp>
        <p:nvSpPr>
          <p:cNvPr id="103" name="Slide Number Placeholder 5">
            <a:extLst>
              <a:ext uri="{FF2B5EF4-FFF2-40B4-BE49-F238E27FC236}">
                <a16:creationId xmlns:a16="http://schemas.microsoft.com/office/drawing/2014/main" id="{7F619B12-CF74-4684-B2F5-3F3B15BF9D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09601" y="6463527"/>
            <a:ext cx="884088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685767" rtl="0" eaLnBrk="1" latinLnBrk="0" hangingPunct="1">
              <a:defRPr lang="en-IN" sz="800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ru-RU"/>
              <a:t>Страница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009912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-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Box 20">
            <a:extLst>
              <a:ext uri="{FF2B5EF4-FFF2-40B4-BE49-F238E27FC236}">
                <a16:creationId xmlns:a16="http://schemas.microsoft.com/office/drawing/2014/main" id="{D8111C16-F2BA-3717-202D-98D39298E3DE}"/>
              </a:ext>
            </a:extLst>
          </p:cNvPr>
          <p:cNvSpPr txBox="1"/>
          <p:nvPr userDrawn="1"/>
        </p:nvSpPr>
        <p:spPr>
          <a:xfrm>
            <a:off x="2706258" y="4866647"/>
            <a:ext cx="1393431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000" dirty="0">
                <a:solidFill>
                  <a:srgbClr val="C4C4CD"/>
                </a:solidFill>
                <a:latin typeface="+mn-lt"/>
              </a:rPr>
              <a:t>Written by</a:t>
            </a:r>
          </a:p>
        </p:txBody>
      </p:sp>
      <p:sp>
        <p:nvSpPr>
          <p:cNvPr id="22" name="Text Placeholder 16">
            <a:extLst>
              <a:ext uri="{FF2B5EF4-FFF2-40B4-BE49-F238E27FC236}">
                <a16:creationId xmlns:a16="http://schemas.microsoft.com/office/drawing/2014/main" id="{849C5B1B-70B9-2ECB-CA48-41B3642AA9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06258" y="5193556"/>
            <a:ext cx="4119033" cy="180000"/>
          </a:xfrm>
        </p:spPr>
        <p:txBody>
          <a:bodyPr/>
          <a:lstStyle>
            <a:lvl1pPr marL="0" indent="0">
              <a:buNone/>
              <a:defRPr sz="1200" b="0" i="0">
                <a:solidFill>
                  <a:srgbClr val="4AA851"/>
                </a:solidFill>
                <a:latin typeface="Montserrat Medium" pitchFamily="2" charset="77"/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23" name="Text Placeholder 16">
            <a:extLst>
              <a:ext uri="{FF2B5EF4-FFF2-40B4-BE49-F238E27FC236}">
                <a16:creationId xmlns:a16="http://schemas.microsoft.com/office/drawing/2014/main" id="{056340F4-6004-EBCE-5587-858D33C40B5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706258" y="5493080"/>
            <a:ext cx="4119033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Job Title</a:t>
            </a:r>
            <a:endParaRPr lang="en-GB" dirty="0"/>
          </a:p>
        </p:txBody>
      </p:sp>
      <p:sp>
        <p:nvSpPr>
          <p:cNvPr id="24" name="Picture Placeholder 19">
            <a:extLst>
              <a:ext uri="{FF2B5EF4-FFF2-40B4-BE49-F238E27FC236}">
                <a16:creationId xmlns:a16="http://schemas.microsoft.com/office/drawing/2014/main" id="{EE519735-0CF7-1511-261E-AF0A8FE99B0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667743" y="4903509"/>
            <a:ext cx="808712" cy="816824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676">
                <a:solidFill>
                  <a:schemeClr val="bg1"/>
                </a:solidFill>
                <a:latin typeface="Montserrat Light" panose="00000400000000000000" pitchFamily="2" charset="-52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pic>
        <p:nvPicPr>
          <p:cNvPr id="29" name="Рисунок 12">
            <a:extLst>
              <a:ext uri="{FF2B5EF4-FFF2-40B4-BE49-F238E27FC236}">
                <a16:creationId xmlns:a16="http://schemas.microsoft.com/office/drawing/2014/main" id="{8D3C0DE9-011C-B9EF-2A0B-83A650AF54A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3447555" y="4882257"/>
            <a:ext cx="164174" cy="151471"/>
          </a:xfrm>
          <a:prstGeom prst="rect">
            <a:avLst/>
          </a:prstGeom>
        </p:spPr>
      </p:pic>
      <p:pic>
        <p:nvPicPr>
          <p:cNvPr id="15" name="Рисунок 10">
            <a:extLst>
              <a:ext uri="{FF2B5EF4-FFF2-40B4-BE49-F238E27FC236}">
                <a16:creationId xmlns:a16="http://schemas.microsoft.com/office/drawing/2014/main" id="{54C268F0-BA01-AEB6-8E19-D9121CA2ADC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8208818" y="3175737"/>
            <a:ext cx="3993572" cy="3684558"/>
          </a:xfrm>
          <a:prstGeom prst="rect">
            <a:avLst/>
          </a:prstGeom>
        </p:spPr>
      </p:pic>
      <p:pic>
        <p:nvPicPr>
          <p:cNvPr id="16" name="Рисунок 9">
            <a:extLst>
              <a:ext uri="{FF2B5EF4-FFF2-40B4-BE49-F238E27FC236}">
                <a16:creationId xmlns:a16="http://schemas.microsoft.com/office/drawing/2014/main" id="{061CD2B2-E5FA-4926-763B-F1750702680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rot="5400000" flipH="1">
            <a:off x="-2576074" y="2576071"/>
            <a:ext cx="6867440" cy="1715294"/>
          </a:xfrm>
          <a:prstGeom prst="rect">
            <a:avLst/>
          </a:prstGeom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id="{749ECEDA-83E5-577B-6326-DDAADA042A4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667743" y="2155923"/>
            <a:ext cx="7448353" cy="1273077"/>
          </a:xfrm>
        </p:spPr>
        <p:txBody>
          <a:bodyPr/>
          <a:lstStyle>
            <a:lvl1pPr>
              <a:lnSpc>
                <a:spcPts val="4000"/>
              </a:lnSpc>
              <a:defRPr sz="3200" b="1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GB" dirty="0"/>
              <a:t>TITLE CAPS</a:t>
            </a:r>
            <a:br>
              <a:rPr lang="en-GB" dirty="0"/>
            </a:br>
            <a:r>
              <a:rPr lang="en-GB" dirty="0"/>
              <a:t>(MONTSERRAT 32 POINT)</a:t>
            </a:r>
          </a:p>
        </p:txBody>
      </p:sp>
      <p:sp>
        <p:nvSpPr>
          <p:cNvPr id="53" name="Text Placeholder 73">
            <a:extLst>
              <a:ext uri="{FF2B5EF4-FFF2-40B4-BE49-F238E27FC236}">
                <a16:creationId xmlns:a16="http://schemas.microsoft.com/office/drawing/2014/main" id="{3B65A46A-9C79-4088-8EF3-8A2E09CF4524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67743" y="3383279"/>
            <a:ext cx="5210175" cy="35964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Subtitle (Montserrat 20 point)</a:t>
            </a:r>
          </a:p>
        </p:txBody>
      </p:sp>
      <p:sp>
        <p:nvSpPr>
          <p:cNvPr id="54" name="Text Placeholder 77">
            <a:extLst>
              <a:ext uri="{FF2B5EF4-FFF2-40B4-BE49-F238E27FC236}">
                <a16:creationId xmlns:a16="http://schemas.microsoft.com/office/drawing/2014/main" id="{070430BE-8616-4FB8-843C-5F26D849D87F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67743" y="3822733"/>
            <a:ext cx="5210175" cy="326348"/>
          </a:xfrm>
        </p:spPr>
        <p:txBody>
          <a:bodyPr/>
          <a:lstStyle>
            <a:lvl1pPr marL="0" indent="0">
              <a:buNone/>
              <a:defRPr sz="1600" b="0" i="0" u="none">
                <a:latin typeface="Montserrat Alternates SemiBold" panose="00000700000000000000" pitchFamily="50" charset="-52"/>
              </a:defRPr>
            </a:lvl1pPr>
          </a:lstStyle>
          <a:p>
            <a:pPr>
              <a:lnSpc>
                <a:spcPts val="2400"/>
              </a:lnSpc>
              <a:spcBef>
                <a:spcPts val="0"/>
              </a:spcBef>
              <a:spcAft>
                <a:spcPts val="600"/>
              </a:spcAft>
            </a:pPr>
            <a:r>
              <a:rPr lang="en-IN" b="1">
                <a:solidFill>
                  <a:schemeClr val="bg1"/>
                </a:solidFill>
                <a:latin typeface="Montserrat" pitchFamily="2" charset="77"/>
              </a:rPr>
              <a:t>XX Month 200X (Montserrat bold 16 point)</a:t>
            </a:r>
            <a:endParaRPr lang="en-IN" b="1" dirty="0">
              <a:solidFill>
                <a:schemeClr val="bg1"/>
              </a:solidFill>
              <a:latin typeface="Montserrat" pitchFamily="2" charset="77"/>
            </a:endParaRP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F0F703E4-3F8E-405A-A2D1-BD71C60E2CFE}"/>
              </a:ext>
            </a:extLst>
          </p:cNvPr>
          <p:cNvGrpSpPr/>
          <p:nvPr userDrawn="1"/>
        </p:nvGrpSpPr>
        <p:grpSpPr>
          <a:xfrm>
            <a:off x="10346853" y="658368"/>
            <a:ext cx="1319534" cy="970407"/>
            <a:chOff x="10332720" y="658368"/>
            <a:chExt cx="1319534" cy="970407"/>
          </a:xfrm>
        </p:grpSpPr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37EE90B2-1873-4BA7-9ADE-ED62E7B5F531}"/>
                </a:ext>
              </a:extLst>
            </p:cNvPr>
            <p:cNvGrpSpPr/>
            <p:nvPr userDrawn="1"/>
          </p:nvGrpSpPr>
          <p:grpSpPr>
            <a:xfrm>
              <a:off x="10344154" y="1376363"/>
              <a:ext cx="1308100" cy="252412"/>
              <a:chOff x="10344154" y="1376363"/>
              <a:chExt cx="1308100" cy="252412"/>
            </a:xfrm>
          </p:grpSpPr>
          <p:sp>
            <p:nvSpPr>
              <p:cNvPr id="49" name="Freeform 5">
                <a:extLst>
                  <a:ext uri="{FF2B5EF4-FFF2-40B4-BE49-F238E27FC236}">
                    <a16:creationId xmlns:a16="http://schemas.microsoft.com/office/drawing/2014/main" id="{A5DB6A2F-EB19-4217-8D7B-E960A2A9C8D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344154" y="1379538"/>
                <a:ext cx="85725" cy="90487"/>
              </a:xfrm>
              <a:custGeom>
                <a:avLst/>
                <a:gdLst>
                  <a:gd name="T0" fmla="*/ 109 w 109"/>
                  <a:gd name="T1" fmla="*/ 0 h 115"/>
                  <a:gd name="T2" fmla="*/ 109 w 109"/>
                  <a:gd name="T3" fmla="*/ 115 h 115"/>
                  <a:gd name="T4" fmla="*/ 77 w 109"/>
                  <a:gd name="T5" fmla="*/ 115 h 115"/>
                  <a:gd name="T6" fmla="*/ 77 w 109"/>
                  <a:gd name="T7" fmla="*/ 69 h 115"/>
                  <a:gd name="T8" fmla="*/ 32 w 109"/>
                  <a:gd name="T9" fmla="*/ 69 h 115"/>
                  <a:gd name="T10" fmla="*/ 32 w 109"/>
                  <a:gd name="T11" fmla="*/ 115 h 115"/>
                  <a:gd name="T12" fmla="*/ 0 w 109"/>
                  <a:gd name="T13" fmla="*/ 115 h 115"/>
                  <a:gd name="T14" fmla="*/ 0 w 109"/>
                  <a:gd name="T15" fmla="*/ 0 h 115"/>
                  <a:gd name="T16" fmla="*/ 32 w 109"/>
                  <a:gd name="T17" fmla="*/ 0 h 115"/>
                  <a:gd name="T18" fmla="*/ 32 w 109"/>
                  <a:gd name="T19" fmla="*/ 43 h 115"/>
                  <a:gd name="T20" fmla="*/ 77 w 109"/>
                  <a:gd name="T21" fmla="*/ 43 h 115"/>
                  <a:gd name="T22" fmla="*/ 77 w 109"/>
                  <a:gd name="T23" fmla="*/ 0 h 115"/>
                  <a:gd name="T24" fmla="*/ 109 w 109"/>
                  <a:gd name="T25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9" h="115">
                    <a:moveTo>
                      <a:pt x="109" y="0"/>
                    </a:moveTo>
                    <a:lnTo>
                      <a:pt x="109" y="115"/>
                    </a:lnTo>
                    <a:lnTo>
                      <a:pt x="77" y="115"/>
                    </a:lnTo>
                    <a:lnTo>
                      <a:pt x="77" y="69"/>
                    </a:lnTo>
                    <a:lnTo>
                      <a:pt x="32" y="69"/>
                    </a:lnTo>
                    <a:lnTo>
                      <a:pt x="3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2" y="0"/>
                    </a:lnTo>
                    <a:lnTo>
                      <a:pt x="32" y="43"/>
                    </a:lnTo>
                    <a:lnTo>
                      <a:pt x="77" y="43"/>
                    </a:lnTo>
                    <a:lnTo>
                      <a:pt x="77" y="0"/>
                    </a:lnTo>
                    <a:lnTo>
                      <a:pt x="109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6">
                <a:extLst>
                  <a:ext uri="{FF2B5EF4-FFF2-40B4-BE49-F238E27FC236}">
                    <a16:creationId xmlns:a16="http://schemas.microsoft.com/office/drawing/2014/main" id="{1F78DE79-077C-481B-A9E0-B8C4A2FDDC95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447341" y="1377950"/>
                <a:ext cx="101600" cy="93662"/>
              </a:xfrm>
              <a:custGeom>
                <a:avLst/>
                <a:gdLst>
                  <a:gd name="T0" fmla="*/ 31 w 128"/>
                  <a:gd name="T1" fmla="*/ 112 h 119"/>
                  <a:gd name="T2" fmla="*/ 21 w 128"/>
                  <a:gd name="T3" fmla="*/ 105 h 119"/>
                  <a:gd name="T4" fmla="*/ 6 w 128"/>
                  <a:gd name="T5" fmla="*/ 87 h 119"/>
                  <a:gd name="T6" fmla="*/ 0 w 128"/>
                  <a:gd name="T7" fmla="*/ 65 h 119"/>
                  <a:gd name="T8" fmla="*/ 2 w 128"/>
                  <a:gd name="T9" fmla="*/ 43 h 119"/>
                  <a:gd name="T10" fmla="*/ 6 w 128"/>
                  <a:gd name="T11" fmla="*/ 32 h 119"/>
                  <a:gd name="T12" fmla="*/ 11 w 128"/>
                  <a:gd name="T13" fmla="*/ 24 h 119"/>
                  <a:gd name="T14" fmla="*/ 23 w 128"/>
                  <a:gd name="T15" fmla="*/ 12 h 119"/>
                  <a:gd name="T16" fmla="*/ 31 w 128"/>
                  <a:gd name="T17" fmla="*/ 7 h 119"/>
                  <a:gd name="T18" fmla="*/ 46 w 128"/>
                  <a:gd name="T19" fmla="*/ 2 h 119"/>
                  <a:gd name="T20" fmla="*/ 64 w 128"/>
                  <a:gd name="T21" fmla="*/ 0 h 119"/>
                  <a:gd name="T22" fmla="*/ 81 w 128"/>
                  <a:gd name="T23" fmla="*/ 2 h 119"/>
                  <a:gd name="T24" fmla="*/ 97 w 128"/>
                  <a:gd name="T25" fmla="*/ 7 h 119"/>
                  <a:gd name="T26" fmla="*/ 102 w 128"/>
                  <a:gd name="T27" fmla="*/ 10 h 119"/>
                  <a:gd name="T28" fmla="*/ 115 w 128"/>
                  <a:gd name="T29" fmla="*/ 22 h 119"/>
                  <a:gd name="T30" fmla="*/ 125 w 128"/>
                  <a:gd name="T31" fmla="*/ 42 h 119"/>
                  <a:gd name="T32" fmla="*/ 128 w 128"/>
                  <a:gd name="T33" fmla="*/ 64 h 119"/>
                  <a:gd name="T34" fmla="*/ 124 w 128"/>
                  <a:gd name="T35" fmla="*/ 81 h 119"/>
                  <a:gd name="T36" fmla="*/ 121 w 128"/>
                  <a:gd name="T37" fmla="*/ 86 h 119"/>
                  <a:gd name="T38" fmla="*/ 111 w 128"/>
                  <a:gd name="T39" fmla="*/ 100 h 119"/>
                  <a:gd name="T40" fmla="*/ 97 w 128"/>
                  <a:gd name="T41" fmla="*/ 112 h 119"/>
                  <a:gd name="T42" fmla="*/ 89 w 128"/>
                  <a:gd name="T43" fmla="*/ 115 h 119"/>
                  <a:gd name="T44" fmla="*/ 72 w 128"/>
                  <a:gd name="T45" fmla="*/ 119 h 119"/>
                  <a:gd name="T46" fmla="*/ 55 w 128"/>
                  <a:gd name="T47" fmla="*/ 119 h 119"/>
                  <a:gd name="T48" fmla="*/ 38 w 128"/>
                  <a:gd name="T49" fmla="*/ 115 h 119"/>
                  <a:gd name="T50" fmla="*/ 31 w 128"/>
                  <a:gd name="T51" fmla="*/ 112 h 119"/>
                  <a:gd name="T52" fmla="*/ 80 w 128"/>
                  <a:gd name="T53" fmla="*/ 87 h 119"/>
                  <a:gd name="T54" fmla="*/ 91 w 128"/>
                  <a:gd name="T55" fmla="*/ 76 h 119"/>
                  <a:gd name="T56" fmla="*/ 94 w 128"/>
                  <a:gd name="T57" fmla="*/ 68 h 119"/>
                  <a:gd name="T58" fmla="*/ 94 w 128"/>
                  <a:gd name="T59" fmla="*/ 50 h 119"/>
                  <a:gd name="T60" fmla="*/ 91 w 128"/>
                  <a:gd name="T61" fmla="*/ 42 h 119"/>
                  <a:gd name="T62" fmla="*/ 80 w 128"/>
                  <a:gd name="T63" fmla="*/ 30 h 119"/>
                  <a:gd name="T64" fmla="*/ 72 w 128"/>
                  <a:gd name="T65" fmla="*/ 27 h 119"/>
                  <a:gd name="T66" fmla="*/ 55 w 128"/>
                  <a:gd name="T67" fmla="*/ 27 h 119"/>
                  <a:gd name="T68" fmla="*/ 47 w 128"/>
                  <a:gd name="T69" fmla="*/ 30 h 119"/>
                  <a:gd name="T70" fmla="*/ 36 w 128"/>
                  <a:gd name="T71" fmla="*/ 42 h 119"/>
                  <a:gd name="T72" fmla="*/ 33 w 128"/>
                  <a:gd name="T73" fmla="*/ 50 h 119"/>
                  <a:gd name="T74" fmla="*/ 33 w 128"/>
                  <a:gd name="T75" fmla="*/ 68 h 119"/>
                  <a:gd name="T76" fmla="*/ 36 w 128"/>
                  <a:gd name="T77" fmla="*/ 76 h 119"/>
                  <a:gd name="T78" fmla="*/ 47 w 128"/>
                  <a:gd name="T79" fmla="*/ 87 h 119"/>
                  <a:gd name="T80" fmla="*/ 55 w 128"/>
                  <a:gd name="T81" fmla="*/ 90 h 119"/>
                  <a:gd name="T82" fmla="*/ 72 w 128"/>
                  <a:gd name="T83" fmla="*/ 90 h 119"/>
                  <a:gd name="T84" fmla="*/ 80 w 128"/>
                  <a:gd name="T85" fmla="*/ 87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28" h="119">
                    <a:moveTo>
                      <a:pt x="31" y="112"/>
                    </a:moveTo>
                    <a:lnTo>
                      <a:pt x="31" y="112"/>
                    </a:lnTo>
                    <a:lnTo>
                      <a:pt x="25" y="109"/>
                    </a:lnTo>
                    <a:lnTo>
                      <a:pt x="21" y="105"/>
                    </a:lnTo>
                    <a:lnTo>
                      <a:pt x="13" y="96"/>
                    </a:lnTo>
                    <a:lnTo>
                      <a:pt x="6" y="87"/>
                    </a:lnTo>
                    <a:lnTo>
                      <a:pt x="2" y="76"/>
                    </a:lnTo>
                    <a:lnTo>
                      <a:pt x="0" y="65"/>
                    </a:lnTo>
                    <a:lnTo>
                      <a:pt x="0" y="54"/>
                    </a:lnTo>
                    <a:lnTo>
                      <a:pt x="2" y="43"/>
                    </a:lnTo>
                    <a:lnTo>
                      <a:pt x="4" y="37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11" y="24"/>
                    </a:lnTo>
                    <a:lnTo>
                      <a:pt x="16" y="18"/>
                    </a:lnTo>
                    <a:lnTo>
                      <a:pt x="23" y="12"/>
                    </a:lnTo>
                    <a:lnTo>
                      <a:pt x="31" y="7"/>
                    </a:lnTo>
                    <a:lnTo>
                      <a:pt x="31" y="7"/>
                    </a:lnTo>
                    <a:lnTo>
                      <a:pt x="38" y="4"/>
                    </a:lnTo>
                    <a:lnTo>
                      <a:pt x="46" y="2"/>
                    </a:lnTo>
                    <a:lnTo>
                      <a:pt x="55" y="0"/>
                    </a:lnTo>
                    <a:lnTo>
                      <a:pt x="64" y="0"/>
                    </a:lnTo>
                    <a:lnTo>
                      <a:pt x="72" y="0"/>
                    </a:lnTo>
                    <a:lnTo>
                      <a:pt x="81" y="2"/>
                    </a:lnTo>
                    <a:lnTo>
                      <a:pt x="89" y="4"/>
                    </a:lnTo>
                    <a:lnTo>
                      <a:pt x="97" y="7"/>
                    </a:lnTo>
                    <a:lnTo>
                      <a:pt x="97" y="7"/>
                    </a:lnTo>
                    <a:lnTo>
                      <a:pt x="102" y="10"/>
                    </a:lnTo>
                    <a:lnTo>
                      <a:pt x="106" y="14"/>
                    </a:lnTo>
                    <a:lnTo>
                      <a:pt x="115" y="22"/>
                    </a:lnTo>
                    <a:lnTo>
                      <a:pt x="121" y="31"/>
                    </a:lnTo>
                    <a:lnTo>
                      <a:pt x="125" y="42"/>
                    </a:lnTo>
                    <a:lnTo>
                      <a:pt x="127" y="53"/>
                    </a:lnTo>
                    <a:lnTo>
                      <a:pt x="128" y="64"/>
                    </a:lnTo>
                    <a:lnTo>
                      <a:pt x="125" y="75"/>
                    </a:lnTo>
                    <a:lnTo>
                      <a:pt x="124" y="81"/>
                    </a:lnTo>
                    <a:lnTo>
                      <a:pt x="121" y="86"/>
                    </a:lnTo>
                    <a:lnTo>
                      <a:pt x="121" y="86"/>
                    </a:lnTo>
                    <a:lnTo>
                      <a:pt x="116" y="94"/>
                    </a:lnTo>
                    <a:lnTo>
                      <a:pt x="111" y="100"/>
                    </a:lnTo>
                    <a:lnTo>
                      <a:pt x="104" y="107"/>
                    </a:lnTo>
                    <a:lnTo>
                      <a:pt x="97" y="112"/>
                    </a:lnTo>
                    <a:lnTo>
                      <a:pt x="97" y="112"/>
                    </a:lnTo>
                    <a:lnTo>
                      <a:pt x="89" y="115"/>
                    </a:lnTo>
                    <a:lnTo>
                      <a:pt x="81" y="117"/>
                    </a:lnTo>
                    <a:lnTo>
                      <a:pt x="72" y="119"/>
                    </a:lnTo>
                    <a:lnTo>
                      <a:pt x="64" y="119"/>
                    </a:lnTo>
                    <a:lnTo>
                      <a:pt x="55" y="119"/>
                    </a:lnTo>
                    <a:lnTo>
                      <a:pt x="46" y="117"/>
                    </a:lnTo>
                    <a:lnTo>
                      <a:pt x="38" y="115"/>
                    </a:lnTo>
                    <a:lnTo>
                      <a:pt x="31" y="112"/>
                    </a:lnTo>
                    <a:lnTo>
                      <a:pt x="31" y="112"/>
                    </a:lnTo>
                    <a:close/>
                    <a:moveTo>
                      <a:pt x="80" y="87"/>
                    </a:moveTo>
                    <a:lnTo>
                      <a:pt x="80" y="87"/>
                    </a:lnTo>
                    <a:lnTo>
                      <a:pt x="86" y="82"/>
                    </a:lnTo>
                    <a:lnTo>
                      <a:pt x="91" y="76"/>
                    </a:lnTo>
                    <a:lnTo>
                      <a:pt x="91" y="76"/>
                    </a:lnTo>
                    <a:lnTo>
                      <a:pt x="94" y="68"/>
                    </a:lnTo>
                    <a:lnTo>
                      <a:pt x="95" y="59"/>
                    </a:lnTo>
                    <a:lnTo>
                      <a:pt x="94" y="50"/>
                    </a:lnTo>
                    <a:lnTo>
                      <a:pt x="91" y="42"/>
                    </a:lnTo>
                    <a:lnTo>
                      <a:pt x="91" y="42"/>
                    </a:lnTo>
                    <a:lnTo>
                      <a:pt x="86" y="35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72" y="27"/>
                    </a:lnTo>
                    <a:lnTo>
                      <a:pt x="64" y="26"/>
                    </a:lnTo>
                    <a:lnTo>
                      <a:pt x="55" y="27"/>
                    </a:lnTo>
                    <a:lnTo>
                      <a:pt x="47" y="30"/>
                    </a:lnTo>
                    <a:lnTo>
                      <a:pt x="47" y="30"/>
                    </a:lnTo>
                    <a:lnTo>
                      <a:pt x="41" y="35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3" y="50"/>
                    </a:lnTo>
                    <a:lnTo>
                      <a:pt x="32" y="59"/>
                    </a:lnTo>
                    <a:lnTo>
                      <a:pt x="33" y="68"/>
                    </a:lnTo>
                    <a:lnTo>
                      <a:pt x="36" y="76"/>
                    </a:lnTo>
                    <a:lnTo>
                      <a:pt x="36" y="76"/>
                    </a:lnTo>
                    <a:lnTo>
                      <a:pt x="41" y="82"/>
                    </a:lnTo>
                    <a:lnTo>
                      <a:pt x="47" y="87"/>
                    </a:lnTo>
                    <a:lnTo>
                      <a:pt x="47" y="87"/>
                    </a:lnTo>
                    <a:lnTo>
                      <a:pt x="55" y="90"/>
                    </a:lnTo>
                    <a:lnTo>
                      <a:pt x="64" y="91"/>
                    </a:lnTo>
                    <a:lnTo>
                      <a:pt x="72" y="90"/>
                    </a:lnTo>
                    <a:lnTo>
                      <a:pt x="80" y="87"/>
                    </a:lnTo>
                    <a:lnTo>
                      <a:pt x="80" y="8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7">
                <a:extLst>
                  <a:ext uri="{FF2B5EF4-FFF2-40B4-BE49-F238E27FC236}">
                    <a16:creationId xmlns:a16="http://schemas.microsoft.com/office/drawing/2014/main" id="{9EAEE4CB-E230-4F77-981A-41C700572565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564816" y="1379538"/>
                <a:ext cx="84138" cy="90487"/>
              </a:xfrm>
              <a:custGeom>
                <a:avLst/>
                <a:gdLst>
                  <a:gd name="T0" fmla="*/ 99 w 105"/>
                  <a:gd name="T1" fmla="*/ 64 h 115"/>
                  <a:gd name="T2" fmla="*/ 103 w 105"/>
                  <a:gd name="T3" fmla="*/ 72 h 115"/>
                  <a:gd name="T4" fmla="*/ 105 w 105"/>
                  <a:gd name="T5" fmla="*/ 81 h 115"/>
                  <a:gd name="T6" fmla="*/ 104 w 105"/>
                  <a:gd name="T7" fmla="*/ 88 h 115"/>
                  <a:gd name="T8" fmla="*/ 98 w 105"/>
                  <a:gd name="T9" fmla="*/ 101 h 115"/>
                  <a:gd name="T10" fmla="*/ 93 w 105"/>
                  <a:gd name="T11" fmla="*/ 106 h 115"/>
                  <a:gd name="T12" fmla="*/ 77 w 105"/>
                  <a:gd name="T13" fmla="*/ 113 h 115"/>
                  <a:gd name="T14" fmla="*/ 59 w 105"/>
                  <a:gd name="T15" fmla="*/ 115 h 115"/>
                  <a:gd name="T16" fmla="*/ 0 w 105"/>
                  <a:gd name="T17" fmla="*/ 0 h 115"/>
                  <a:gd name="T18" fmla="*/ 56 w 105"/>
                  <a:gd name="T19" fmla="*/ 0 h 115"/>
                  <a:gd name="T20" fmla="*/ 73 w 105"/>
                  <a:gd name="T21" fmla="*/ 2 h 115"/>
                  <a:gd name="T22" fmla="*/ 88 w 105"/>
                  <a:gd name="T23" fmla="*/ 8 h 115"/>
                  <a:gd name="T24" fmla="*/ 93 w 105"/>
                  <a:gd name="T25" fmla="*/ 12 h 115"/>
                  <a:gd name="T26" fmla="*/ 99 w 105"/>
                  <a:gd name="T27" fmla="*/ 23 h 115"/>
                  <a:gd name="T28" fmla="*/ 99 w 105"/>
                  <a:gd name="T29" fmla="*/ 30 h 115"/>
                  <a:gd name="T30" fmla="*/ 95 w 105"/>
                  <a:gd name="T31" fmla="*/ 45 h 115"/>
                  <a:gd name="T32" fmla="*/ 90 w 105"/>
                  <a:gd name="T33" fmla="*/ 50 h 115"/>
                  <a:gd name="T34" fmla="*/ 84 w 105"/>
                  <a:gd name="T35" fmla="*/ 54 h 115"/>
                  <a:gd name="T36" fmla="*/ 92 w 105"/>
                  <a:gd name="T37" fmla="*/ 58 h 115"/>
                  <a:gd name="T38" fmla="*/ 99 w 105"/>
                  <a:gd name="T39" fmla="*/ 64 h 115"/>
                  <a:gd name="T40" fmla="*/ 32 w 105"/>
                  <a:gd name="T41" fmla="*/ 46 h 115"/>
                  <a:gd name="T42" fmla="*/ 53 w 105"/>
                  <a:gd name="T43" fmla="*/ 46 h 115"/>
                  <a:gd name="T44" fmla="*/ 63 w 105"/>
                  <a:gd name="T45" fmla="*/ 43 h 115"/>
                  <a:gd name="T46" fmla="*/ 67 w 105"/>
                  <a:gd name="T47" fmla="*/ 34 h 115"/>
                  <a:gd name="T48" fmla="*/ 66 w 105"/>
                  <a:gd name="T49" fmla="*/ 29 h 115"/>
                  <a:gd name="T50" fmla="*/ 59 w 105"/>
                  <a:gd name="T51" fmla="*/ 24 h 115"/>
                  <a:gd name="T52" fmla="*/ 32 w 105"/>
                  <a:gd name="T53" fmla="*/ 23 h 115"/>
                  <a:gd name="T54" fmla="*/ 72 w 105"/>
                  <a:gd name="T55" fmla="*/ 79 h 115"/>
                  <a:gd name="T56" fmla="*/ 71 w 105"/>
                  <a:gd name="T57" fmla="*/ 74 h 115"/>
                  <a:gd name="T58" fmla="*/ 64 w 105"/>
                  <a:gd name="T59" fmla="*/ 68 h 115"/>
                  <a:gd name="T60" fmla="*/ 32 w 105"/>
                  <a:gd name="T61" fmla="*/ 67 h 115"/>
                  <a:gd name="T62" fmla="*/ 58 w 105"/>
                  <a:gd name="T63" fmla="*/ 91 h 115"/>
                  <a:gd name="T64" fmla="*/ 64 w 105"/>
                  <a:gd name="T65" fmla="*/ 90 h 115"/>
                  <a:gd name="T66" fmla="*/ 71 w 105"/>
                  <a:gd name="T67" fmla="*/ 84 h 115"/>
                  <a:gd name="T68" fmla="*/ 72 w 105"/>
                  <a:gd name="T69" fmla="*/ 79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5" h="115">
                    <a:moveTo>
                      <a:pt x="99" y="64"/>
                    </a:moveTo>
                    <a:lnTo>
                      <a:pt x="99" y="64"/>
                    </a:lnTo>
                    <a:lnTo>
                      <a:pt x="102" y="68"/>
                    </a:lnTo>
                    <a:lnTo>
                      <a:pt x="103" y="72"/>
                    </a:lnTo>
                    <a:lnTo>
                      <a:pt x="104" y="77"/>
                    </a:lnTo>
                    <a:lnTo>
                      <a:pt x="105" y="81"/>
                    </a:lnTo>
                    <a:lnTo>
                      <a:pt x="105" y="81"/>
                    </a:lnTo>
                    <a:lnTo>
                      <a:pt x="104" y="88"/>
                    </a:lnTo>
                    <a:lnTo>
                      <a:pt x="102" y="95"/>
                    </a:lnTo>
                    <a:lnTo>
                      <a:pt x="98" y="101"/>
                    </a:lnTo>
                    <a:lnTo>
                      <a:pt x="93" y="106"/>
                    </a:lnTo>
                    <a:lnTo>
                      <a:pt x="93" y="106"/>
                    </a:lnTo>
                    <a:lnTo>
                      <a:pt x="85" y="110"/>
                    </a:lnTo>
                    <a:lnTo>
                      <a:pt x="77" y="113"/>
                    </a:lnTo>
                    <a:lnTo>
                      <a:pt x="68" y="115"/>
                    </a:lnTo>
                    <a:lnTo>
                      <a:pt x="59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5" y="0"/>
                    </a:lnTo>
                    <a:lnTo>
                      <a:pt x="73" y="2"/>
                    </a:lnTo>
                    <a:lnTo>
                      <a:pt x="81" y="4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93" y="12"/>
                    </a:lnTo>
                    <a:lnTo>
                      <a:pt x="97" y="17"/>
                    </a:lnTo>
                    <a:lnTo>
                      <a:pt x="99" y="23"/>
                    </a:lnTo>
                    <a:lnTo>
                      <a:pt x="99" y="30"/>
                    </a:lnTo>
                    <a:lnTo>
                      <a:pt x="99" y="30"/>
                    </a:lnTo>
                    <a:lnTo>
                      <a:pt x="98" y="37"/>
                    </a:lnTo>
                    <a:lnTo>
                      <a:pt x="95" y="45"/>
                    </a:lnTo>
                    <a:lnTo>
                      <a:pt x="95" y="45"/>
                    </a:lnTo>
                    <a:lnTo>
                      <a:pt x="90" y="50"/>
                    </a:lnTo>
                    <a:lnTo>
                      <a:pt x="84" y="54"/>
                    </a:lnTo>
                    <a:lnTo>
                      <a:pt x="84" y="54"/>
                    </a:lnTo>
                    <a:lnTo>
                      <a:pt x="88" y="56"/>
                    </a:lnTo>
                    <a:lnTo>
                      <a:pt x="92" y="58"/>
                    </a:lnTo>
                    <a:lnTo>
                      <a:pt x="96" y="61"/>
                    </a:lnTo>
                    <a:lnTo>
                      <a:pt x="99" y="64"/>
                    </a:lnTo>
                    <a:lnTo>
                      <a:pt x="99" y="64"/>
                    </a:lnTo>
                    <a:close/>
                    <a:moveTo>
                      <a:pt x="32" y="46"/>
                    </a:moveTo>
                    <a:lnTo>
                      <a:pt x="53" y="46"/>
                    </a:lnTo>
                    <a:lnTo>
                      <a:pt x="53" y="46"/>
                    </a:lnTo>
                    <a:lnTo>
                      <a:pt x="59" y="45"/>
                    </a:lnTo>
                    <a:lnTo>
                      <a:pt x="63" y="43"/>
                    </a:lnTo>
                    <a:lnTo>
                      <a:pt x="66" y="39"/>
                    </a:lnTo>
                    <a:lnTo>
                      <a:pt x="67" y="34"/>
                    </a:lnTo>
                    <a:lnTo>
                      <a:pt x="67" y="34"/>
                    </a:lnTo>
                    <a:lnTo>
                      <a:pt x="66" y="29"/>
                    </a:lnTo>
                    <a:lnTo>
                      <a:pt x="63" y="26"/>
                    </a:lnTo>
                    <a:lnTo>
                      <a:pt x="59" y="24"/>
                    </a:lnTo>
                    <a:lnTo>
                      <a:pt x="53" y="23"/>
                    </a:lnTo>
                    <a:lnTo>
                      <a:pt x="32" y="23"/>
                    </a:lnTo>
                    <a:lnTo>
                      <a:pt x="32" y="46"/>
                    </a:lnTo>
                    <a:close/>
                    <a:moveTo>
                      <a:pt x="72" y="79"/>
                    </a:moveTo>
                    <a:lnTo>
                      <a:pt x="72" y="79"/>
                    </a:lnTo>
                    <a:lnTo>
                      <a:pt x="71" y="74"/>
                    </a:lnTo>
                    <a:lnTo>
                      <a:pt x="69" y="70"/>
                    </a:lnTo>
                    <a:lnTo>
                      <a:pt x="64" y="68"/>
                    </a:lnTo>
                    <a:lnTo>
                      <a:pt x="58" y="67"/>
                    </a:lnTo>
                    <a:lnTo>
                      <a:pt x="32" y="67"/>
                    </a:lnTo>
                    <a:lnTo>
                      <a:pt x="32" y="91"/>
                    </a:lnTo>
                    <a:lnTo>
                      <a:pt x="58" y="91"/>
                    </a:lnTo>
                    <a:lnTo>
                      <a:pt x="58" y="91"/>
                    </a:lnTo>
                    <a:lnTo>
                      <a:pt x="64" y="90"/>
                    </a:lnTo>
                    <a:lnTo>
                      <a:pt x="69" y="88"/>
                    </a:lnTo>
                    <a:lnTo>
                      <a:pt x="71" y="84"/>
                    </a:lnTo>
                    <a:lnTo>
                      <a:pt x="72" y="79"/>
                    </a:lnTo>
                    <a:lnTo>
                      <a:pt x="72" y="7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8">
                <a:extLst>
                  <a:ext uri="{FF2B5EF4-FFF2-40B4-BE49-F238E27FC236}">
                    <a16:creationId xmlns:a16="http://schemas.microsoft.com/office/drawing/2014/main" id="{9279E098-5285-4BB7-B59B-76D3CBB9F768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664829" y="1379538"/>
                <a:ext cx="115888" cy="90487"/>
              </a:xfrm>
              <a:custGeom>
                <a:avLst/>
                <a:gdLst>
                  <a:gd name="T0" fmla="*/ 92 w 147"/>
                  <a:gd name="T1" fmla="*/ 46 h 115"/>
                  <a:gd name="T2" fmla="*/ 92 w 147"/>
                  <a:gd name="T3" fmla="*/ 46 h 115"/>
                  <a:gd name="T4" fmla="*/ 97 w 147"/>
                  <a:gd name="T5" fmla="*/ 51 h 115"/>
                  <a:gd name="T6" fmla="*/ 101 w 147"/>
                  <a:gd name="T7" fmla="*/ 58 h 115"/>
                  <a:gd name="T8" fmla="*/ 103 w 147"/>
                  <a:gd name="T9" fmla="*/ 66 h 115"/>
                  <a:gd name="T10" fmla="*/ 103 w 147"/>
                  <a:gd name="T11" fmla="*/ 73 h 115"/>
                  <a:gd name="T12" fmla="*/ 103 w 147"/>
                  <a:gd name="T13" fmla="*/ 73 h 115"/>
                  <a:gd name="T14" fmla="*/ 103 w 147"/>
                  <a:gd name="T15" fmla="*/ 82 h 115"/>
                  <a:gd name="T16" fmla="*/ 100 w 147"/>
                  <a:gd name="T17" fmla="*/ 90 h 115"/>
                  <a:gd name="T18" fmla="*/ 96 w 147"/>
                  <a:gd name="T19" fmla="*/ 97 h 115"/>
                  <a:gd name="T20" fmla="*/ 90 w 147"/>
                  <a:gd name="T21" fmla="*/ 104 h 115"/>
                  <a:gd name="T22" fmla="*/ 90 w 147"/>
                  <a:gd name="T23" fmla="*/ 104 h 115"/>
                  <a:gd name="T24" fmla="*/ 82 w 147"/>
                  <a:gd name="T25" fmla="*/ 109 h 115"/>
                  <a:gd name="T26" fmla="*/ 74 w 147"/>
                  <a:gd name="T27" fmla="*/ 113 h 115"/>
                  <a:gd name="T28" fmla="*/ 65 w 147"/>
                  <a:gd name="T29" fmla="*/ 115 h 115"/>
                  <a:gd name="T30" fmla="*/ 55 w 147"/>
                  <a:gd name="T31" fmla="*/ 115 h 115"/>
                  <a:gd name="T32" fmla="*/ 0 w 147"/>
                  <a:gd name="T33" fmla="*/ 115 h 115"/>
                  <a:gd name="T34" fmla="*/ 0 w 147"/>
                  <a:gd name="T35" fmla="*/ 0 h 115"/>
                  <a:gd name="T36" fmla="*/ 32 w 147"/>
                  <a:gd name="T37" fmla="*/ 0 h 115"/>
                  <a:gd name="T38" fmla="*/ 32 w 147"/>
                  <a:gd name="T39" fmla="*/ 36 h 115"/>
                  <a:gd name="T40" fmla="*/ 59 w 147"/>
                  <a:gd name="T41" fmla="*/ 36 h 115"/>
                  <a:gd name="T42" fmla="*/ 59 w 147"/>
                  <a:gd name="T43" fmla="*/ 36 h 115"/>
                  <a:gd name="T44" fmla="*/ 68 w 147"/>
                  <a:gd name="T45" fmla="*/ 37 h 115"/>
                  <a:gd name="T46" fmla="*/ 76 w 147"/>
                  <a:gd name="T47" fmla="*/ 38 h 115"/>
                  <a:gd name="T48" fmla="*/ 84 w 147"/>
                  <a:gd name="T49" fmla="*/ 41 h 115"/>
                  <a:gd name="T50" fmla="*/ 92 w 147"/>
                  <a:gd name="T51" fmla="*/ 46 h 115"/>
                  <a:gd name="T52" fmla="*/ 92 w 147"/>
                  <a:gd name="T53" fmla="*/ 46 h 115"/>
                  <a:gd name="T54" fmla="*/ 66 w 147"/>
                  <a:gd name="T55" fmla="*/ 86 h 115"/>
                  <a:gd name="T56" fmla="*/ 66 w 147"/>
                  <a:gd name="T57" fmla="*/ 86 h 115"/>
                  <a:gd name="T58" fmla="*/ 68 w 147"/>
                  <a:gd name="T59" fmla="*/ 84 h 115"/>
                  <a:gd name="T60" fmla="*/ 70 w 147"/>
                  <a:gd name="T61" fmla="*/ 81 h 115"/>
                  <a:gd name="T62" fmla="*/ 71 w 147"/>
                  <a:gd name="T63" fmla="*/ 77 h 115"/>
                  <a:gd name="T64" fmla="*/ 71 w 147"/>
                  <a:gd name="T65" fmla="*/ 74 h 115"/>
                  <a:gd name="T66" fmla="*/ 71 w 147"/>
                  <a:gd name="T67" fmla="*/ 74 h 115"/>
                  <a:gd name="T68" fmla="*/ 71 w 147"/>
                  <a:gd name="T69" fmla="*/ 71 h 115"/>
                  <a:gd name="T70" fmla="*/ 70 w 147"/>
                  <a:gd name="T71" fmla="*/ 68 h 115"/>
                  <a:gd name="T72" fmla="*/ 68 w 147"/>
                  <a:gd name="T73" fmla="*/ 65 h 115"/>
                  <a:gd name="T74" fmla="*/ 67 w 147"/>
                  <a:gd name="T75" fmla="*/ 63 h 115"/>
                  <a:gd name="T76" fmla="*/ 64 w 147"/>
                  <a:gd name="T77" fmla="*/ 61 h 115"/>
                  <a:gd name="T78" fmla="*/ 61 w 147"/>
                  <a:gd name="T79" fmla="*/ 60 h 115"/>
                  <a:gd name="T80" fmla="*/ 53 w 147"/>
                  <a:gd name="T81" fmla="*/ 59 h 115"/>
                  <a:gd name="T82" fmla="*/ 32 w 147"/>
                  <a:gd name="T83" fmla="*/ 59 h 115"/>
                  <a:gd name="T84" fmla="*/ 32 w 147"/>
                  <a:gd name="T85" fmla="*/ 91 h 115"/>
                  <a:gd name="T86" fmla="*/ 53 w 147"/>
                  <a:gd name="T87" fmla="*/ 91 h 115"/>
                  <a:gd name="T88" fmla="*/ 53 w 147"/>
                  <a:gd name="T89" fmla="*/ 91 h 115"/>
                  <a:gd name="T90" fmla="*/ 57 w 147"/>
                  <a:gd name="T91" fmla="*/ 91 h 115"/>
                  <a:gd name="T92" fmla="*/ 60 w 147"/>
                  <a:gd name="T93" fmla="*/ 90 h 115"/>
                  <a:gd name="T94" fmla="*/ 63 w 147"/>
                  <a:gd name="T95" fmla="*/ 88 h 115"/>
                  <a:gd name="T96" fmla="*/ 66 w 147"/>
                  <a:gd name="T97" fmla="*/ 86 h 115"/>
                  <a:gd name="T98" fmla="*/ 66 w 147"/>
                  <a:gd name="T99" fmla="*/ 86 h 115"/>
                  <a:gd name="T100" fmla="*/ 116 w 147"/>
                  <a:gd name="T101" fmla="*/ 0 h 115"/>
                  <a:gd name="T102" fmla="*/ 147 w 147"/>
                  <a:gd name="T103" fmla="*/ 0 h 115"/>
                  <a:gd name="T104" fmla="*/ 147 w 147"/>
                  <a:gd name="T105" fmla="*/ 115 h 115"/>
                  <a:gd name="T106" fmla="*/ 116 w 147"/>
                  <a:gd name="T107" fmla="*/ 115 h 115"/>
                  <a:gd name="T108" fmla="*/ 116 w 147"/>
                  <a:gd name="T109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47" h="115">
                    <a:moveTo>
                      <a:pt x="92" y="46"/>
                    </a:moveTo>
                    <a:lnTo>
                      <a:pt x="92" y="46"/>
                    </a:lnTo>
                    <a:lnTo>
                      <a:pt x="97" y="51"/>
                    </a:lnTo>
                    <a:lnTo>
                      <a:pt x="101" y="58"/>
                    </a:lnTo>
                    <a:lnTo>
                      <a:pt x="103" y="66"/>
                    </a:lnTo>
                    <a:lnTo>
                      <a:pt x="103" y="73"/>
                    </a:lnTo>
                    <a:lnTo>
                      <a:pt x="103" y="73"/>
                    </a:lnTo>
                    <a:lnTo>
                      <a:pt x="103" y="82"/>
                    </a:lnTo>
                    <a:lnTo>
                      <a:pt x="100" y="90"/>
                    </a:lnTo>
                    <a:lnTo>
                      <a:pt x="96" y="97"/>
                    </a:lnTo>
                    <a:lnTo>
                      <a:pt x="90" y="104"/>
                    </a:lnTo>
                    <a:lnTo>
                      <a:pt x="90" y="104"/>
                    </a:lnTo>
                    <a:lnTo>
                      <a:pt x="82" y="109"/>
                    </a:lnTo>
                    <a:lnTo>
                      <a:pt x="74" y="113"/>
                    </a:lnTo>
                    <a:lnTo>
                      <a:pt x="65" y="115"/>
                    </a:lnTo>
                    <a:lnTo>
                      <a:pt x="55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2" y="0"/>
                    </a:lnTo>
                    <a:lnTo>
                      <a:pt x="32" y="36"/>
                    </a:lnTo>
                    <a:lnTo>
                      <a:pt x="59" y="36"/>
                    </a:lnTo>
                    <a:lnTo>
                      <a:pt x="59" y="36"/>
                    </a:lnTo>
                    <a:lnTo>
                      <a:pt x="68" y="37"/>
                    </a:lnTo>
                    <a:lnTo>
                      <a:pt x="76" y="38"/>
                    </a:lnTo>
                    <a:lnTo>
                      <a:pt x="84" y="41"/>
                    </a:lnTo>
                    <a:lnTo>
                      <a:pt x="92" y="46"/>
                    </a:lnTo>
                    <a:lnTo>
                      <a:pt x="92" y="46"/>
                    </a:lnTo>
                    <a:close/>
                    <a:moveTo>
                      <a:pt x="66" y="86"/>
                    </a:moveTo>
                    <a:lnTo>
                      <a:pt x="66" y="86"/>
                    </a:lnTo>
                    <a:lnTo>
                      <a:pt x="68" y="84"/>
                    </a:lnTo>
                    <a:lnTo>
                      <a:pt x="70" y="81"/>
                    </a:lnTo>
                    <a:lnTo>
                      <a:pt x="71" y="77"/>
                    </a:lnTo>
                    <a:lnTo>
                      <a:pt x="71" y="74"/>
                    </a:lnTo>
                    <a:lnTo>
                      <a:pt x="71" y="74"/>
                    </a:lnTo>
                    <a:lnTo>
                      <a:pt x="71" y="71"/>
                    </a:lnTo>
                    <a:lnTo>
                      <a:pt x="70" y="68"/>
                    </a:lnTo>
                    <a:lnTo>
                      <a:pt x="68" y="65"/>
                    </a:lnTo>
                    <a:lnTo>
                      <a:pt x="67" y="63"/>
                    </a:lnTo>
                    <a:lnTo>
                      <a:pt x="64" y="61"/>
                    </a:lnTo>
                    <a:lnTo>
                      <a:pt x="61" y="60"/>
                    </a:lnTo>
                    <a:lnTo>
                      <a:pt x="53" y="59"/>
                    </a:lnTo>
                    <a:lnTo>
                      <a:pt x="32" y="59"/>
                    </a:lnTo>
                    <a:lnTo>
                      <a:pt x="32" y="91"/>
                    </a:lnTo>
                    <a:lnTo>
                      <a:pt x="53" y="91"/>
                    </a:lnTo>
                    <a:lnTo>
                      <a:pt x="53" y="91"/>
                    </a:lnTo>
                    <a:lnTo>
                      <a:pt x="57" y="91"/>
                    </a:lnTo>
                    <a:lnTo>
                      <a:pt x="60" y="90"/>
                    </a:lnTo>
                    <a:lnTo>
                      <a:pt x="63" y="88"/>
                    </a:lnTo>
                    <a:lnTo>
                      <a:pt x="66" y="86"/>
                    </a:lnTo>
                    <a:lnTo>
                      <a:pt x="66" y="86"/>
                    </a:lnTo>
                    <a:close/>
                    <a:moveTo>
                      <a:pt x="116" y="0"/>
                    </a:moveTo>
                    <a:lnTo>
                      <a:pt x="147" y="0"/>
                    </a:lnTo>
                    <a:lnTo>
                      <a:pt x="147" y="115"/>
                    </a:lnTo>
                    <a:lnTo>
                      <a:pt x="116" y="115"/>
                    </a:lnTo>
                    <a:lnTo>
                      <a:pt x="116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9">
                <a:extLst>
                  <a:ext uri="{FF2B5EF4-FFF2-40B4-BE49-F238E27FC236}">
                    <a16:creationId xmlns:a16="http://schemas.microsoft.com/office/drawing/2014/main" id="{DFCD93E4-A9A0-4AD2-9A26-740B7FA2821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802941" y="1379538"/>
                <a:ext cx="74613" cy="90487"/>
              </a:xfrm>
              <a:custGeom>
                <a:avLst/>
                <a:gdLst>
                  <a:gd name="T0" fmla="*/ 92 w 92"/>
                  <a:gd name="T1" fmla="*/ 89 h 115"/>
                  <a:gd name="T2" fmla="*/ 92 w 92"/>
                  <a:gd name="T3" fmla="*/ 115 h 115"/>
                  <a:gd name="T4" fmla="*/ 0 w 92"/>
                  <a:gd name="T5" fmla="*/ 115 h 115"/>
                  <a:gd name="T6" fmla="*/ 0 w 92"/>
                  <a:gd name="T7" fmla="*/ 0 h 115"/>
                  <a:gd name="T8" fmla="*/ 90 w 92"/>
                  <a:gd name="T9" fmla="*/ 0 h 115"/>
                  <a:gd name="T10" fmla="*/ 90 w 92"/>
                  <a:gd name="T11" fmla="*/ 25 h 115"/>
                  <a:gd name="T12" fmla="*/ 32 w 92"/>
                  <a:gd name="T13" fmla="*/ 25 h 115"/>
                  <a:gd name="T14" fmla="*/ 32 w 92"/>
                  <a:gd name="T15" fmla="*/ 44 h 115"/>
                  <a:gd name="T16" fmla="*/ 83 w 92"/>
                  <a:gd name="T17" fmla="*/ 44 h 115"/>
                  <a:gd name="T18" fmla="*/ 83 w 92"/>
                  <a:gd name="T19" fmla="*/ 68 h 115"/>
                  <a:gd name="T20" fmla="*/ 32 w 92"/>
                  <a:gd name="T21" fmla="*/ 68 h 115"/>
                  <a:gd name="T22" fmla="*/ 32 w 92"/>
                  <a:gd name="T23" fmla="*/ 89 h 115"/>
                  <a:gd name="T24" fmla="*/ 92 w 92"/>
                  <a:gd name="T25" fmla="*/ 89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2" h="115">
                    <a:moveTo>
                      <a:pt x="92" y="89"/>
                    </a:moveTo>
                    <a:lnTo>
                      <a:pt x="9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25"/>
                    </a:lnTo>
                    <a:lnTo>
                      <a:pt x="32" y="25"/>
                    </a:lnTo>
                    <a:lnTo>
                      <a:pt x="32" y="44"/>
                    </a:lnTo>
                    <a:lnTo>
                      <a:pt x="83" y="44"/>
                    </a:lnTo>
                    <a:lnTo>
                      <a:pt x="83" y="68"/>
                    </a:lnTo>
                    <a:lnTo>
                      <a:pt x="32" y="68"/>
                    </a:lnTo>
                    <a:lnTo>
                      <a:pt x="32" y="89"/>
                    </a:lnTo>
                    <a:lnTo>
                      <a:pt x="92" y="8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10">
                <a:extLst>
                  <a:ext uri="{FF2B5EF4-FFF2-40B4-BE49-F238E27FC236}">
                    <a16:creationId xmlns:a16="http://schemas.microsoft.com/office/drawing/2014/main" id="{2D1AFFE8-855F-4F80-BB32-9762199F23F7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934704" y="1379538"/>
                <a:ext cx="82550" cy="90487"/>
              </a:xfrm>
              <a:custGeom>
                <a:avLst/>
                <a:gdLst>
                  <a:gd name="T0" fmla="*/ 99 w 105"/>
                  <a:gd name="T1" fmla="*/ 64 h 115"/>
                  <a:gd name="T2" fmla="*/ 104 w 105"/>
                  <a:gd name="T3" fmla="*/ 72 h 115"/>
                  <a:gd name="T4" fmla="*/ 105 w 105"/>
                  <a:gd name="T5" fmla="*/ 81 h 115"/>
                  <a:gd name="T6" fmla="*/ 104 w 105"/>
                  <a:gd name="T7" fmla="*/ 88 h 115"/>
                  <a:gd name="T8" fmla="*/ 98 w 105"/>
                  <a:gd name="T9" fmla="*/ 101 h 115"/>
                  <a:gd name="T10" fmla="*/ 93 w 105"/>
                  <a:gd name="T11" fmla="*/ 106 h 115"/>
                  <a:gd name="T12" fmla="*/ 78 w 105"/>
                  <a:gd name="T13" fmla="*/ 113 h 115"/>
                  <a:gd name="T14" fmla="*/ 58 w 105"/>
                  <a:gd name="T15" fmla="*/ 115 h 115"/>
                  <a:gd name="T16" fmla="*/ 0 w 105"/>
                  <a:gd name="T17" fmla="*/ 0 h 115"/>
                  <a:gd name="T18" fmla="*/ 55 w 105"/>
                  <a:gd name="T19" fmla="*/ 0 h 115"/>
                  <a:gd name="T20" fmla="*/ 72 w 105"/>
                  <a:gd name="T21" fmla="*/ 2 h 115"/>
                  <a:gd name="T22" fmla="*/ 88 w 105"/>
                  <a:gd name="T23" fmla="*/ 8 h 115"/>
                  <a:gd name="T24" fmla="*/ 93 w 105"/>
                  <a:gd name="T25" fmla="*/ 12 h 115"/>
                  <a:gd name="T26" fmla="*/ 99 w 105"/>
                  <a:gd name="T27" fmla="*/ 23 h 115"/>
                  <a:gd name="T28" fmla="*/ 100 w 105"/>
                  <a:gd name="T29" fmla="*/ 30 h 115"/>
                  <a:gd name="T30" fmla="*/ 96 w 105"/>
                  <a:gd name="T31" fmla="*/ 45 h 115"/>
                  <a:gd name="T32" fmla="*/ 91 w 105"/>
                  <a:gd name="T33" fmla="*/ 50 h 115"/>
                  <a:gd name="T34" fmla="*/ 84 w 105"/>
                  <a:gd name="T35" fmla="*/ 54 h 115"/>
                  <a:gd name="T36" fmla="*/ 93 w 105"/>
                  <a:gd name="T37" fmla="*/ 58 h 115"/>
                  <a:gd name="T38" fmla="*/ 99 w 105"/>
                  <a:gd name="T39" fmla="*/ 64 h 115"/>
                  <a:gd name="T40" fmla="*/ 32 w 105"/>
                  <a:gd name="T41" fmla="*/ 46 h 115"/>
                  <a:gd name="T42" fmla="*/ 52 w 105"/>
                  <a:gd name="T43" fmla="*/ 46 h 115"/>
                  <a:gd name="T44" fmla="*/ 63 w 105"/>
                  <a:gd name="T45" fmla="*/ 43 h 115"/>
                  <a:gd name="T46" fmla="*/ 66 w 105"/>
                  <a:gd name="T47" fmla="*/ 34 h 115"/>
                  <a:gd name="T48" fmla="*/ 65 w 105"/>
                  <a:gd name="T49" fmla="*/ 29 h 115"/>
                  <a:gd name="T50" fmla="*/ 58 w 105"/>
                  <a:gd name="T51" fmla="*/ 24 h 115"/>
                  <a:gd name="T52" fmla="*/ 32 w 105"/>
                  <a:gd name="T53" fmla="*/ 23 h 115"/>
                  <a:gd name="T54" fmla="*/ 71 w 105"/>
                  <a:gd name="T55" fmla="*/ 79 h 115"/>
                  <a:gd name="T56" fmla="*/ 70 w 105"/>
                  <a:gd name="T57" fmla="*/ 74 h 115"/>
                  <a:gd name="T58" fmla="*/ 63 w 105"/>
                  <a:gd name="T59" fmla="*/ 68 h 115"/>
                  <a:gd name="T60" fmla="*/ 32 w 105"/>
                  <a:gd name="T61" fmla="*/ 67 h 115"/>
                  <a:gd name="T62" fmla="*/ 57 w 105"/>
                  <a:gd name="T63" fmla="*/ 91 h 115"/>
                  <a:gd name="T64" fmla="*/ 63 w 105"/>
                  <a:gd name="T65" fmla="*/ 90 h 115"/>
                  <a:gd name="T66" fmla="*/ 70 w 105"/>
                  <a:gd name="T67" fmla="*/ 84 h 115"/>
                  <a:gd name="T68" fmla="*/ 71 w 105"/>
                  <a:gd name="T69" fmla="*/ 79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5" h="115">
                    <a:moveTo>
                      <a:pt x="99" y="64"/>
                    </a:moveTo>
                    <a:lnTo>
                      <a:pt x="99" y="64"/>
                    </a:lnTo>
                    <a:lnTo>
                      <a:pt x="102" y="68"/>
                    </a:lnTo>
                    <a:lnTo>
                      <a:pt x="104" y="72"/>
                    </a:lnTo>
                    <a:lnTo>
                      <a:pt x="105" y="77"/>
                    </a:lnTo>
                    <a:lnTo>
                      <a:pt x="105" y="81"/>
                    </a:lnTo>
                    <a:lnTo>
                      <a:pt x="105" y="81"/>
                    </a:lnTo>
                    <a:lnTo>
                      <a:pt x="104" y="88"/>
                    </a:lnTo>
                    <a:lnTo>
                      <a:pt x="102" y="95"/>
                    </a:lnTo>
                    <a:lnTo>
                      <a:pt x="98" y="101"/>
                    </a:lnTo>
                    <a:lnTo>
                      <a:pt x="93" y="106"/>
                    </a:lnTo>
                    <a:lnTo>
                      <a:pt x="93" y="106"/>
                    </a:lnTo>
                    <a:lnTo>
                      <a:pt x="86" y="110"/>
                    </a:lnTo>
                    <a:lnTo>
                      <a:pt x="78" y="113"/>
                    </a:lnTo>
                    <a:lnTo>
                      <a:pt x="69" y="114"/>
                    </a:lnTo>
                    <a:lnTo>
                      <a:pt x="58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55" y="0"/>
                    </a:lnTo>
                    <a:lnTo>
                      <a:pt x="55" y="0"/>
                    </a:lnTo>
                    <a:lnTo>
                      <a:pt x="64" y="0"/>
                    </a:lnTo>
                    <a:lnTo>
                      <a:pt x="72" y="2"/>
                    </a:lnTo>
                    <a:lnTo>
                      <a:pt x="81" y="4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93" y="12"/>
                    </a:lnTo>
                    <a:lnTo>
                      <a:pt x="97" y="17"/>
                    </a:lnTo>
                    <a:lnTo>
                      <a:pt x="99" y="23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99" y="37"/>
                    </a:lnTo>
                    <a:lnTo>
                      <a:pt x="96" y="45"/>
                    </a:lnTo>
                    <a:lnTo>
                      <a:pt x="96" y="45"/>
                    </a:lnTo>
                    <a:lnTo>
                      <a:pt x="91" y="50"/>
                    </a:lnTo>
                    <a:lnTo>
                      <a:pt x="84" y="54"/>
                    </a:lnTo>
                    <a:lnTo>
                      <a:pt x="84" y="54"/>
                    </a:lnTo>
                    <a:lnTo>
                      <a:pt x="88" y="56"/>
                    </a:lnTo>
                    <a:lnTo>
                      <a:pt x="93" y="58"/>
                    </a:lnTo>
                    <a:lnTo>
                      <a:pt x="96" y="61"/>
                    </a:lnTo>
                    <a:lnTo>
                      <a:pt x="99" y="64"/>
                    </a:lnTo>
                    <a:lnTo>
                      <a:pt x="99" y="64"/>
                    </a:lnTo>
                    <a:close/>
                    <a:moveTo>
                      <a:pt x="32" y="46"/>
                    </a:moveTo>
                    <a:lnTo>
                      <a:pt x="52" y="46"/>
                    </a:lnTo>
                    <a:lnTo>
                      <a:pt x="52" y="46"/>
                    </a:lnTo>
                    <a:lnTo>
                      <a:pt x="58" y="45"/>
                    </a:lnTo>
                    <a:lnTo>
                      <a:pt x="63" y="43"/>
                    </a:lnTo>
                    <a:lnTo>
                      <a:pt x="65" y="39"/>
                    </a:lnTo>
                    <a:lnTo>
                      <a:pt x="66" y="34"/>
                    </a:lnTo>
                    <a:lnTo>
                      <a:pt x="66" y="34"/>
                    </a:lnTo>
                    <a:lnTo>
                      <a:pt x="65" y="29"/>
                    </a:lnTo>
                    <a:lnTo>
                      <a:pt x="63" y="26"/>
                    </a:lnTo>
                    <a:lnTo>
                      <a:pt x="58" y="24"/>
                    </a:lnTo>
                    <a:lnTo>
                      <a:pt x="52" y="23"/>
                    </a:lnTo>
                    <a:lnTo>
                      <a:pt x="32" y="23"/>
                    </a:lnTo>
                    <a:lnTo>
                      <a:pt x="32" y="46"/>
                    </a:lnTo>
                    <a:close/>
                    <a:moveTo>
                      <a:pt x="71" y="79"/>
                    </a:moveTo>
                    <a:lnTo>
                      <a:pt x="71" y="79"/>
                    </a:lnTo>
                    <a:lnTo>
                      <a:pt x="70" y="74"/>
                    </a:lnTo>
                    <a:lnTo>
                      <a:pt x="68" y="70"/>
                    </a:lnTo>
                    <a:lnTo>
                      <a:pt x="63" y="68"/>
                    </a:lnTo>
                    <a:lnTo>
                      <a:pt x="57" y="67"/>
                    </a:lnTo>
                    <a:lnTo>
                      <a:pt x="32" y="67"/>
                    </a:lnTo>
                    <a:lnTo>
                      <a:pt x="32" y="91"/>
                    </a:lnTo>
                    <a:lnTo>
                      <a:pt x="57" y="91"/>
                    </a:lnTo>
                    <a:lnTo>
                      <a:pt x="57" y="91"/>
                    </a:lnTo>
                    <a:lnTo>
                      <a:pt x="63" y="90"/>
                    </a:lnTo>
                    <a:lnTo>
                      <a:pt x="68" y="88"/>
                    </a:lnTo>
                    <a:lnTo>
                      <a:pt x="70" y="84"/>
                    </a:lnTo>
                    <a:lnTo>
                      <a:pt x="71" y="79"/>
                    </a:lnTo>
                    <a:lnTo>
                      <a:pt x="71" y="7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11">
                <a:extLst>
                  <a:ext uri="{FF2B5EF4-FFF2-40B4-BE49-F238E27FC236}">
                    <a16:creationId xmlns:a16="http://schemas.microsoft.com/office/drawing/2014/main" id="{A3FAC5B7-7AD2-4E81-A8A5-DDD8FAB5FD8A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1033129" y="1379538"/>
                <a:ext cx="119063" cy="90487"/>
              </a:xfrm>
              <a:custGeom>
                <a:avLst/>
                <a:gdLst>
                  <a:gd name="T0" fmla="*/ 92 w 148"/>
                  <a:gd name="T1" fmla="*/ 46 h 115"/>
                  <a:gd name="T2" fmla="*/ 92 w 148"/>
                  <a:gd name="T3" fmla="*/ 46 h 115"/>
                  <a:gd name="T4" fmla="*/ 97 w 148"/>
                  <a:gd name="T5" fmla="*/ 51 h 115"/>
                  <a:gd name="T6" fmla="*/ 101 w 148"/>
                  <a:gd name="T7" fmla="*/ 58 h 115"/>
                  <a:gd name="T8" fmla="*/ 103 w 148"/>
                  <a:gd name="T9" fmla="*/ 66 h 115"/>
                  <a:gd name="T10" fmla="*/ 103 w 148"/>
                  <a:gd name="T11" fmla="*/ 73 h 115"/>
                  <a:gd name="T12" fmla="*/ 103 w 148"/>
                  <a:gd name="T13" fmla="*/ 73 h 115"/>
                  <a:gd name="T14" fmla="*/ 103 w 148"/>
                  <a:gd name="T15" fmla="*/ 82 h 115"/>
                  <a:gd name="T16" fmla="*/ 100 w 148"/>
                  <a:gd name="T17" fmla="*/ 90 h 115"/>
                  <a:gd name="T18" fmla="*/ 96 w 148"/>
                  <a:gd name="T19" fmla="*/ 97 h 115"/>
                  <a:gd name="T20" fmla="*/ 91 w 148"/>
                  <a:gd name="T21" fmla="*/ 104 h 115"/>
                  <a:gd name="T22" fmla="*/ 91 w 148"/>
                  <a:gd name="T23" fmla="*/ 104 h 115"/>
                  <a:gd name="T24" fmla="*/ 83 w 148"/>
                  <a:gd name="T25" fmla="*/ 109 h 115"/>
                  <a:gd name="T26" fmla="*/ 73 w 148"/>
                  <a:gd name="T27" fmla="*/ 113 h 115"/>
                  <a:gd name="T28" fmla="*/ 64 w 148"/>
                  <a:gd name="T29" fmla="*/ 115 h 115"/>
                  <a:gd name="T30" fmla="*/ 54 w 148"/>
                  <a:gd name="T31" fmla="*/ 115 h 115"/>
                  <a:gd name="T32" fmla="*/ 0 w 148"/>
                  <a:gd name="T33" fmla="*/ 115 h 115"/>
                  <a:gd name="T34" fmla="*/ 0 w 148"/>
                  <a:gd name="T35" fmla="*/ 0 h 115"/>
                  <a:gd name="T36" fmla="*/ 32 w 148"/>
                  <a:gd name="T37" fmla="*/ 0 h 115"/>
                  <a:gd name="T38" fmla="*/ 32 w 148"/>
                  <a:gd name="T39" fmla="*/ 36 h 115"/>
                  <a:gd name="T40" fmla="*/ 59 w 148"/>
                  <a:gd name="T41" fmla="*/ 36 h 115"/>
                  <a:gd name="T42" fmla="*/ 59 w 148"/>
                  <a:gd name="T43" fmla="*/ 36 h 115"/>
                  <a:gd name="T44" fmla="*/ 67 w 148"/>
                  <a:gd name="T45" fmla="*/ 37 h 115"/>
                  <a:gd name="T46" fmla="*/ 76 w 148"/>
                  <a:gd name="T47" fmla="*/ 38 h 115"/>
                  <a:gd name="T48" fmla="*/ 85 w 148"/>
                  <a:gd name="T49" fmla="*/ 41 h 115"/>
                  <a:gd name="T50" fmla="*/ 92 w 148"/>
                  <a:gd name="T51" fmla="*/ 46 h 115"/>
                  <a:gd name="T52" fmla="*/ 92 w 148"/>
                  <a:gd name="T53" fmla="*/ 46 h 115"/>
                  <a:gd name="T54" fmla="*/ 65 w 148"/>
                  <a:gd name="T55" fmla="*/ 86 h 115"/>
                  <a:gd name="T56" fmla="*/ 65 w 148"/>
                  <a:gd name="T57" fmla="*/ 86 h 115"/>
                  <a:gd name="T58" fmla="*/ 67 w 148"/>
                  <a:gd name="T59" fmla="*/ 84 h 115"/>
                  <a:gd name="T60" fmla="*/ 69 w 148"/>
                  <a:gd name="T61" fmla="*/ 81 h 115"/>
                  <a:gd name="T62" fmla="*/ 70 w 148"/>
                  <a:gd name="T63" fmla="*/ 77 h 115"/>
                  <a:gd name="T64" fmla="*/ 70 w 148"/>
                  <a:gd name="T65" fmla="*/ 74 h 115"/>
                  <a:gd name="T66" fmla="*/ 70 w 148"/>
                  <a:gd name="T67" fmla="*/ 74 h 115"/>
                  <a:gd name="T68" fmla="*/ 70 w 148"/>
                  <a:gd name="T69" fmla="*/ 71 h 115"/>
                  <a:gd name="T70" fmla="*/ 69 w 148"/>
                  <a:gd name="T71" fmla="*/ 68 h 115"/>
                  <a:gd name="T72" fmla="*/ 68 w 148"/>
                  <a:gd name="T73" fmla="*/ 65 h 115"/>
                  <a:gd name="T74" fmla="*/ 66 w 148"/>
                  <a:gd name="T75" fmla="*/ 63 h 115"/>
                  <a:gd name="T76" fmla="*/ 63 w 148"/>
                  <a:gd name="T77" fmla="*/ 61 h 115"/>
                  <a:gd name="T78" fmla="*/ 60 w 148"/>
                  <a:gd name="T79" fmla="*/ 60 h 115"/>
                  <a:gd name="T80" fmla="*/ 52 w 148"/>
                  <a:gd name="T81" fmla="*/ 59 h 115"/>
                  <a:gd name="T82" fmla="*/ 33 w 148"/>
                  <a:gd name="T83" fmla="*/ 59 h 115"/>
                  <a:gd name="T84" fmla="*/ 33 w 148"/>
                  <a:gd name="T85" fmla="*/ 91 h 115"/>
                  <a:gd name="T86" fmla="*/ 52 w 148"/>
                  <a:gd name="T87" fmla="*/ 91 h 115"/>
                  <a:gd name="T88" fmla="*/ 52 w 148"/>
                  <a:gd name="T89" fmla="*/ 91 h 115"/>
                  <a:gd name="T90" fmla="*/ 56 w 148"/>
                  <a:gd name="T91" fmla="*/ 91 h 115"/>
                  <a:gd name="T92" fmla="*/ 59 w 148"/>
                  <a:gd name="T93" fmla="*/ 90 h 115"/>
                  <a:gd name="T94" fmla="*/ 62 w 148"/>
                  <a:gd name="T95" fmla="*/ 88 h 115"/>
                  <a:gd name="T96" fmla="*/ 65 w 148"/>
                  <a:gd name="T97" fmla="*/ 86 h 115"/>
                  <a:gd name="T98" fmla="*/ 65 w 148"/>
                  <a:gd name="T99" fmla="*/ 86 h 115"/>
                  <a:gd name="T100" fmla="*/ 116 w 148"/>
                  <a:gd name="T101" fmla="*/ 0 h 115"/>
                  <a:gd name="T102" fmla="*/ 148 w 148"/>
                  <a:gd name="T103" fmla="*/ 0 h 115"/>
                  <a:gd name="T104" fmla="*/ 148 w 148"/>
                  <a:gd name="T105" fmla="*/ 115 h 115"/>
                  <a:gd name="T106" fmla="*/ 116 w 148"/>
                  <a:gd name="T107" fmla="*/ 115 h 115"/>
                  <a:gd name="T108" fmla="*/ 116 w 148"/>
                  <a:gd name="T109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48" h="115">
                    <a:moveTo>
                      <a:pt x="92" y="46"/>
                    </a:moveTo>
                    <a:lnTo>
                      <a:pt x="92" y="46"/>
                    </a:lnTo>
                    <a:lnTo>
                      <a:pt x="97" y="51"/>
                    </a:lnTo>
                    <a:lnTo>
                      <a:pt x="101" y="58"/>
                    </a:lnTo>
                    <a:lnTo>
                      <a:pt x="103" y="66"/>
                    </a:lnTo>
                    <a:lnTo>
                      <a:pt x="103" y="73"/>
                    </a:lnTo>
                    <a:lnTo>
                      <a:pt x="103" y="73"/>
                    </a:lnTo>
                    <a:lnTo>
                      <a:pt x="103" y="82"/>
                    </a:lnTo>
                    <a:lnTo>
                      <a:pt x="100" y="90"/>
                    </a:lnTo>
                    <a:lnTo>
                      <a:pt x="96" y="97"/>
                    </a:lnTo>
                    <a:lnTo>
                      <a:pt x="91" y="104"/>
                    </a:lnTo>
                    <a:lnTo>
                      <a:pt x="91" y="104"/>
                    </a:lnTo>
                    <a:lnTo>
                      <a:pt x="83" y="109"/>
                    </a:lnTo>
                    <a:lnTo>
                      <a:pt x="73" y="113"/>
                    </a:lnTo>
                    <a:lnTo>
                      <a:pt x="64" y="115"/>
                    </a:lnTo>
                    <a:lnTo>
                      <a:pt x="54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2" y="0"/>
                    </a:lnTo>
                    <a:lnTo>
                      <a:pt x="32" y="36"/>
                    </a:lnTo>
                    <a:lnTo>
                      <a:pt x="59" y="36"/>
                    </a:lnTo>
                    <a:lnTo>
                      <a:pt x="59" y="36"/>
                    </a:lnTo>
                    <a:lnTo>
                      <a:pt x="67" y="37"/>
                    </a:lnTo>
                    <a:lnTo>
                      <a:pt x="76" y="38"/>
                    </a:lnTo>
                    <a:lnTo>
                      <a:pt x="85" y="41"/>
                    </a:lnTo>
                    <a:lnTo>
                      <a:pt x="92" y="46"/>
                    </a:lnTo>
                    <a:lnTo>
                      <a:pt x="92" y="46"/>
                    </a:lnTo>
                    <a:close/>
                    <a:moveTo>
                      <a:pt x="65" y="86"/>
                    </a:moveTo>
                    <a:lnTo>
                      <a:pt x="65" y="86"/>
                    </a:lnTo>
                    <a:lnTo>
                      <a:pt x="67" y="84"/>
                    </a:lnTo>
                    <a:lnTo>
                      <a:pt x="69" y="81"/>
                    </a:lnTo>
                    <a:lnTo>
                      <a:pt x="70" y="77"/>
                    </a:lnTo>
                    <a:lnTo>
                      <a:pt x="70" y="74"/>
                    </a:lnTo>
                    <a:lnTo>
                      <a:pt x="70" y="74"/>
                    </a:lnTo>
                    <a:lnTo>
                      <a:pt x="70" y="71"/>
                    </a:lnTo>
                    <a:lnTo>
                      <a:pt x="69" y="68"/>
                    </a:lnTo>
                    <a:lnTo>
                      <a:pt x="68" y="65"/>
                    </a:lnTo>
                    <a:lnTo>
                      <a:pt x="66" y="63"/>
                    </a:lnTo>
                    <a:lnTo>
                      <a:pt x="63" y="61"/>
                    </a:lnTo>
                    <a:lnTo>
                      <a:pt x="60" y="60"/>
                    </a:lnTo>
                    <a:lnTo>
                      <a:pt x="52" y="59"/>
                    </a:lnTo>
                    <a:lnTo>
                      <a:pt x="33" y="59"/>
                    </a:lnTo>
                    <a:lnTo>
                      <a:pt x="33" y="91"/>
                    </a:lnTo>
                    <a:lnTo>
                      <a:pt x="52" y="91"/>
                    </a:lnTo>
                    <a:lnTo>
                      <a:pt x="52" y="91"/>
                    </a:lnTo>
                    <a:lnTo>
                      <a:pt x="56" y="91"/>
                    </a:lnTo>
                    <a:lnTo>
                      <a:pt x="59" y="90"/>
                    </a:lnTo>
                    <a:lnTo>
                      <a:pt x="62" y="88"/>
                    </a:lnTo>
                    <a:lnTo>
                      <a:pt x="65" y="86"/>
                    </a:lnTo>
                    <a:lnTo>
                      <a:pt x="65" y="86"/>
                    </a:lnTo>
                    <a:close/>
                    <a:moveTo>
                      <a:pt x="116" y="0"/>
                    </a:moveTo>
                    <a:lnTo>
                      <a:pt x="148" y="0"/>
                    </a:lnTo>
                    <a:lnTo>
                      <a:pt x="148" y="115"/>
                    </a:lnTo>
                    <a:lnTo>
                      <a:pt x="116" y="115"/>
                    </a:lnTo>
                    <a:lnTo>
                      <a:pt x="116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12">
                <a:extLst>
                  <a:ext uri="{FF2B5EF4-FFF2-40B4-BE49-F238E27FC236}">
                    <a16:creationId xmlns:a16="http://schemas.microsoft.com/office/drawing/2014/main" id="{7E6E9E4C-D1B2-486F-B6BD-692EE47EBA2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166479" y="1376363"/>
                <a:ext cx="79375" cy="95250"/>
              </a:xfrm>
              <a:custGeom>
                <a:avLst/>
                <a:gdLst>
                  <a:gd name="T0" fmla="*/ 96 w 101"/>
                  <a:gd name="T1" fmla="*/ 68 h 120"/>
                  <a:gd name="T2" fmla="*/ 100 w 101"/>
                  <a:gd name="T3" fmla="*/ 76 h 120"/>
                  <a:gd name="T4" fmla="*/ 101 w 101"/>
                  <a:gd name="T5" fmla="*/ 85 h 120"/>
                  <a:gd name="T6" fmla="*/ 101 w 101"/>
                  <a:gd name="T7" fmla="*/ 90 h 120"/>
                  <a:gd name="T8" fmla="*/ 97 w 101"/>
                  <a:gd name="T9" fmla="*/ 99 h 120"/>
                  <a:gd name="T10" fmla="*/ 94 w 101"/>
                  <a:gd name="T11" fmla="*/ 104 h 120"/>
                  <a:gd name="T12" fmla="*/ 85 w 101"/>
                  <a:gd name="T13" fmla="*/ 111 h 120"/>
                  <a:gd name="T14" fmla="*/ 75 w 101"/>
                  <a:gd name="T15" fmla="*/ 116 h 120"/>
                  <a:gd name="T16" fmla="*/ 61 w 101"/>
                  <a:gd name="T17" fmla="*/ 119 h 120"/>
                  <a:gd name="T18" fmla="*/ 48 w 101"/>
                  <a:gd name="T19" fmla="*/ 120 h 120"/>
                  <a:gd name="T20" fmla="*/ 23 w 101"/>
                  <a:gd name="T21" fmla="*/ 118 h 120"/>
                  <a:gd name="T22" fmla="*/ 12 w 101"/>
                  <a:gd name="T23" fmla="*/ 114 h 120"/>
                  <a:gd name="T24" fmla="*/ 10 w 101"/>
                  <a:gd name="T25" fmla="*/ 86 h 120"/>
                  <a:gd name="T26" fmla="*/ 18 w 101"/>
                  <a:gd name="T27" fmla="*/ 89 h 120"/>
                  <a:gd name="T28" fmla="*/ 26 w 101"/>
                  <a:gd name="T29" fmla="*/ 92 h 120"/>
                  <a:gd name="T30" fmla="*/ 44 w 101"/>
                  <a:gd name="T31" fmla="*/ 94 h 120"/>
                  <a:gd name="T32" fmla="*/ 53 w 101"/>
                  <a:gd name="T33" fmla="*/ 93 h 120"/>
                  <a:gd name="T34" fmla="*/ 62 w 101"/>
                  <a:gd name="T35" fmla="*/ 90 h 120"/>
                  <a:gd name="T36" fmla="*/ 67 w 101"/>
                  <a:gd name="T37" fmla="*/ 86 h 120"/>
                  <a:gd name="T38" fmla="*/ 69 w 101"/>
                  <a:gd name="T39" fmla="*/ 80 h 120"/>
                  <a:gd name="T40" fmla="*/ 68 w 101"/>
                  <a:gd name="T41" fmla="*/ 78 h 120"/>
                  <a:gd name="T42" fmla="*/ 66 w 101"/>
                  <a:gd name="T43" fmla="*/ 74 h 120"/>
                  <a:gd name="T44" fmla="*/ 64 w 101"/>
                  <a:gd name="T45" fmla="*/ 73 h 120"/>
                  <a:gd name="T46" fmla="*/ 53 w 101"/>
                  <a:gd name="T47" fmla="*/ 70 h 120"/>
                  <a:gd name="T48" fmla="*/ 23 w 101"/>
                  <a:gd name="T49" fmla="*/ 47 h 120"/>
                  <a:gd name="T50" fmla="*/ 50 w 101"/>
                  <a:gd name="T51" fmla="*/ 47 h 120"/>
                  <a:gd name="T52" fmla="*/ 60 w 101"/>
                  <a:gd name="T53" fmla="*/ 44 h 120"/>
                  <a:gd name="T54" fmla="*/ 63 w 101"/>
                  <a:gd name="T55" fmla="*/ 41 h 120"/>
                  <a:gd name="T56" fmla="*/ 64 w 101"/>
                  <a:gd name="T57" fmla="*/ 37 h 120"/>
                  <a:gd name="T58" fmla="*/ 62 w 101"/>
                  <a:gd name="T59" fmla="*/ 32 h 120"/>
                  <a:gd name="T60" fmla="*/ 58 w 101"/>
                  <a:gd name="T61" fmla="*/ 29 h 120"/>
                  <a:gd name="T62" fmla="*/ 51 w 101"/>
                  <a:gd name="T63" fmla="*/ 26 h 120"/>
                  <a:gd name="T64" fmla="*/ 44 w 101"/>
                  <a:gd name="T65" fmla="*/ 26 h 120"/>
                  <a:gd name="T66" fmla="*/ 28 w 101"/>
                  <a:gd name="T67" fmla="*/ 28 h 120"/>
                  <a:gd name="T68" fmla="*/ 20 w 101"/>
                  <a:gd name="T69" fmla="*/ 30 h 120"/>
                  <a:gd name="T70" fmla="*/ 3 w 101"/>
                  <a:gd name="T71" fmla="*/ 9 h 120"/>
                  <a:gd name="T72" fmla="*/ 13 w 101"/>
                  <a:gd name="T73" fmla="*/ 5 h 120"/>
                  <a:gd name="T74" fmla="*/ 33 w 101"/>
                  <a:gd name="T75" fmla="*/ 1 h 120"/>
                  <a:gd name="T76" fmla="*/ 44 w 101"/>
                  <a:gd name="T77" fmla="*/ 0 h 120"/>
                  <a:gd name="T78" fmla="*/ 70 w 101"/>
                  <a:gd name="T79" fmla="*/ 4 h 120"/>
                  <a:gd name="T80" fmla="*/ 75 w 101"/>
                  <a:gd name="T81" fmla="*/ 6 h 120"/>
                  <a:gd name="T82" fmla="*/ 85 w 101"/>
                  <a:gd name="T83" fmla="*/ 12 h 120"/>
                  <a:gd name="T84" fmla="*/ 89 w 101"/>
                  <a:gd name="T85" fmla="*/ 16 h 120"/>
                  <a:gd name="T86" fmla="*/ 95 w 101"/>
                  <a:gd name="T87" fmla="*/ 24 h 120"/>
                  <a:gd name="T88" fmla="*/ 96 w 101"/>
                  <a:gd name="T89" fmla="*/ 34 h 120"/>
                  <a:gd name="T90" fmla="*/ 95 w 101"/>
                  <a:gd name="T91" fmla="*/ 41 h 120"/>
                  <a:gd name="T92" fmla="*/ 92 w 101"/>
                  <a:gd name="T93" fmla="*/ 48 h 120"/>
                  <a:gd name="T94" fmla="*/ 81 w 101"/>
                  <a:gd name="T95" fmla="*/ 58 h 120"/>
                  <a:gd name="T96" fmla="*/ 85 w 101"/>
                  <a:gd name="T97" fmla="*/ 59 h 120"/>
                  <a:gd name="T98" fmla="*/ 93 w 101"/>
                  <a:gd name="T99" fmla="*/ 65 h 120"/>
                  <a:gd name="T100" fmla="*/ 96 w 101"/>
                  <a:gd name="T101" fmla="*/ 68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01" h="120">
                    <a:moveTo>
                      <a:pt x="96" y="68"/>
                    </a:moveTo>
                    <a:lnTo>
                      <a:pt x="96" y="68"/>
                    </a:lnTo>
                    <a:lnTo>
                      <a:pt x="98" y="72"/>
                    </a:lnTo>
                    <a:lnTo>
                      <a:pt x="100" y="76"/>
                    </a:lnTo>
                    <a:lnTo>
                      <a:pt x="101" y="80"/>
                    </a:lnTo>
                    <a:lnTo>
                      <a:pt x="101" y="85"/>
                    </a:lnTo>
                    <a:lnTo>
                      <a:pt x="101" y="85"/>
                    </a:lnTo>
                    <a:lnTo>
                      <a:pt x="101" y="90"/>
                    </a:lnTo>
                    <a:lnTo>
                      <a:pt x="99" y="95"/>
                    </a:lnTo>
                    <a:lnTo>
                      <a:pt x="97" y="99"/>
                    </a:lnTo>
                    <a:lnTo>
                      <a:pt x="94" y="104"/>
                    </a:lnTo>
                    <a:lnTo>
                      <a:pt x="94" y="104"/>
                    </a:lnTo>
                    <a:lnTo>
                      <a:pt x="90" y="108"/>
                    </a:lnTo>
                    <a:lnTo>
                      <a:pt x="85" y="111"/>
                    </a:lnTo>
                    <a:lnTo>
                      <a:pt x="80" y="114"/>
                    </a:lnTo>
                    <a:lnTo>
                      <a:pt x="75" y="116"/>
                    </a:lnTo>
                    <a:lnTo>
                      <a:pt x="75" y="116"/>
                    </a:lnTo>
                    <a:lnTo>
                      <a:pt x="61" y="119"/>
                    </a:lnTo>
                    <a:lnTo>
                      <a:pt x="48" y="120"/>
                    </a:lnTo>
                    <a:lnTo>
                      <a:pt x="48" y="120"/>
                    </a:lnTo>
                    <a:lnTo>
                      <a:pt x="35" y="120"/>
                    </a:lnTo>
                    <a:lnTo>
                      <a:pt x="23" y="118"/>
                    </a:lnTo>
                    <a:lnTo>
                      <a:pt x="23" y="118"/>
                    </a:lnTo>
                    <a:lnTo>
                      <a:pt x="12" y="114"/>
                    </a:lnTo>
                    <a:lnTo>
                      <a:pt x="0" y="109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8" y="89"/>
                    </a:lnTo>
                    <a:lnTo>
                      <a:pt x="26" y="92"/>
                    </a:lnTo>
                    <a:lnTo>
                      <a:pt x="26" y="92"/>
                    </a:lnTo>
                    <a:lnTo>
                      <a:pt x="35" y="93"/>
                    </a:lnTo>
                    <a:lnTo>
                      <a:pt x="44" y="94"/>
                    </a:lnTo>
                    <a:lnTo>
                      <a:pt x="44" y="94"/>
                    </a:lnTo>
                    <a:lnTo>
                      <a:pt x="53" y="93"/>
                    </a:lnTo>
                    <a:lnTo>
                      <a:pt x="62" y="90"/>
                    </a:lnTo>
                    <a:lnTo>
                      <a:pt x="62" y="90"/>
                    </a:lnTo>
                    <a:lnTo>
                      <a:pt x="64" y="89"/>
                    </a:lnTo>
                    <a:lnTo>
                      <a:pt x="67" y="86"/>
                    </a:lnTo>
                    <a:lnTo>
                      <a:pt x="68" y="84"/>
                    </a:lnTo>
                    <a:lnTo>
                      <a:pt x="69" y="80"/>
                    </a:lnTo>
                    <a:lnTo>
                      <a:pt x="69" y="80"/>
                    </a:lnTo>
                    <a:lnTo>
                      <a:pt x="68" y="78"/>
                    </a:lnTo>
                    <a:lnTo>
                      <a:pt x="67" y="76"/>
                    </a:lnTo>
                    <a:lnTo>
                      <a:pt x="66" y="74"/>
                    </a:lnTo>
                    <a:lnTo>
                      <a:pt x="64" y="73"/>
                    </a:lnTo>
                    <a:lnTo>
                      <a:pt x="64" y="73"/>
                    </a:lnTo>
                    <a:lnTo>
                      <a:pt x="59" y="71"/>
                    </a:lnTo>
                    <a:lnTo>
                      <a:pt x="53" y="70"/>
                    </a:lnTo>
                    <a:lnTo>
                      <a:pt x="23" y="70"/>
                    </a:lnTo>
                    <a:lnTo>
                      <a:pt x="23" y="47"/>
                    </a:lnTo>
                    <a:lnTo>
                      <a:pt x="50" y="47"/>
                    </a:lnTo>
                    <a:lnTo>
                      <a:pt x="50" y="47"/>
                    </a:lnTo>
                    <a:lnTo>
                      <a:pt x="55" y="46"/>
                    </a:lnTo>
                    <a:lnTo>
                      <a:pt x="60" y="44"/>
                    </a:lnTo>
                    <a:lnTo>
                      <a:pt x="60" y="44"/>
                    </a:lnTo>
                    <a:lnTo>
                      <a:pt x="63" y="41"/>
                    </a:lnTo>
                    <a:lnTo>
                      <a:pt x="64" y="37"/>
                    </a:lnTo>
                    <a:lnTo>
                      <a:pt x="64" y="37"/>
                    </a:lnTo>
                    <a:lnTo>
                      <a:pt x="63" y="35"/>
                    </a:lnTo>
                    <a:lnTo>
                      <a:pt x="62" y="32"/>
                    </a:lnTo>
                    <a:lnTo>
                      <a:pt x="61" y="30"/>
                    </a:lnTo>
                    <a:lnTo>
                      <a:pt x="58" y="29"/>
                    </a:lnTo>
                    <a:lnTo>
                      <a:pt x="58" y="29"/>
                    </a:lnTo>
                    <a:lnTo>
                      <a:pt x="51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35" y="26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0" y="30"/>
                    </a:lnTo>
                    <a:lnTo>
                      <a:pt x="13" y="34"/>
                    </a:lnTo>
                    <a:lnTo>
                      <a:pt x="3" y="9"/>
                    </a:lnTo>
                    <a:lnTo>
                      <a:pt x="3" y="9"/>
                    </a:lnTo>
                    <a:lnTo>
                      <a:pt x="13" y="5"/>
                    </a:lnTo>
                    <a:lnTo>
                      <a:pt x="23" y="2"/>
                    </a:lnTo>
                    <a:lnTo>
                      <a:pt x="33" y="1"/>
                    </a:lnTo>
                    <a:lnTo>
                      <a:pt x="44" y="0"/>
                    </a:lnTo>
                    <a:lnTo>
                      <a:pt x="44" y="0"/>
                    </a:lnTo>
                    <a:lnTo>
                      <a:pt x="57" y="1"/>
                    </a:lnTo>
                    <a:lnTo>
                      <a:pt x="70" y="4"/>
                    </a:lnTo>
                    <a:lnTo>
                      <a:pt x="70" y="4"/>
                    </a:lnTo>
                    <a:lnTo>
                      <a:pt x="75" y="6"/>
                    </a:lnTo>
                    <a:lnTo>
                      <a:pt x="80" y="9"/>
                    </a:lnTo>
                    <a:lnTo>
                      <a:pt x="85" y="12"/>
                    </a:lnTo>
                    <a:lnTo>
                      <a:pt x="89" y="16"/>
                    </a:lnTo>
                    <a:lnTo>
                      <a:pt x="89" y="16"/>
                    </a:lnTo>
                    <a:lnTo>
                      <a:pt x="92" y="20"/>
                    </a:lnTo>
                    <a:lnTo>
                      <a:pt x="95" y="24"/>
                    </a:lnTo>
                    <a:lnTo>
                      <a:pt x="96" y="29"/>
                    </a:lnTo>
                    <a:lnTo>
                      <a:pt x="96" y="34"/>
                    </a:lnTo>
                    <a:lnTo>
                      <a:pt x="96" y="34"/>
                    </a:lnTo>
                    <a:lnTo>
                      <a:pt x="95" y="41"/>
                    </a:lnTo>
                    <a:lnTo>
                      <a:pt x="92" y="48"/>
                    </a:lnTo>
                    <a:lnTo>
                      <a:pt x="92" y="48"/>
                    </a:lnTo>
                    <a:lnTo>
                      <a:pt x="87" y="53"/>
                    </a:lnTo>
                    <a:lnTo>
                      <a:pt x="81" y="58"/>
                    </a:lnTo>
                    <a:lnTo>
                      <a:pt x="81" y="58"/>
                    </a:lnTo>
                    <a:lnTo>
                      <a:pt x="85" y="59"/>
                    </a:lnTo>
                    <a:lnTo>
                      <a:pt x="89" y="62"/>
                    </a:lnTo>
                    <a:lnTo>
                      <a:pt x="93" y="65"/>
                    </a:lnTo>
                    <a:lnTo>
                      <a:pt x="96" y="68"/>
                    </a:lnTo>
                    <a:lnTo>
                      <a:pt x="96" y="6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13">
                <a:extLst>
                  <a:ext uri="{FF2B5EF4-FFF2-40B4-BE49-F238E27FC236}">
                    <a16:creationId xmlns:a16="http://schemas.microsoft.com/office/drawing/2014/main" id="{4E46A879-A50A-4814-9F82-14B6E9F71976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1256966" y="1377950"/>
                <a:ext cx="101600" cy="93662"/>
              </a:xfrm>
              <a:custGeom>
                <a:avLst/>
                <a:gdLst>
                  <a:gd name="T0" fmla="*/ 31 w 128"/>
                  <a:gd name="T1" fmla="*/ 112 h 119"/>
                  <a:gd name="T2" fmla="*/ 21 w 128"/>
                  <a:gd name="T3" fmla="*/ 105 h 119"/>
                  <a:gd name="T4" fmla="*/ 7 w 128"/>
                  <a:gd name="T5" fmla="*/ 87 h 119"/>
                  <a:gd name="T6" fmla="*/ 0 w 128"/>
                  <a:gd name="T7" fmla="*/ 65 h 119"/>
                  <a:gd name="T8" fmla="*/ 2 w 128"/>
                  <a:gd name="T9" fmla="*/ 43 h 119"/>
                  <a:gd name="T10" fmla="*/ 7 w 128"/>
                  <a:gd name="T11" fmla="*/ 32 h 119"/>
                  <a:gd name="T12" fmla="*/ 11 w 128"/>
                  <a:gd name="T13" fmla="*/ 24 h 119"/>
                  <a:gd name="T14" fmla="*/ 24 w 128"/>
                  <a:gd name="T15" fmla="*/ 12 h 119"/>
                  <a:gd name="T16" fmla="*/ 31 w 128"/>
                  <a:gd name="T17" fmla="*/ 7 h 119"/>
                  <a:gd name="T18" fmla="*/ 47 w 128"/>
                  <a:gd name="T19" fmla="*/ 2 h 119"/>
                  <a:gd name="T20" fmla="*/ 65 w 128"/>
                  <a:gd name="T21" fmla="*/ 0 h 119"/>
                  <a:gd name="T22" fmla="*/ 81 w 128"/>
                  <a:gd name="T23" fmla="*/ 2 h 119"/>
                  <a:gd name="T24" fmla="*/ 97 w 128"/>
                  <a:gd name="T25" fmla="*/ 7 h 119"/>
                  <a:gd name="T26" fmla="*/ 102 w 128"/>
                  <a:gd name="T27" fmla="*/ 10 h 119"/>
                  <a:gd name="T28" fmla="*/ 115 w 128"/>
                  <a:gd name="T29" fmla="*/ 22 h 119"/>
                  <a:gd name="T30" fmla="*/ 126 w 128"/>
                  <a:gd name="T31" fmla="*/ 42 h 119"/>
                  <a:gd name="T32" fmla="*/ 128 w 128"/>
                  <a:gd name="T33" fmla="*/ 64 h 119"/>
                  <a:gd name="T34" fmla="*/ 124 w 128"/>
                  <a:gd name="T35" fmla="*/ 81 h 119"/>
                  <a:gd name="T36" fmla="*/ 122 w 128"/>
                  <a:gd name="T37" fmla="*/ 86 h 119"/>
                  <a:gd name="T38" fmla="*/ 111 w 128"/>
                  <a:gd name="T39" fmla="*/ 100 h 119"/>
                  <a:gd name="T40" fmla="*/ 97 w 128"/>
                  <a:gd name="T41" fmla="*/ 112 h 119"/>
                  <a:gd name="T42" fmla="*/ 89 w 128"/>
                  <a:gd name="T43" fmla="*/ 115 h 119"/>
                  <a:gd name="T44" fmla="*/ 73 w 128"/>
                  <a:gd name="T45" fmla="*/ 119 h 119"/>
                  <a:gd name="T46" fmla="*/ 56 w 128"/>
                  <a:gd name="T47" fmla="*/ 119 h 119"/>
                  <a:gd name="T48" fmla="*/ 39 w 128"/>
                  <a:gd name="T49" fmla="*/ 115 h 119"/>
                  <a:gd name="T50" fmla="*/ 31 w 128"/>
                  <a:gd name="T51" fmla="*/ 112 h 119"/>
                  <a:gd name="T52" fmla="*/ 80 w 128"/>
                  <a:gd name="T53" fmla="*/ 87 h 119"/>
                  <a:gd name="T54" fmla="*/ 91 w 128"/>
                  <a:gd name="T55" fmla="*/ 76 h 119"/>
                  <a:gd name="T56" fmla="*/ 94 w 128"/>
                  <a:gd name="T57" fmla="*/ 68 h 119"/>
                  <a:gd name="T58" fmla="*/ 94 w 128"/>
                  <a:gd name="T59" fmla="*/ 50 h 119"/>
                  <a:gd name="T60" fmla="*/ 91 w 128"/>
                  <a:gd name="T61" fmla="*/ 42 h 119"/>
                  <a:gd name="T62" fmla="*/ 80 w 128"/>
                  <a:gd name="T63" fmla="*/ 30 h 119"/>
                  <a:gd name="T64" fmla="*/ 73 w 128"/>
                  <a:gd name="T65" fmla="*/ 27 h 119"/>
                  <a:gd name="T66" fmla="*/ 57 w 128"/>
                  <a:gd name="T67" fmla="*/ 27 h 119"/>
                  <a:gd name="T68" fmla="*/ 48 w 128"/>
                  <a:gd name="T69" fmla="*/ 30 h 119"/>
                  <a:gd name="T70" fmla="*/ 37 w 128"/>
                  <a:gd name="T71" fmla="*/ 42 h 119"/>
                  <a:gd name="T72" fmla="*/ 34 w 128"/>
                  <a:gd name="T73" fmla="*/ 50 h 119"/>
                  <a:gd name="T74" fmla="*/ 34 w 128"/>
                  <a:gd name="T75" fmla="*/ 68 h 119"/>
                  <a:gd name="T76" fmla="*/ 37 w 128"/>
                  <a:gd name="T77" fmla="*/ 76 h 119"/>
                  <a:gd name="T78" fmla="*/ 48 w 128"/>
                  <a:gd name="T79" fmla="*/ 87 h 119"/>
                  <a:gd name="T80" fmla="*/ 57 w 128"/>
                  <a:gd name="T81" fmla="*/ 90 h 119"/>
                  <a:gd name="T82" fmla="*/ 73 w 128"/>
                  <a:gd name="T83" fmla="*/ 90 h 119"/>
                  <a:gd name="T84" fmla="*/ 80 w 128"/>
                  <a:gd name="T85" fmla="*/ 87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28" h="119">
                    <a:moveTo>
                      <a:pt x="31" y="112"/>
                    </a:moveTo>
                    <a:lnTo>
                      <a:pt x="31" y="112"/>
                    </a:lnTo>
                    <a:lnTo>
                      <a:pt x="26" y="109"/>
                    </a:lnTo>
                    <a:lnTo>
                      <a:pt x="21" y="105"/>
                    </a:lnTo>
                    <a:lnTo>
                      <a:pt x="13" y="96"/>
                    </a:lnTo>
                    <a:lnTo>
                      <a:pt x="7" y="87"/>
                    </a:lnTo>
                    <a:lnTo>
                      <a:pt x="3" y="76"/>
                    </a:lnTo>
                    <a:lnTo>
                      <a:pt x="0" y="65"/>
                    </a:lnTo>
                    <a:lnTo>
                      <a:pt x="0" y="54"/>
                    </a:lnTo>
                    <a:lnTo>
                      <a:pt x="2" y="43"/>
                    </a:lnTo>
                    <a:lnTo>
                      <a:pt x="4" y="37"/>
                    </a:lnTo>
                    <a:lnTo>
                      <a:pt x="7" y="32"/>
                    </a:lnTo>
                    <a:lnTo>
                      <a:pt x="7" y="32"/>
                    </a:lnTo>
                    <a:lnTo>
                      <a:pt x="11" y="24"/>
                    </a:lnTo>
                    <a:lnTo>
                      <a:pt x="17" y="18"/>
                    </a:lnTo>
                    <a:lnTo>
                      <a:pt x="24" y="12"/>
                    </a:lnTo>
                    <a:lnTo>
                      <a:pt x="31" y="7"/>
                    </a:lnTo>
                    <a:lnTo>
                      <a:pt x="31" y="7"/>
                    </a:lnTo>
                    <a:lnTo>
                      <a:pt x="39" y="4"/>
                    </a:lnTo>
                    <a:lnTo>
                      <a:pt x="47" y="2"/>
                    </a:lnTo>
                    <a:lnTo>
                      <a:pt x="56" y="0"/>
                    </a:lnTo>
                    <a:lnTo>
                      <a:pt x="65" y="0"/>
                    </a:lnTo>
                    <a:lnTo>
                      <a:pt x="73" y="0"/>
                    </a:lnTo>
                    <a:lnTo>
                      <a:pt x="81" y="2"/>
                    </a:lnTo>
                    <a:lnTo>
                      <a:pt x="89" y="4"/>
                    </a:lnTo>
                    <a:lnTo>
                      <a:pt x="97" y="7"/>
                    </a:lnTo>
                    <a:lnTo>
                      <a:pt x="97" y="7"/>
                    </a:lnTo>
                    <a:lnTo>
                      <a:pt x="102" y="10"/>
                    </a:lnTo>
                    <a:lnTo>
                      <a:pt x="107" y="14"/>
                    </a:lnTo>
                    <a:lnTo>
                      <a:pt x="115" y="22"/>
                    </a:lnTo>
                    <a:lnTo>
                      <a:pt x="121" y="31"/>
                    </a:lnTo>
                    <a:lnTo>
                      <a:pt x="126" y="42"/>
                    </a:lnTo>
                    <a:lnTo>
                      <a:pt x="128" y="53"/>
                    </a:lnTo>
                    <a:lnTo>
                      <a:pt x="128" y="64"/>
                    </a:lnTo>
                    <a:lnTo>
                      <a:pt x="126" y="75"/>
                    </a:lnTo>
                    <a:lnTo>
                      <a:pt x="124" y="81"/>
                    </a:lnTo>
                    <a:lnTo>
                      <a:pt x="122" y="86"/>
                    </a:lnTo>
                    <a:lnTo>
                      <a:pt x="122" y="86"/>
                    </a:lnTo>
                    <a:lnTo>
                      <a:pt x="117" y="94"/>
                    </a:lnTo>
                    <a:lnTo>
                      <a:pt x="111" y="100"/>
                    </a:lnTo>
                    <a:lnTo>
                      <a:pt x="105" y="107"/>
                    </a:lnTo>
                    <a:lnTo>
                      <a:pt x="97" y="112"/>
                    </a:lnTo>
                    <a:lnTo>
                      <a:pt x="97" y="112"/>
                    </a:lnTo>
                    <a:lnTo>
                      <a:pt x="89" y="115"/>
                    </a:lnTo>
                    <a:lnTo>
                      <a:pt x="81" y="117"/>
                    </a:lnTo>
                    <a:lnTo>
                      <a:pt x="73" y="119"/>
                    </a:lnTo>
                    <a:lnTo>
                      <a:pt x="65" y="119"/>
                    </a:lnTo>
                    <a:lnTo>
                      <a:pt x="56" y="119"/>
                    </a:lnTo>
                    <a:lnTo>
                      <a:pt x="47" y="117"/>
                    </a:lnTo>
                    <a:lnTo>
                      <a:pt x="39" y="115"/>
                    </a:lnTo>
                    <a:lnTo>
                      <a:pt x="31" y="112"/>
                    </a:lnTo>
                    <a:lnTo>
                      <a:pt x="31" y="112"/>
                    </a:lnTo>
                    <a:close/>
                    <a:moveTo>
                      <a:pt x="80" y="87"/>
                    </a:moveTo>
                    <a:lnTo>
                      <a:pt x="80" y="87"/>
                    </a:lnTo>
                    <a:lnTo>
                      <a:pt x="87" y="82"/>
                    </a:lnTo>
                    <a:lnTo>
                      <a:pt x="91" y="76"/>
                    </a:lnTo>
                    <a:lnTo>
                      <a:pt x="91" y="76"/>
                    </a:lnTo>
                    <a:lnTo>
                      <a:pt x="94" y="68"/>
                    </a:lnTo>
                    <a:lnTo>
                      <a:pt x="96" y="59"/>
                    </a:lnTo>
                    <a:lnTo>
                      <a:pt x="94" y="50"/>
                    </a:lnTo>
                    <a:lnTo>
                      <a:pt x="91" y="42"/>
                    </a:lnTo>
                    <a:lnTo>
                      <a:pt x="91" y="42"/>
                    </a:lnTo>
                    <a:lnTo>
                      <a:pt x="87" y="35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73" y="27"/>
                    </a:lnTo>
                    <a:lnTo>
                      <a:pt x="65" y="26"/>
                    </a:lnTo>
                    <a:lnTo>
                      <a:pt x="57" y="27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2" y="35"/>
                    </a:lnTo>
                    <a:lnTo>
                      <a:pt x="37" y="42"/>
                    </a:lnTo>
                    <a:lnTo>
                      <a:pt x="37" y="42"/>
                    </a:lnTo>
                    <a:lnTo>
                      <a:pt x="34" y="50"/>
                    </a:lnTo>
                    <a:lnTo>
                      <a:pt x="33" y="59"/>
                    </a:lnTo>
                    <a:lnTo>
                      <a:pt x="34" y="68"/>
                    </a:lnTo>
                    <a:lnTo>
                      <a:pt x="37" y="76"/>
                    </a:lnTo>
                    <a:lnTo>
                      <a:pt x="37" y="76"/>
                    </a:lnTo>
                    <a:lnTo>
                      <a:pt x="42" y="82"/>
                    </a:lnTo>
                    <a:lnTo>
                      <a:pt x="48" y="87"/>
                    </a:lnTo>
                    <a:lnTo>
                      <a:pt x="48" y="87"/>
                    </a:lnTo>
                    <a:lnTo>
                      <a:pt x="57" y="90"/>
                    </a:lnTo>
                    <a:lnTo>
                      <a:pt x="65" y="91"/>
                    </a:lnTo>
                    <a:lnTo>
                      <a:pt x="73" y="90"/>
                    </a:lnTo>
                    <a:lnTo>
                      <a:pt x="80" y="87"/>
                    </a:lnTo>
                    <a:lnTo>
                      <a:pt x="80" y="8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14">
                <a:extLst>
                  <a:ext uri="{FF2B5EF4-FFF2-40B4-BE49-F238E27FC236}">
                    <a16:creationId xmlns:a16="http://schemas.microsoft.com/office/drawing/2014/main" id="{FC3D5B90-6BCD-4F50-97D9-807A39A9E79F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1374441" y="1379538"/>
                <a:ext cx="82550" cy="90487"/>
              </a:xfrm>
              <a:custGeom>
                <a:avLst/>
                <a:gdLst>
                  <a:gd name="T0" fmla="*/ 99 w 104"/>
                  <a:gd name="T1" fmla="*/ 64 h 115"/>
                  <a:gd name="T2" fmla="*/ 103 w 104"/>
                  <a:gd name="T3" fmla="*/ 72 h 115"/>
                  <a:gd name="T4" fmla="*/ 104 w 104"/>
                  <a:gd name="T5" fmla="*/ 81 h 115"/>
                  <a:gd name="T6" fmla="*/ 104 w 104"/>
                  <a:gd name="T7" fmla="*/ 88 h 115"/>
                  <a:gd name="T8" fmla="*/ 98 w 104"/>
                  <a:gd name="T9" fmla="*/ 101 h 115"/>
                  <a:gd name="T10" fmla="*/ 92 w 104"/>
                  <a:gd name="T11" fmla="*/ 106 h 115"/>
                  <a:gd name="T12" fmla="*/ 78 w 104"/>
                  <a:gd name="T13" fmla="*/ 113 h 115"/>
                  <a:gd name="T14" fmla="*/ 59 w 104"/>
                  <a:gd name="T15" fmla="*/ 115 h 115"/>
                  <a:gd name="T16" fmla="*/ 0 w 104"/>
                  <a:gd name="T17" fmla="*/ 0 h 115"/>
                  <a:gd name="T18" fmla="*/ 56 w 104"/>
                  <a:gd name="T19" fmla="*/ 0 h 115"/>
                  <a:gd name="T20" fmla="*/ 72 w 104"/>
                  <a:gd name="T21" fmla="*/ 2 h 115"/>
                  <a:gd name="T22" fmla="*/ 88 w 104"/>
                  <a:gd name="T23" fmla="*/ 8 h 115"/>
                  <a:gd name="T24" fmla="*/ 93 w 104"/>
                  <a:gd name="T25" fmla="*/ 12 h 115"/>
                  <a:gd name="T26" fmla="*/ 99 w 104"/>
                  <a:gd name="T27" fmla="*/ 23 h 115"/>
                  <a:gd name="T28" fmla="*/ 99 w 104"/>
                  <a:gd name="T29" fmla="*/ 30 h 115"/>
                  <a:gd name="T30" fmla="*/ 95 w 104"/>
                  <a:gd name="T31" fmla="*/ 45 h 115"/>
                  <a:gd name="T32" fmla="*/ 90 w 104"/>
                  <a:gd name="T33" fmla="*/ 50 h 115"/>
                  <a:gd name="T34" fmla="*/ 84 w 104"/>
                  <a:gd name="T35" fmla="*/ 54 h 115"/>
                  <a:gd name="T36" fmla="*/ 92 w 104"/>
                  <a:gd name="T37" fmla="*/ 58 h 115"/>
                  <a:gd name="T38" fmla="*/ 99 w 104"/>
                  <a:gd name="T39" fmla="*/ 64 h 115"/>
                  <a:gd name="T40" fmla="*/ 31 w 104"/>
                  <a:gd name="T41" fmla="*/ 46 h 115"/>
                  <a:gd name="T42" fmla="*/ 53 w 104"/>
                  <a:gd name="T43" fmla="*/ 46 h 115"/>
                  <a:gd name="T44" fmla="*/ 63 w 104"/>
                  <a:gd name="T45" fmla="*/ 43 h 115"/>
                  <a:gd name="T46" fmla="*/ 67 w 104"/>
                  <a:gd name="T47" fmla="*/ 34 h 115"/>
                  <a:gd name="T48" fmla="*/ 66 w 104"/>
                  <a:gd name="T49" fmla="*/ 29 h 115"/>
                  <a:gd name="T50" fmla="*/ 59 w 104"/>
                  <a:gd name="T51" fmla="*/ 24 h 115"/>
                  <a:gd name="T52" fmla="*/ 31 w 104"/>
                  <a:gd name="T53" fmla="*/ 23 h 115"/>
                  <a:gd name="T54" fmla="*/ 72 w 104"/>
                  <a:gd name="T55" fmla="*/ 79 h 115"/>
                  <a:gd name="T56" fmla="*/ 71 w 104"/>
                  <a:gd name="T57" fmla="*/ 74 h 115"/>
                  <a:gd name="T58" fmla="*/ 64 w 104"/>
                  <a:gd name="T59" fmla="*/ 68 h 115"/>
                  <a:gd name="T60" fmla="*/ 32 w 104"/>
                  <a:gd name="T61" fmla="*/ 67 h 115"/>
                  <a:gd name="T62" fmla="*/ 58 w 104"/>
                  <a:gd name="T63" fmla="*/ 91 h 115"/>
                  <a:gd name="T64" fmla="*/ 64 w 104"/>
                  <a:gd name="T65" fmla="*/ 90 h 115"/>
                  <a:gd name="T66" fmla="*/ 71 w 104"/>
                  <a:gd name="T67" fmla="*/ 84 h 115"/>
                  <a:gd name="T68" fmla="*/ 72 w 104"/>
                  <a:gd name="T69" fmla="*/ 79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4" h="115">
                    <a:moveTo>
                      <a:pt x="99" y="64"/>
                    </a:moveTo>
                    <a:lnTo>
                      <a:pt x="99" y="64"/>
                    </a:lnTo>
                    <a:lnTo>
                      <a:pt x="101" y="68"/>
                    </a:lnTo>
                    <a:lnTo>
                      <a:pt x="103" y="72"/>
                    </a:lnTo>
                    <a:lnTo>
                      <a:pt x="104" y="77"/>
                    </a:lnTo>
                    <a:lnTo>
                      <a:pt x="104" y="81"/>
                    </a:lnTo>
                    <a:lnTo>
                      <a:pt x="104" y="81"/>
                    </a:lnTo>
                    <a:lnTo>
                      <a:pt x="104" y="88"/>
                    </a:lnTo>
                    <a:lnTo>
                      <a:pt x="101" y="95"/>
                    </a:lnTo>
                    <a:lnTo>
                      <a:pt x="98" y="101"/>
                    </a:lnTo>
                    <a:lnTo>
                      <a:pt x="92" y="106"/>
                    </a:lnTo>
                    <a:lnTo>
                      <a:pt x="92" y="106"/>
                    </a:lnTo>
                    <a:lnTo>
                      <a:pt x="86" y="110"/>
                    </a:lnTo>
                    <a:lnTo>
                      <a:pt x="78" y="113"/>
                    </a:lnTo>
                    <a:lnTo>
                      <a:pt x="69" y="114"/>
                    </a:lnTo>
                    <a:lnTo>
                      <a:pt x="59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4" y="0"/>
                    </a:lnTo>
                    <a:lnTo>
                      <a:pt x="72" y="2"/>
                    </a:lnTo>
                    <a:lnTo>
                      <a:pt x="80" y="4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93" y="12"/>
                    </a:lnTo>
                    <a:lnTo>
                      <a:pt x="96" y="17"/>
                    </a:lnTo>
                    <a:lnTo>
                      <a:pt x="99" y="23"/>
                    </a:lnTo>
                    <a:lnTo>
                      <a:pt x="99" y="30"/>
                    </a:lnTo>
                    <a:lnTo>
                      <a:pt x="99" y="30"/>
                    </a:lnTo>
                    <a:lnTo>
                      <a:pt x="98" y="37"/>
                    </a:lnTo>
                    <a:lnTo>
                      <a:pt x="95" y="45"/>
                    </a:lnTo>
                    <a:lnTo>
                      <a:pt x="95" y="45"/>
                    </a:lnTo>
                    <a:lnTo>
                      <a:pt x="90" y="50"/>
                    </a:lnTo>
                    <a:lnTo>
                      <a:pt x="84" y="54"/>
                    </a:lnTo>
                    <a:lnTo>
                      <a:pt x="84" y="54"/>
                    </a:lnTo>
                    <a:lnTo>
                      <a:pt x="88" y="56"/>
                    </a:lnTo>
                    <a:lnTo>
                      <a:pt x="92" y="58"/>
                    </a:lnTo>
                    <a:lnTo>
                      <a:pt x="96" y="61"/>
                    </a:lnTo>
                    <a:lnTo>
                      <a:pt x="99" y="64"/>
                    </a:lnTo>
                    <a:lnTo>
                      <a:pt x="99" y="64"/>
                    </a:lnTo>
                    <a:close/>
                    <a:moveTo>
                      <a:pt x="31" y="46"/>
                    </a:moveTo>
                    <a:lnTo>
                      <a:pt x="53" y="46"/>
                    </a:lnTo>
                    <a:lnTo>
                      <a:pt x="53" y="46"/>
                    </a:lnTo>
                    <a:lnTo>
                      <a:pt x="59" y="45"/>
                    </a:lnTo>
                    <a:lnTo>
                      <a:pt x="63" y="43"/>
                    </a:lnTo>
                    <a:lnTo>
                      <a:pt x="66" y="39"/>
                    </a:lnTo>
                    <a:lnTo>
                      <a:pt x="67" y="34"/>
                    </a:lnTo>
                    <a:lnTo>
                      <a:pt x="67" y="34"/>
                    </a:lnTo>
                    <a:lnTo>
                      <a:pt x="66" y="29"/>
                    </a:lnTo>
                    <a:lnTo>
                      <a:pt x="63" y="26"/>
                    </a:lnTo>
                    <a:lnTo>
                      <a:pt x="59" y="24"/>
                    </a:lnTo>
                    <a:lnTo>
                      <a:pt x="53" y="23"/>
                    </a:lnTo>
                    <a:lnTo>
                      <a:pt x="31" y="23"/>
                    </a:lnTo>
                    <a:lnTo>
                      <a:pt x="31" y="46"/>
                    </a:lnTo>
                    <a:close/>
                    <a:moveTo>
                      <a:pt x="72" y="79"/>
                    </a:moveTo>
                    <a:lnTo>
                      <a:pt x="72" y="79"/>
                    </a:lnTo>
                    <a:lnTo>
                      <a:pt x="71" y="74"/>
                    </a:lnTo>
                    <a:lnTo>
                      <a:pt x="68" y="70"/>
                    </a:lnTo>
                    <a:lnTo>
                      <a:pt x="64" y="68"/>
                    </a:lnTo>
                    <a:lnTo>
                      <a:pt x="58" y="67"/>
                    </a:lnTo>
                    <a:lnTo>
                      <a:pt x="32" y="67"/>
                    </a:lnTo>
                    <a:lnTo>
                      <a:pt x="32" y="91"/>
                    </a:lnTo>
                    <a:lnTo>
                      <a:pt x="58" y="91"/>
                    </a:lnTo>
                    <a:lnTo>
                      <a:pt x="58" y="91"/>
                    </a:lnTo>
                    <a:lnTo>
                      <a:pt x="64" y="90"/>
                    </a:lnTo>
                    <a:lnTo>
                      <a:pt x="68" y="88"/>
                    </a:lnTo>
                    <a:lnTo>
                      <a:pt x="71" y="84"/>
                    </a:lnTo>
                    <a:lnTo>
                      <a:pt x="72" y="79"/>
                    </a:lnTo>
                    <a:lnTo>
                      <a:pt x="72" y="7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15">
                <a:extLst>
                  <a:ext uri="{FF2B5EF4-FFF2-40B4-BE49-F238E27FC236}">
                    <a16:creationId xmlns:a16="http://schemas.microsoft.com/office/drawing/2014/main" id="{E6148DD3-A57E-4C54-8C1B-6298A8449977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1474454" y="1379538"/>
                <a:ext cx="115888" cy="90487"/>
              </a:xfrm>
              <a:custGeom>
                <a:avLst/>
                <a:gdLst>
                  <a:gd name="T0" fmla="*/ 91 w 147"/>
                  <a:gd name="T1" fmla="*/ 46 h 115"/>
                  <a:gd name="T2" fmla="*/ 91 w 147"/>
                  <a:gd name="T3" fmla="*/ 46 h 115"/>
                  <a:gd name="T4" fmla="*/ 97 w 147"/>
                  <a:gd name="T5" fmla="*/ 51 h 115"/>
                  <a:gd name="T6" fmla="*/ 100 w 147"/>
                  <a:gd name="T7" fmla="*/ 58 h 115"/>
                  <a:gd name="T8" fmla="*/ 103 w 147"/>
                  <a:gd name="T9" fmla="*/ 66 h 115"/>
                  <a:gd name="T10" fmla="*/ 103 w 147"/>
                  <a:gd name="T11" fmla="*/ 73 h 115"/>
                  <a:gd name="T12" fmla="*/ 103 w 147"/>
                  <a:gd name="T13" fmla="*/ 73 h 115"/>
                  <a:gd name="T14" fmla="*/ 102 w 147"/>
                  <a:gd name="T15" fmla="*/ 82 h 115"/>
                  <a:gd name="T16" fmla="*/ 100 w 147"/>
                  <a:gd name="T17" fmla="*/ 90 h 115"/>
                  <a:gd name="T18" fmla="*/ 96 w 147"/>
                  <a:gd name="T19" fmla="*/ 97 h 115"/>
                  <a:gd name="T20" fmla="*/ 90 w 147"/>
                  <a:gd name="T21" fmla="*/ 104 h 115"/>
                  <a:gd name="T22" fmla="*/ 90 w 147"/>
                  <a:gd name="T23" fmla="*/ 104 h 115"/>
                  <a:gd name="T24" fmla="*/ 82 w 147"/>
                  <a:gd name="T25" fmla="*/ 109 h 115"/>
                  <a:gd name="T26" fmla="*/ 73 w 147"/>
                  <a:gd name="T27" fmla="*/ 113 h 115"/>
                  <a:gd name="T28" fmla="*/ 64 w 147"/>
                  <a:gd name="T29" fmla="*/ 115 h 115"/>
                  <a:gd name="T30" fmla="*/ 55 w 147"/>
                  <a:gd name="T31" fmla="*/ 115 h 115"/>
                  <a:gd name="T32" fmla="*/ 0 w 147"/>
                  <a:gd name="T33" fmla="*/ 115 h 115"/>
                  <a:gd name="T34" fmla="*/ 0 w 147"/>
                  <a:gd name="T35" fmla="*/ 0 h 115"/>
                  <a:gd name="T36" fmla="*/ 32 w 147"/>
                  <a:gd name="T37" fmla="*/ 0 h 115"/>
                  <a:gd name="T38" fmla="*/ 32 w 147"/>
                  <a:gd name="T39" fmla="*/ 36 h 115"/>
                  <a:gd name="T40" fmla="*/ 59 w 147"/>
                  <a:gd name="T41" fmla="*/ 36 h 115"/>
                  <a:gd name="T42" fmla="*/ 59 w 147"/>
                  <a:gd name="T43" fmla="*/ 36 h 115"/>
                  <a:gd name="T44" fmla="*/ 68 w 147"/>
                  <a:gd name="T45" fmla="*/ 37 h 115"/>
                  <a:gd name="T46" fmla="*/ 76 w 147"/>
                  <a:gd name="T47" fmla="*/ 38 h 115"/>
                  <a:gd name="T48" fmla="*/ 84 w 147"/>
                  <a:gd name="T49" fmla="*/ 41 h 115"/>
                  <a:gd name="T50" fmla="*/ 91 w 147"/>
                  <a:gd name="T51" fmla="*/ 46 h 115"/>
                  <a:gd name="T52" fmla="*/ 91 w 147"/>
                  <a:gd name="T53" fmla="*/ 46 h 115"/>
                  <a:gd name="T54" fmla="*/ 66 w 147"/>
                  <a:gd name="T55" fmla="*/ 86 h 115"/>
                  <a:gd name="T56" fmla="*/ 66 w 147"/>
                  <a:gd name="T57" fmla="*/ 86 h 115"/>
                  <a:gd name="T58" fmla="*/ 68 w 147"/>
                  <a:gd name="T59" fmla="*/ 84 h 115"/>
                  <a:gd name="T60" fmla="*/ 69 w 147"/>
                  <a:gd name="T61" fmla="*/ 81 h 115"/>
                  <a:gd name="T62" fmla="*/ 70 w 147"/>
                  <a:gd name="T63" fmla="*/ 77 h 115"/>
                  <a:gd name="T64" fmla="*/ 71 w 147"/>
                  <a:gd name="T65" fmla="*/ 74 h 115"/>
                  <a:gd name="T66" fmla="*/ 71 w 147"/>
                  <a:gd name="T67" fmla="*/ 74 h 115"/>
                  <a:gd name="T68" fmla="*/ 70 w 147"/>
                  <a:gd name="T69" fmla="*/ 71 h 115"/>
                  <a:gd name="T70" fmla="*/ 70 w 147"/>
                  <a:gd name="T71" fmla="*/ 68 h 115"/>
                  <a:gd name="T72" fmla="*/ 68 w 147"/>
                  <a:gd name="T73" fmla="*/ 65 h 115"/>
                  <a:gd name="T74" fmla="*/ 66 w 147"/>
                  <a:gd name="T75" fmla="*/ 63 h 115"/>
                  <a:gd name="T76" fmla="*/ 64 w 147"/>
                  <a:gd name="T77" fmla="*/ 61 h 115"/>
                  <a:gd name="T78" fmla="*/ 61 w 147"/>
                  <a:gd name="T79" fmla="*/ 60 h 115"/>
                  <a:gd name="T80" fmla="*/ 53 w 147"/>
                  <a:gd name="T81" fmla="*/ 59 h 115"/>
                  <a:gd name="T82" fmla="*/ 32 w 147"/>
                  <a:gd name="T83" fmla="*/ 59 h 115"/>
                  <a:gd name="T84" fmla="*/ 32 w 147"/>
                  <a:gd name="T85" fmla="*/ 91 h 115"/>
                  <a:gd name="T86" fmla="*/ 53 w 147"/>
                  <a:gd name="T87" fmla="*/ 91 h 115"/>
                  <a:gd name="T88" fmla="*/ 53 w 147"/>
                  <a:gd name="T89" fmla="*/ 91 h 115"/>
                  <a:gd name="T90" fmla="*/ 56 w 147"/>
                  <a:gd name="T91" fmla="*/ 91 h 115"/>
                  <a:gd name="T92" fmla="*/ 60 w 147"/>
                  <a:gd name="T93" fmla="*/ 90 h 115"/>
                  <a:gd name="T94" fmla="*/ 63 w 147"/>
                  <a:gd name="T95" fmla="*/ 88 h 115"/>
                  <a:gd name="T96" fmla="*/ 66 w 147"/>
                  <a:gd name="T97" fmla="*/ 86 h 115"/>
                  <a:gd name="T98" fmla="*/ 66 w 147"/>
                  <a:gd name="T99" fmla="*/ 86 h 115"/>
                  <a:gd name="T100" fmla="*/ 115 w 147"/>
                  <a:gd name="T101" fmla="*/ 0 h 115"/>
                  <a:gd name="T102" fmla="*/ 147 w 147"/>
                  <a:gd name="T103" fmla="*/ 0 h 115"/>
                  <a:gd name="T104" fmla="*/ 147 w 147"/>
                  <a:gd name="T105" fmla="*/ 115 h 115"/>
                  <a:gd name="T106" fmla="*/ 115 w 147"/>
                  <a:gd name="T107" fmla="*/ 115 h 115"/>
                  <a:gd name="T108" fmla="*/ 115 w 147"/>
                  <a:gd name="T109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47" h="115">
                    <a:moveTo>
                      <a:pt x="91" y="46"/>
                    </a:moveTo>
                    <a:lnTo>
                      <a:pt x="91" y="46"/>
                    </a:lnTo>
                    <a:lnTo>
                      <a:pt x="97" y="51"/>
                    </a:lnTo>
                    <a:lnTo>
                      <a:pt x="100" y="58"/>
                    </a:lnTo>
                    <a:lnTo>
                      <a:pt x="103" y="66"/>
                    </a:lnTo>
                    <a:lnTo>
                      <a:pt x="103" y="73"/>
                    </a:lnTo>
                    <a:lnTo>
                      <a:pt x="103" y="73"/>
                    </a:lnTo>
                    <a:lnTo>
                      <a:pt x="102" y="82"/>
                    </a:lnTo>
                    <a:lnTo>
                      <a:pt x="100" y="90"/>
                    </a:lnTo>
                    <a:lnTo>
                      <a:pt x="96" y="97"/>
                    </a:lnTo>
                    <a:lnTo>
                      <a:pt x="90" y="104"/>
                    </a:lnTo>
                    <a:lnTo>
                      <a:pt x="90" y="104"/>
                    </a:lnTo>
                    <a:lnTo>
                      <a:pt x="82" y="109"/>
                    </a:lnTo>
                    <a:lnTo>
                      <a:pt x="73" y="113"/>
                    </a:lnTo>
                    <a:lnTo>
                      <a:pt x="64" y="115"/>
                    </a:lnTo>
                    <a:lnTo>
                      <a:pt x="55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2" y="0"/>
                    </a:lnTo>
                    <a:lnTo>
                      <a:pt x="32" y="36"/>
                    </a:lnTo>
                    <a:lnTo>
                      <a:pt x="59" y="36"/>
                    </a:lnTo>
                    <a:lnTo>
                      <a:pt x="59" y="36"/>
                    </a:lnTo>
                    <a:lnTo>
                      <a:pt x="68" y="37"/>
                    </a:lnTo>
                    <a:lnTo>
                      <a:pt x="76" y="38"/>
                    </a:lnTo>
                    <a:lnTo>
                      <a:pt x="84" y="41"/>
                    </a:lnTo>
                    <a:lnTo>
                      <a:pt x="91" y="46"/>
                    </a:lnTo>
                    <a:lnTo>
                      <a:pt x="91" y="46"/>
                    </a:lnTo>
                    <a:close/>
                    <a:moveTo>
                      <a:pt x="66" y="86"/>
                    </a:moveTo>
                    <a:lnTo>
                      <a:pt x="66" y="86"/>
                    </a:lnTo>
                    <a:lnTo>
                      <a:pt x="68" y="84"/>
                    </a:lnTo>
                    <a:lnTo>
                      <a:pt x="69" y="81"/>
                    </a:lnTo>
                    <a:lnTo>
                      <a:pt x="70" y="77"/>
                    </a:lnTo>
                    <a:lnTo>
                      <a:pt x="71" y="74"/>
                    </a:lnTo>
                    <a:lnTo>
                      <a:pt x="71" y="74"/>
                    </a:lnTo>
                    <a:lnTo>
                      <a:pt x="70" y="71"/>
                    </a:lnTo>
                    <a:lnTo>
                      <a:pt x="70" y="68"/>
                    </a:lnTo>
                    <a:lnTo>
                      <a:pt x="68" y="65"/>
                    </a:lnTo>
                    <a:lnTo>
                      <a:pt x="66" y="63"/>
                    </a:lnTo>
                    <a:lnTo>
                      <a:pt x="64" y="61"/>
                    </a:lnTo>
                    <a:lnTo>
                      <a:pt x="61" y="60"/>
                    </a:lnTo>
                    <a:lnTo>
                      <a:pt x="53" y="59"/>
                    </a:lnTo>
                    <a:lnTo>
                      <a:pt x="32" y="59"/>
                    </a:lnTo>
                    <a:lnTo>
                      <a:pt x="32" y="91"/>
                    </a:lnTo>
                    <a:lnTo>
                      <a:pt x="53" y="91"/>
                    </a:lnTo>
                    <a:lnTo>
                      <a:pt x="53" y="91"/>
                    </a:lnTo>
                    <a:lnTo>
                      <a:pt x="56" y="91"/>
                    </a:lnTo>
                    <a:lnTo>
                      <a:pt x="60" y="90"/>
                    </a:lnTo>
                    <a:lnTo>
                      <a:pt x="63" y="88"/>
                    </a:lnTo>
                    <a:lnTo>
                      <a:pt x="66" y="86"/>
                    </a:lnTo>
                    <a:lnTo>
                      <a:pt x="66" y="86"/>
                    </a:lnTo>
                    <a:close/>
                    <a:moveTo>
                      <a:pt x="115" y="0"/>
                    </a:moveTo>
                    <a:lnTo>
                      <a:pt x="147" y="0"/>
                    </a:lnTo>
                    <a:lnTo>
                      <a:pt x="147" y="115"/>
                    </a:lnTo>
                    <a:lnTo>
                      <a:pt x="115" y="115"/>
                    </a:lnTo>
                    <a:lnTo>
                      <a:pt x="11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16">
                <a:extLst>
                  <a:ext uri="{FF2B5EF4-FFF2-40B4-BE49-F238E27FC236}">
                    <a16:creationId xmlns:a16="http://schemas.microsoft.com/office/drawing/2014/main" id="{3A754429-16EF-40D8-BCBF-A806B8F6B34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344154" y="1535113"/>
                <a:ext cx="85725" cy="90487"/>
              </a:xfrm>
              <a:custGeom>
                <a:avLst/>
                <a:gdLst>
                  <a:gd name="T0" fmla="*/ 109 w 109"/>
                  <a:gd name="T1" fmla="*/ 0 h 115"/>
                  <a:gd name="T2" fmla="*/ 109 w 109"/>
                  <a:gd name="T3" fmla="*/ 115 h 115"/>
                  <a:gd name="T4" fmla="*/ 77 w 109"/>
                  <a:gd name="T5" fmla="*/ 115 h 115"/>
                  <a:gd name="T6" fmla="*/ 77 w 109"/>
                  <a:gd name="T7" fmla="*/ 71 h 115"/>
                  <a:gd name="T8" fmla="*/ 32 w 109"/>
                  <a:gd name="T9" fmla="*/ 71 h 115"/>
                  <a:gd name="T10" fmla="*/ 32 w 109"/>
                  <a:gd name="T11" fmla="*/ 115 h 115"/>
                  <a:gd name="T12" fmla="*/ 0 w 109"/>
                  <a:gd name="T13" fmla="*/ 115 h 115"/>
                  <a:gd name="T14" fmla="*/ 0 w 109"/>
                  <a:gd name="T15" fmla="*/ 0 h 115"/>
                  <a:gd name="T16" fmla="*/ 32 w 109"/>
                  <a:gd name="T17" fmla="*/ 0 h 115"/>
                  <a:gd name="T18" fmla="*/ 32 w 109"/>
                  <a:gd name="T19" fmla="*/ 43 h 115"/>
                  <a:gd name="T20" fmla="*/ 77 w 109"/>
                  <a:gd name="T21" fmla="*/ 43 h 115"/>
                  <a:gd name="T22" fmla="*/ 77 w 109"/>
                  <a:gd name="T23" fmla="*/ 0 h 115"/>
                  <a:gd name="T24" fmla="*/ 109 w 109"/>
                  <a:gd name="T25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9" h="115">
                    <a:moveTo>
                      <a:pt x="109" y="0"/>
                    </a:moveTo>
                    <a:lnTo>
                      <a:pt x="109" y="115"/>
                    </a:lnTo>
                    <a:lnTo>
                      <a:pt x="77" y="115"/>
                    </a:lnTo>
                    <a:lnTo>
                      <a:pt x="77" y="71"/>
                    </a:lnTo>
                    <a:lnTo>
                      <a:pt x="32" y="71"/>
                    </a:lnTo>
                    <a:lnTo>
                      <a:pt x="3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2" y="0"/>
                    </a:lnTo>
                    <a:lnTo>
                      <a:pt x="32" y="43"/>
                    </a:lnTo>
                    <a:lnTo>
                      <a:pt x="77" y="43"/>
                    </a:lnTo>
                    <a:lnTo>
                      <a:pt x="77" y="0"/>
                    </a:lnTo>
                    <a:lnTo>
                      <a:pt x="109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17">
                <a:extLst>
                  <a:ext uri="{FF2B5EF4-FFF2-40B4-BE49-F238E27FC236}">
                    <a16:creationId xmlns:a16="http://schemas.microsoft.com/office/drawing/2014/main" id="{0E93FD0D-43F1-4B06-90A8-86A3060CF0CB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447341" y="1533525"/>
                <a:ext cx="101600" cy="95250"/>
              </a:xfrm>
              <a:custGeom>
                <a:avLst/>
                <a:gdLst>
                  <a:gd name="T0" fmla="*/ 31 w 128"/>
                  <a:gd name="T1" fmla="*/ 112 h 120"/>
                  <a:gd name="T2" fmla="*/ 21 w 128"/>
                  <a:gd name="T3" fmla="*/ 105 h 120"/>
                  <a:gd name="T4" fmla="*/ 6 w 128"/>
                  <a:gd name="T5" fmla="*/ 88 h 120"/>
                  <a:gd name="T6" fmla="*/ 0 w 128"/>
                  <a:gd name="T7" fmla="*/ 67 h 120"/>
                  <a:gd name="T8" fmla="*/ 2 w 128"/>
                  <a:gd name="T9" fmla="*/ 43 h 120"/>
                  <a:gd name="T10" fmla="*/ 6 w 128"/>
                  <a:gd name="T11" fmla="*/ 32 h 120"/>
                  <a:gd name="T12" fmla="*/ 11 w 128"/>
                  <a:gd name="T13" fmla="*/ 25 h 120"/>
                  <a:gd name="T14" fmla="*/ 23 w 128"/>
                  <a:gd name="T15" fmla="*/ 12 h 120"/>
                  <a:gd name="T16" fmla="*/ 31 w 128"/>
                  <a:gd name="T17" fmla="*/ 8 h 120"/>
                  <a:gd name="T18" fmla="*/ 46 w 128"/>
                  <a:gd name="T19" fmla="*/ 2 h 120"/>
                  <a:gd name="T20" fmla="*/ 64 w 128"/>
                  <a:gd name="T21" fmla="*/ 0 h 120"/>
                  <a:gd name="T22" fmla="*/ 81 w 128"/>
                  <a:gd name="T23" fmla="*/ 2 h 120"/>
                  <a:gd name="T24" fmla="*/ 97 w 128"/>
                  <a:gd name="T25" fmla="*/ 8 h 120"/>
                  <a:gd name="T26" fmla="*/ 102 w 128"/>
                  <a:gd name="T27" fmla="*/ 11 h 120"/>
                  <a:gd name="T28" fmla="*/ 115 w 128"/>
                  <a:gd name="T29" fmla="*/ 22 h 120"/>
                  <a:gd name="T30" fmla="*/ 125 w 128"/>
                  <a:gd name="T31" fmla="*/ 42 h 120"/>
                  <a:gd name="T32" fmla="*/ 128 w 128"/>
                  <a:gd name="T33" fmla="*/ 65 h 120"/>
                  <a:gd name="T34" fmla="*/ 124 w 128"/>
                  <a:gd name="T35" fmla="*/ 82 h 120"/>
                  <a:gd name="T36" fmla="*/ 121 w 128"/>
                  <a:gd name="T37" fmla="*/ 87 h 120"/>
                  <a:gd name="T38" fmla="*/ 111 w 128"/>
                  <a:gd name="T39" fmla="*/ 101 h 120"/>
                  <a:gd name="T40" fmla="*/ 97 w 128"/>
                  <a:gd name="T41" fmla="*/ 112 h 120"/>
                  <a:gd name="T42" fmla="*/ 89 w 128"/>
                  <a:gd name="T43" fmla="*/ 115 h 120"/>
                  <a:gd name="T44" fmla="*/ 72 w 128"/>
                  <a:gd name="T45" fmla="*/ 119 h 120"/>
                  <a:gd name="T46" fmla="*/ 55 w 128"/>
                  <a:gd name="T47" fmla="*/ 119 h 120"/>
                  <a:gd name="T48" fmla="*/ 38 w 128"/>
                  <a:gd name="T49" fmla="*/ 115 h 120"/>
                  <a:gd name="T50" fmla="*/ 31 w 128"/>
                  <a:gd name="T51" fmla="*/ 112 h 120"/>
                  <a:gd name="T52" fmla="*/ 80 w 128"/>
                  <a:gd name="T53" fmla="*/ 89 h 120"/>
                  <a:gd name="T54" fmla="*/ 91 w 128"/>
                  <a:gd name="T55" fmla="*/ 77 h 120"/>
                  <a:gd name="T56" fmla="*/ 94 w 128"/>
                  <a:gd name="T57" fmla="*/ 69 h 120"/>
                  <a:gd name="T58" fmla="*/ 94 w 128"/>
                  <a:gd name="T59" fmla="*/ 52 h 120"/>
                  <a:gd name="T60" fmla="*/ 91 w 128"/>
                  <a:gd name="T61" fmla="*/ 42 h 120"/>
                  <a:gd name="T62" fmla="*/ 80 w 128"/>
                  <a:gd name="T63" fmla="*/ 31 h 120"/>
                  <a:gd name="T64" fmla="*/ 72 w 128"/>
                  <a:gd name="T65" fmla="*/ 28 h 120"/>
                  <a:gd name="T66" fmla="*/ 55 w 128"/>
                  <a:gd name="T67" fmla="*/ 28 h 120"/>
                  <a:gd name="T68" fmla="*/ 47 w 128"/>
                  <a:gd name="T69" fmla="*/ 31 h 120"/>
                  <a:gd name="T70" fmla="*/ 36 w 128"/>
                  <a:gd name="T71" fmla="*/ 42 h 120"/>
                  <a:gd name="T72" fmla="*/ 33 w 128"/>
                  <a:gd name="T73" fmla="*/ 52 h 120"/>
                  <a:gd name="T74" fmla="*/ 33 w 128"/>
                  <a:gd name="T75" fmla="*/ 69 h 120"/>
                  <a:gd name="T76" fmla="*/ 36 w 128"/>
                  <a:gd name="T77" fmla="*/ 77 h 120"/>
                  <a:gd name="T78" fmla="*/ 47 w 128"/>
                  <a:gd name="T79" fmla="*/ 89 h 120"/>
                  <a:gd name="T80" fmla="*/ 55 w 128"/>
                  <a:gd name="T81" fmla="*/ 92 h 120"/>
                  <a:gd name="T82" fmla="*/ 72 w 128"/>
                  <a:gd name="T83" fmla="*/ 92 h 120"/>
                  <a:gd name="T84" fmla="*/ 80 w 128"/>
                  <a:gd name="T85" fmla="*/ 89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28" h="120">
                    <a:moveTo>
                      <a:pt x="31" y="112"/>
                    </a:moveTo>
                    <a:lnTo>
                      <a:pt x="31" y="112"/>
                    </a:lnTo>
                    <a:lnTo>
                      <a:pt x="25" y="109"/>
                    </a:lnTo>
                    <a:lnTo>
                      <a:pt x="21" y="105"/>
                    </a:lnTo>
                    <a:lnTo>
                      <a:pt x="13" y="97"/>
                    </a:lnTo>
                    <a:lnTo>
                      <a:pt x="6" y="88"/>
                    </a:lnTo>
                    <a:lnTo>
                      <a:pt x="2" y="78"/>
                    </a:lnTo>
                    <a:lnTo>
                      <a:pt x="0" y="67"/>
                    </a:lnTo>
                    <a:lnTo>
                      <a:pt x="0" y="55"/>
                    </a:lnTo>
                    <a:lnTo>
                      <a:pt x="2" y="43"/>
                    </a:lnTo>
                    <a:lnTo>
                      <a:pt x="4" y="38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11" y="25"/>
                    </a:lnTo>
                    <a:lnTo>
                      <a:pt x="16" y="18"/>
                    </a:lnTo>
                    <a:lnTo>
                      <a:pt x="23" y="12"/>
                    </a:lnTo>
                    <a:lnTo>
                      <a:pt x="31" y="8"/>
                    </a:lnTo>
                    <a:lnTo>
                      <a:pt x="31" y="8"/>
                    </a:lnTo>
                    <a:lnTo>
                      <a:pt x="38" y="4"/>
                    </a:lnTo>
                    <a:lnTo>
                      <a:pt x="46" y="2"/>
                    </a:lnTo>
                    <a:lnTo>
                      <a:pt x="55" y="0"/>
                    </a:lnTo>
                    <a:lnTo>
                      <a:pt x="64" y="0"/>
                    </a:lnTo>
                    <a:lnTo>
                      <a:pt x="72" y="0"/>
                    </a:lnTo>
                    <a:lnTo>
                      <a:pt x="81" y="2"/>
                    </a:lnTo>
                    <a:lnTo>
                      <a:pt x="89" y="4"/>
                    </a:lnTo>
                    <a:lnTo>
                      <a:pt x="97" y="8"/>
                    </a:lnTo>
                    <a:lnTo>
                      <a:pt x="97" y="8"/>
                    </a:lnTo>
                    <a:lnTo>
                      <a:pt x="102" y="11"/>
                    </a:lnTo>
                    <a:lnTo>
                      <a:pt x="106" y="14"/>
                    </a:lnTo>
                    <a:lnTo>
                      <a:pt x="115" y="22"/>
                    </a:lnTo>
                    <a:lnTo>
                      <a:pt x="121" y="32"/>
                    </a:lnTo>
                    <a:lnTo>
                      <a:pt x="125" y="42"/>
                    </a:lnTo>
                    <a:lnTo>
                      <a:pt x="127" y="54"/>
                    </a:lnTo>
                    <a:lnTo>
                      <a:pt x="128" y="65"/>
                    </a:lnTo>
                    <a:lnTo>
                      <a:pt x="126" y="76"/>
                    </a:lnTo>
                    <a:lnTo>
                      <a:pt x="124" y="82"/>
                    </a:lnTo>
                    <a:lnTo>
                      <a:pt x="121" y="87"/>
                    </a:lnTo>
                    <a:lnTo>
                      <a:pt x="121" y="87"/>
                    </a:lnTo>
                    <a:lnTo>
                      <a:pt x="116" y="95"/>
                    </a:lnTo>
                    <a:lnTo>
                      <a:pt x="111" y="101"/>
                    </a:lnTo>
                    <a:lnTo>
                      <a:pt x="104" y="107"/>
                    </a:lnTo>
                    <a:lnTo>
                      <a:pt x="97" y="112"/>
                    </a:lnTo>
                    <a:lnTo>
                      <a:pt x="97" y="112"/>
                    </a:lnTo>
                    <a:lnTo>
                      <a:pt x="89" y="115"/>
                    </a:lnTo>
                    <a:lnTo>
                      <a:pt x="81" y="118"/>
                    </a:lnTo>
                    <a:lnTo>
                      <a:pt x="72" y="119"/>
                    </a:lnTo>
                    <a:lnTo>
                      <a:pt x="64" y="120"/>
                    </a:lnTo>
                    <a:lnTo>
                      <a:pt x="55" y="119"/>
                    </a:lnTo>
                    <a:lnTo>
                      <a:pt x="46" y="118"/>
                    </a:lnTo>
                    <a:lnTo>
                      <a:pt x="38" y="115"/>
                    </a:lnTo>
                    <a:lnTo>
                      <a:pt x="31" y="112"/>
                    </a:lnTo>
                    <a:lnTo>
                      <a:pt x="31" y="112"/>
                    </a:lnTo>
                    <a:close/>
                    <a:moveTo>
                      <a:pt x="80" y="89"/>
                    </a:moveTo>
                    <a:lnTo>
                      <a:pt x="80" y="89"/>
                    </a:lnTo>
                    <a:lnTo>
                      <a:pt x="86" y="84"/>
                    </a:lnTo>
                    <a:lnTo>
                      <a:pt x="91" y="77"/>
                    </a:lnTo>
                    <a:lnTo>
                      <a:pt x="91" y="77"/>
                    </a:lnTo>
                    <a:lnTo>
                      <a:pt x="94" y="69"/>
                    </a:lnTo>
                    <a:lnTo>
                      <a:pt x="95" y="60"/>
                    </a:lnTo>
                    <a:lnTo>
                      <a:pt x="94" y="52"/>
                    </a:lnTo>
                    <a:lnTo>
                      <a:pt x="91" y="42"/>
                    </a:lnTo>
                    <a:lnTo>
                      <a:pt x="91" y="42"/>
                    </a:lnTo>
                    <a:lnTo>
                      <a:pt x="86" y="36"/>
                    </a:lnTo>
                    <a:lnTo>
                      <a:pt x="80" y="31"/>
                    </a:lnTo>
                    <a:lnTo>
                      <a:pt x="80" y="31"/>
                    </a:lnTo>
                    <a:lnTo>
                      <a:pt x="72" y="28"/>
                    </a:lnTo>
                    <a:lnTo>
                      <a:pt x="64" y="27"/>
                    </a:lnTo>
                    <a:lnTo>
                      <a:pt x="55" y="28"/>
                    </a:lnTo>
                    <a:lnTo>
                      <a:pt x="47" y="31"/>
                    </a:lnTo>
                    <a:lnTo>
                      <a:pt x="47" y="31"/>
                    </a:lnTo>
                    <a:lnTo>
                      <a:pt x="41" y="36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3" y="52"/>
                    </a:lnTo>
                    <a:lnTo>
                      <a:pt x="32" y="60"/>
                    </a:lnTo>
                    <a:lnTo>
                      <a:pt x="33" y="69"/>
                    </a:lnTo>
                    <a:lnTo>
                      <a:pt x="36" y="77"/>
                    </a:lnTo>
                    <a:lnTo>
                      <a:pt x="36" y="77"/>
                    </a:lnTo>
                    <a:lnTo>
                      <a:pt x="41" y="84"/>
                    </a:lnTo>
                    <a:lnTo>
                      <a:pt x="47" y="89"/>
                    </a:lnTo>
                    <a:lnTo>
                      <a:pt x="47" y="89"/>
                    </a:lnTo>
                    <a:lnTo>
                      <a:pt x="55" y="92"/>
                    </a:lnTo>
                    <a:lnTo>
                      <a:pt x="64" y="93"/>
                    </a:lnTo>
                    <a:lnTo>
                      <a:pt x="72" y="92"/>
                    </a:lnTo>
                    <a:lnTo>
                      <a:pt x="80" y="89"/>
                    </a:lnTo>
                    <a:lnTo>
                      <a:pt x="80" y="8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18">
                <a:extLst>
                  <a:ext uri="{FF2B5EF4-FFF2-40B4-BE49-F238E27FC236}">
                    <a16:creationId xmlns:a16="http://schemas.microsoft.com/office/drawing/2014/main" id="{9B7858E9-BABE-4B43-BB4B-4DB2A34980D3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564816" y="1535113"/>
                <a:ext cx="84138" cy="90487"/>
              </a:xfrm>
              <a:custGeom>
                <a:avLst/>
                <a:gdLst>
                  <a:gd name="T0" fmla="*/ 99 w 105"/>
                  <a:gd name="T1" fmla="*/ 66 h 115"/>
                  <a:gd name="T2" fmla="*/ 103 w 105"/>
                  <a:gd name="T3" fmla="*/ 74 h 115"/>
                  <a:gd name="T4" fmla="*/ 105 w 105"/>
                  <a:gd name="T5" fmla="*/ 83 h 115"/>
                  <a:gd name="T6" fmla="*/ 104 w 105"/>
                  <a:gd name="T7" fmla="*/ 90 h 115"/>
                  <a:gd name="T8" fmla="*/ 98 w 105"/>
                  <a:gd name="T9" fmla="*/ 102 h 115"/>
                  <a:gd name="T10" fmla="*/ 93 w 105"/>
                  <a:gd name="T11" fmla="*/ 107 h 115"/>
                  <a:gd name="T12" fmla="*/ 77 w 105"/>
                  <a:gd name="T13" fmla="*/ 114 h 115"/>
                  <a:gd name="T14" fmla="*/ 59 w 105"/>
                  <a:gd name="T15" fmla="*/ 115 h 115"/>
                  <a:gd name="T16" fmla="*/ 0 w 105"/>
                  <a:gd name="T17" fmla="*/ 0 h 115"/>
                  <a:gd name="T18" fmla="*/ 56 w 105"/>
                  <a:gd name="T19" fmla="*/ 0 h 115"/>
                  <a:gd name="T20" fmla="*/ 73 w 105"/>
                  <a:gd name="T21" fmla="*/ 2 h 115"/>
                  <a:gd name="T22" fmla="*/ 88 w 105"/>
                  <a:gd name="T23" fmla="*/ 8 h 115"/>
                  <a:gd name="T24" fmla="*/ 93 w 105"/>
                  <a:gd name="T25" fmla="*/ 12 h 115"/>
                  <a:gd name="T26" fmla="*/ 99 w 105"/>
                  <a:gd name="T27" fmla="*/ 24 h 115"/>
                  <a:gd name="T28" fmla="*/ 99 w 105"/>
                  <a:gd name="T29" fmla="*/ 30 h 115"/>
                  <a:gd name="T30" fmla="*/ 95 w 105"/>
                  <a:gd name="T31" fmla="*/ 45 h 115"/>
                  <a:gd name="T32" fmla="*/ 90 w 105"/>
                  <a:gd name="T33" fmla="*/ 52 h 115"/>
                  <a:gd name="T34" fmla="*/ 84 w 105"/>
                  <a:gd name="T35" fmla="*/ 56 h 115"/>
                  <a:gd name="T36" fmla="*/ 92 w 105"/>
                  <a:gd name="T37" fmla="*/ 60 h 115"/>
                  <a:gd name="T38" fmla="*/ 99 w 105"/>
                  <a:gd name="T39" fmla="*/ 66 h 115"/>
                  <a:gd name="T40" fmla="*/ 32 w 105"/>
                  <a:gd name="T41" fmla="*/ 46 h 115"/>
                  <a:gd name="T42" fmla="*/ 53 w 105"/>
                  <a:gd name="T43" fmla="*/ 46 h 115"/>
                  <a:gd name="T44" fmla="*/ 63 w 105"/>
                  <a:gd name="T45" fmla="*/ 43 h 115"/>
                  <a:gd name="T46" fmla="*/ 67 w 105"/>
                  <a:gd name="T47" fmla="*/ 35 h 115"/>
                  <a:gd name="T48" fmla="*/ 66 w 105"/>
                  <a:gd name="T49" fmla="*/ 30 h 115"/>
                  <a:gd name="T50" fmla="*/ 59 w 105"/>
                  <a:gd name="T51" fmla="*/ 24 h 115"/>
                  <a:gd name="T52" fmla="*/ 32 w 105"/>
                  <a:gd name="T53" fmla="*/ 23 h 115"/>
                  <a:gd name="T54" fmla="*/ 72 w 105"/>
                  <a:gd name="T55" fmla="*/ 80 h 115"/>
                  <a:gd name="T56" fmla="*/ 71 w 105"/>
                  <a:gd name="T57" fmla="*/ 75 h 115"/>
                  <a:gd name="T58" fmla="*/ 64 w 105"/>
                  <a:gd name="T59" fmla="*/ 69 h 115"/>
                  <a:gd name="T60" fmla="*/ 32 w 105"/>
                  <a:gd name="T61" fmla="*/ 69 h 115"/>
                  <a:gd name="T62" fmla="*/ 58 w 105"/>
                  <a:gd name="T63" fmla="*/ 92 h 115"/>
                  <a:gd name="T64" fmla="*/ 64 w 105"/>
                  <a:gd name="T65" fmla="*/ 91 h 115"/>
                  <a:gd name="T66" fmla="*/ 71 w 105"/>
                  <a:gd name="T67" fmla="*/ 85 h 115"/>
                  <a:gd name="T68" fmla="*/ 72 w 105"/>
                  <a:gd name="T69" fmla="*/ 8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5" h="115">
                    <a:moveTo>
                      <a:pt x="99" y="66"/>
                    </a:moveTo>
                    <a:lnTo>
                      <a:pt x="99" y="66"/>
                    </a:lnTo>
                    <a:lnTo>
                      <a:pt x="102" y="70"/>
                    </a:lnTo>
                    <a:lnTo>
                      <a:pt x="103" y="74"/>
                    </a:lnTo>
                    <a:lnTo>
                      <a:pt x="104" y="78"/>
                    </a:lnTo>
                    <a:lnTo>
                      <a:pt x="105" y="83"/>
                    </a:lnTo>
                    <a:lnTo>
                      <a:pt x="105" y="83"/>
                    </a:lnTo>
                    <a:lnTo>
                      <a:pt x="104" y="90"/>
                    </a:lnTo>
                    <a:lnTo>
                      <a:pt x="102" y="96"/>
                    </a:lnTo>
                    <a:lnTo>
                      <a:pt x="98" y="102"/>
                    </a:lnTo>
                    <a:lnTo>
                      <a:pt x="93" y="107"/>
                    </a:lnTo>
                    <a:lnTo>
                      <a:pt x="93" y="107"/>
                    </a:lnTo>
                    <a:lnTo>
                      <a:pt x="85" y="111"/>
                    </a:lnTo>
                    <a:lnTo>
                      <a:pt x="77" y="114"/>
                    </a:lnTo>
                    <a:lnTo>
                      <a:pt x="68" y="115"/>
                    </a:lnTo>
                    <a:lnTo>
                      <a:pt x="59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5" y="1"/>
                    </a:lnTo>
                    <a:lnTo>
                      <a:pt x="73" y="2"/>
                    </a:lnTo>
                    <a:lnTo>
                      <a:pt x="81" y="4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93" y="12"/>
                    </a:lnTo>
                    <a:lnTo>
                      <a:pt x="97" y="18"/>
                    </a:lnTo>
                    <a:lnTo>
                      <a:pt x="99" y="24"/>
                    </a:lnTo>
                    <a:lnTo>
                      <a:pt x="99" y="30"/>
                    </a:lnTo>
                    <a:lnTo>
                      <a:pt x="99" y="30"/>
                    </a:lnTo>
                    <a:lnTo>
                      <a:pt x="98" y="38"/>
                    </a:lnTo>
                    <a:lnTo>
                      <a:pt x="95" y="45"/>
                    </a:lnTo>
                    <a:lnTo>
                      <a:pt x="95" y="45"/>
                    </a:lnTo>
                    <a:lnTo>
                      <a:pt x="90" y="52"/>
                    </a:lnTo>
                    <a:lnTo>
                      <a:pt x="84" y="56"/>
                    </a:lnTo>
                    <a:lnTo>
                      <a:pt x="84" y="56"/>
                    </a:lnTo>
                    <a:lnTo>
                      <a:pt x="88" y="57"/>
                    </a:lnTo>
                    <a:lnTo>
                      <a:pt x="92" y="60"/>
                    </a:lnTo>
                    <a:lnTo>
                      <a:pt x="96" y="62"/>
                    </a:lnTo>
                    <a:lnTo>
                      <a:pt x="99" y="66"/>
                    </a:lnTo>
                    <a:lnTo>
                      <a:pt x="99" y="66"/>
                    </a:lnTo>
                    <a:close/>
                    <a:moveTo>
                      <a:pt x="32" y="46"/>
                    </a:moveTo>
                    <a:lnTo>
                      <a:pt x="53" y="46"/>
                    </a:lnTo>
                    <a:lnTo>
                      <a:pt x="53" y="46"/>
                    </a:lnTo>
                    <a:lnTo>
                      <a:pt x="59" y="45"/>
                    </a:lnTo>
                    <a:lnTo>
                      <a:pt x="63" y="43"/>
                    </a:lnTo>
                    <a:lnTo>
                      <a:pt x="66" y="40"/>
                    </a:lnTo>
                    <a:lnTo>
                      <a:pt x="67" y="35"/>
                    </a:lnTo>
                    <a:lnTo>
                      <a:pt x="67" y="35"/>
                    </a:lnTo>
                    <a:lnTo>
                      <a:pt x="66" y="30"/>
                    </a:lnTo>
                    <a:lnTo>
                      <a:pt x="63" y="26"/>
                    </a:lnTo>
                    <a:lnTo>
                      <a:pt x="59" y="24"/>
                    </a:lnTo>
                    <a:lnTo>
                      <a:pt x="53" y="23"/>
                    </a:lnTo>
                    <a:lnTo>
                      <a:pt x="32" y="23"/>
                    </a:lnTo>
                    <a:lnTo>
                      <a:pt x="32" y="46"/>
                    </a:lnTo>
                    <a:close/>
                    <a:moveTo>
                      <a:pt x="72" y="80"/>
                    </a:moveTo>
                    <a:lnTo>
                      <a:pt x="72" y="80"/>
                    </a:lnTo>
                    <a:lnTo>
                      <a:pt x="71" y="75"/>
                    </a:lnTo>
                    <a:lnTo>
                      <a:pt x="69" y="72"/>
                    </a:lnTo>
                    <a:lnTo>
                      <a:pt x="64" y="69"/>
                    </a:lnTo>
                    <a:lnTo>
                      <a:pt x="58" y="69"/>
                    </a:lnTo>
                    <a:lnTo>
                      <a:pt x="32" y="69"/>
                    </a:lnTo>
                    <a:lnTo>
                      <a:pt x="32" y="92"/>
                    </a:lnTo>
                    <a:lnTo>
                      <a:pt x="58" y="92"/>
                    </a:lnTo>
                    <a:lnTo>
                      <a:pt x="58" y="92"/>
                    </a:lnTo>
                    <a:lnTo>
                      <a:pt x="64" y="91"/>
                    </a:lnTo>
                    <a:lnTo>
                      <a:pt x="69" y="89"/>
                    </a:lnTo>
                    <a:lnTo>
                      <a:pt x="71" y="85"/>
                    </a:lnTo>
                    <a:lnTo>
                      <a:pt x="72" y="80"/>
                    </a:lnTo>
                    <a:lnTo>
                      <a:pt x="72" y="8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19">
                <a:extLst>
                  <a:ext uri="{FF2B5EF4-FFF2-40B4-BE49-F238E27FC236}">
                    <a16:creationId xmlns:a16="http://schemas.microsoft.com/office/drawing/2014/main" id="{58E1495D-0FAF-4EB6-B8CB-216F977F52B7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664829" y="1535113"/>
                <a:ext cx="115888" cy="90487"/>
              </a:xfrm>
              <a:custGeom>
                <a:avLst/>
                <a:gdLst>
                  <a:gd name="T0" fmla="*/ 92 w 147"/>
                  <a:gd name="T1" fmla="*/ 46 h 115"/>
                  <a:gd name="T2" fmla="*/ 92 w 147"/>
                  <a:gd name="T3" fmla="*/ 46 h 115"/>
                  <a:gd name="T4" fmla="*/ 97 w 147"/>
                  <a:gd name="T5" fmla="*/ 53 h 115"/>
                  <a:gd name="T6" fmla="*/ 101 w 147"/>
                  <a:gd name="T7" fmla="*/ 60 h 115"/>
                  <a:gd name="T8" fmla="*/ 103 w 147"/>
                  <a:gd name="T9" fmla="*/ 67 h 115"/>
                  <a:gd name="T10" fmla="*/ 103 w 147"/>
                  <a:gd name="T11" fmla="*/ 75 h 115"/>
                  <a:gd name="T12" fmla="*/ 103 w 147"/>
                  <a:gd name="T13" fmla="*/ 75 h 115"/>
                  <a:gd name="T14" fmla="*/ 103 w 147"/>
                  <a:gd name="T15" fmla="*/ 83 h 115"/>
                  <a:gd name="T16" fmla="*/ 100 w 147"/>
                  <a:gd name="T17" fmla="*/ 91 h 115"/>
                  <a:gd name="T18" fmla="*/ 96 w 147"/>
                  <a:gd name="T19" fmla="*/ 99 h 115"/>
                  <a:gd name="T20" fmla="*/ 90 w 147"/>
                  <a:gd name="T21" fmla="*/ 105 h 115"/>
                  <a:gd name="T22" fmla="*/ 90 w 147"/>
                  <a:gd name="T23" fmla="*/ 105 h 115"/>
                  <a:gd name="T24" fmla="*/ 82 w 147"/>
                  <a:gd name="T25" fmla="*/ 110 h 115"/>
                  <a:gd name="T26" fmla="*/ 74 w 147"/>
                  <a:gd name="T27" fmla="*/ 113 h 115"/>
                  <a:gd name="T28" fmla="*/ 65 w 147"/>
                  <a:gd name="T29" fmla="*/ 115 h 115"/>
                  <a:gd name="T30" fmla="*/ 55 w 147"/>
                  <a:gd name="T31" fmla="*/ 115 h 115"/>
                  <a:gd name="T32" fmla="*/ 0 w 147"/>
                  <a:gd name="T33" fmla="*/ 115 h 115"/>
                  <a:gd name="T34" fmla="*/ 0 w 147"/>
                  <a:gd name="T35" fmla="*/ 1 h 115"/>
                  <a:gd name="T36" fmla="*/ 32 w 147"/>
                  <a:gd name="T37" fmla="*/ 1 h 115"/>
                  <a:gd name="T38" fmla="*/ 32 w 147"/>
                  <a:gd name="T39" fmla="*/ 37 h 115"/>
                  <a:gd name="T40" fmla="*/ 59 w 147"/>
                  <a:gd name="T41" fmla="*/ 37 h 115"/>
                  <a:gd name="T42" fmla="*/ 59 w 147"/>
                  <a:gd name="T43" fmla="*/ 37 h 115"/>
                  <a:gd name="T44" fmla="*/ 68 w 147"/>
                  <a:gd name="T45" fmla="*/ 37 h 115"/>
                  <a:gd name="T46" fmla="*/ 76 w 147"/>
                  <a:gd name="T47" fmla="*/ 39 h 115"/>
                  <a:gd name="T48" fmla="*/ 84 w 147"/>
                  <a:gd name="T49" fmla="*/ 42 h 115"/>
                  <a:gd name="T50" fmla="*/ 92 w 147"/>
                  <a:gd name="T51" fmla="*/ 46 h 115"/>
                  <a:gd name="T52" fmla="*/ 92 w 147"/>
                  <a:gd name="T53" fmla="*/ 46 h 115"/>
                  <a:gd name="T54" fmla="*/ 66 w 147"/>
                  <a:gd name="T55" fmla="*/ 88 h 115"/>
                  <a:gd name="T56" fmla="*/ 66 w 147"/>
                  <a:gd name="T57" fmla="*/ 88 h 115"/>
                  <a:gd name="T58" fmla="*/ 68 w 147"/>
                  <a:gd name="T59" fmla="*/ 85 h 115"/>
                  <a:gd name="T60" fmla="*/ 70 w 147"/>
                  <a:gd name="T61" fmla="*/ 82 h 115"/>
                  <a:gd name="T62" fmla="*/ 71 w 147"/>
                  <a:gd name="T63" fmla="*/ 79 h 115"/>
                  <a:gd name="T64" fmla="*/ 71 w 147"/>
                  <a:gd name="T65" fmla="*/ 76 h 115"/>
                  <a:gd name="T66" fmla="*/ 71 w 147"/>
                  <a:gd name="T67" fmla="*/ 76 h 115"/>
                  <a:gd name="T68" fmla="*/ 71 w 147"/>
                  <a:gd name="T69" fmla="*/ 72 h 115"/>
                  <a:gd name="T70" fmla="*/ 70 w 147"/>
                  <a:gd name="T71" fmla="*/ 69 h 115"/>
                  <a:gd name="T72" fmla="*/ 68 w 147"/>
                  <a:gd name="T73" fmla="*/ 67 h 115"/>
                  <a:gd name="T74" fmla="*/ 66 w 147"/>
                  <a:gd name="T75" fmla="*/ 64 h 115"/>
                  <a:gd name="T76" fmla="*/ 64 w 147"/>
                  <a:gd name="T77" fmla="*/ 63 h 115"/>
                  <a:gd name="T78" fmla="*/ 61 w 147"/>
                  <a:gd name="T79" fmla="*/ 62 h 115"/>
                  <a:gd name="T80" fmla="*/ 53 w 147"/>
                  <a:gd name="T81" fmla="*/ 61 h 115"/>
                  <a:gd name="T82" fmla="*/ 32 w 147"/>
                  <a:gd name="T83" fmla="*/ 61 h 115"/>
                  <a:gd name="T84" fmla="*/ 32 w 147"/>
                  <a:gd name="T85" fmla="*/ 92 h 115"/>
                  <a:gd name="T86" fmla="*/ 53 w 147"/>
                  <a:gd name="T87" fmla="*/ 92 h 115"/>
                  <a:gd name="T88" fmla="*/ 53 w 147"/>
                  <a:gd name="T89" fmla="*/ 92 h 115"/>
                  <a:gd name="T90" fmla="*/ 57 w 147"/>
                  <a:gd name="T91" fmla="*/ 92 h 115"/>
                  <a:gd name="T92" fmla="*/ 60 w 147"/>
                  <a:gd name="T93" fmla="*/ 91 h 115"/>
                  <a:gd name="T94" fmla="*/ 63 w 147"/>
                  <a:gd name="T95" fmla="*/ 90 h 115"/>
                  <a:gd name="T96" fmla="*/ 66 w 147"/>
                  <a:gd name="T97" fmla="*/ 88 h 115"/>
                  <a:gd name="T98" fmla="*/ 66 w 147"/>
                  <a:gd name="T99" fmla="*/ 88 h 115"/>
                  <a:gd name="T100" fmla="*/ 116 w 147"/>
                  <a:gd name="T101" fmla="*/ 0 h 115"/>
                  <a:gd name="T102" fmla="*/ 147 w 147"/>
                  <a:gd name="T103" fmla="*/ 0 h 115"/>
                  <a:gd name="T104" fmla="*/ 147 w 147"/>
                  <a:gd name="T105" fmla="*/ 115 h 115"/>
                  <a:gd name="T106" fmla="*/ 116 w 147"/>
                  <a:gd name="T107" fmla="*/ 115 h 115"/>
                  <a:gd name="T108" fmla="*/ 116 w 147"/>
                  <a:gd name="T109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47" h="115">
                    <a:moveTo>
                      <a:pt x="92" y="46"/>
                    </a:moveTo>
                    <a:lnTo>
                      <a:pt x="92" y="46"/>
                    </a:lnTo>
                    <a:lnTo>
                      <a:pt x="97" y="53"/>
                    </a:lnTo>
                    <a:lnTo>
                      <a:pt x="101" y="60"/>
                    </a:lnTo>
                    <a:lnTo>
                      <a:pt x="103" y="67"/>
                    </a:lnTo>
                    <a:lnTo>
                      <a:pt x="103" y="75"/>
                    </a:lnTo>
                    <a:lnTo>
                      <a:pt x="103" y="75"/>
                    </a:lnTo>
                    <a:lnTo>
                      <a:pt x="103" y="83"/>
                    </a:lnTo>
                    <a:lnTo>
                      <a:pt x="100" y="91"/>
                    </a:lnTo>
                    <a:lnTo>
                      <a:pt x="96" y="99"/>
                    </a:lnTo>
                    <a:lnTo>
                      <a:pt x="90" y="105"/>
                    </a:lnTo>
                    <a:lnTo>
                      <a:pt x="90" y="105"/>
                    </a:lnTo>
                    <a:lnTo>
                      <a:pt x="82" y="110"/>
                    </a:lnTo>
                    <a:lnTo>
                      <a:pt x="74" y="113"/>
                    </a:lnTo>
                    <a:lnTo>
                      <a:pt x="65" y="115"/>
                    </a:lnTo>
                    <a:lnTo>
                      <a:pt x="55" y="115"/>
                    </a:lnTo>
                    <a:lnTo>
                      <a:pt x="0" y="115"/>
                    </a:lnTo>
                    <a:lnTo>
                      <a:pt x="0" y="1"/>
                    </a:lnTo>
                    <a:lnTo>
                      <a:pt x="32" y="1"/>
                    </a:lnTo>
                    <a:lnTo>
                      <a:pt x="32" y="37"/>
                    </a:lnTo>
                    <a:lnTo>
                      <a:pt x="59" y="37"/>
                    </a:lnTo>
                    <a:lnTo>
                      <a:pt x="59" y="37"/>
                    </a:lnTo>
                    <a:lnTo>
                      <a:pt x="68" y="37"/>
                    </a:lnTo>
                    <a:lnTo>
                      <a:pt x="76" y="39"/>
                    </a:lnTo>
                    <a:lnTo>
                      <a:pt x="84" y="42"/>
                    </a:lnTo>
                    <a:lnTo>
                      <a:pt x="92" y="46"/>
                    </a:lnTo>
                    <a:lnTo>
                      <a:pt x="92" y="46"/>
                    </a:lnTo>
                    <a:close/>
                    <a:moveTo>
                      <a:pt x="66" y="88"/>
                    </a:moveTo>
                    <a:lnTo>
                      <a:pt x="66" y="88"/>
                    </a:lnTo>
                    <a:lnTo>
                      <a:pt x="68" y="85"/>
                    </a:lnTo>
                    <a:lnTo>
                      <a:pt x="70" y="82"/>
                    </a:lnTo>
                    <a:lnTo>
                      <a:pt x="71" y="79"/>
                    </a:lnTo>
                    <a:lnTo>
                      <a:pt x="71" y="76"/>
                    </a:lnTo>
                    <a:lnTo>
                      <a:pt x="71" y="76"/>
                    </a:lnTo>
                    <a:lnTo>
                      <a:pt x="71" y="72"/>
                    </a:lnTo>
                    <a:lnTo>
                      <a:pt x="70" y="69"/>
                    </a:lnTo>
                    <a:lnTo>
                      <a:pt x="68" y="67"/>
                    </a:lnTo>
                    <a:lnTo>
                      <a:pt x="66" y="64"/>
                    </a:lnTo>
                    <a:lnTo>
                      <a:pt x="64" y="63"/>
                    </a:lnTo>
                    <a:lnTo>
                      <a:pt x="61" y="62"/>
                    </a:lnTo>
                    <a:lnTo>
                      <a:pt x="53" y="61"/>
                    </a:lnTo>
                    <a:lnTo>
                      <a:pt x="32" y="61"/>
                    </a:lnTo>
                    <a:lnTo>
                      <a:pt x="32" y="92"/>
                    </a:lnTo>
                    <a:lnTo>
                      <a:pt x="53" y="92"/>
                    </a:lnTo>
                    <a:lnTo>
                      <a:pt x="53" y="92"/>
                    </a:lnTo>
                    <a:lnTo>
                      <a:pt x="57" y="92"/>
                    </a:lnTo>
                    <a:lnTo>
                      <a:pt x="60" y="91"/>
                    </a:lnTo>
                    <a:lnTo>
                      <a:pt x="63" y="90"/>
                    </a:lnTo>
                    <a:lnTo>
                      <a:pt x="66" y="88"/>
                    </a:lnTo>
                    <a:lnTo>
                      <a:pt x="66" y="88"/>
                    </a:lnTo>
                    <a:close/>
                    <a:moveTo>
                      <a:pt x="116" y="0"/>
                    </a:moveTo>
                    <a:lnTo>
                      <a:pt x="147" y="0"/>
                    </a:lnTo>
                    <a:lnTo>
                      <a:pt x="147" y="115"/>
                    </a:lnTo>
                    <a:lnTo>
                      <a:pt x="116" y="115"/>
                    </a:lnTo>
                    <a:lnTo>
                      <a:pt x="116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20">
                <a:extLst>
                  <a:ext uri="{FF2B5EF4-FFF2-40B4-BE49-F238E27FC236}">
                    <a16:creationId xmlns:a16="http://schemas.microsoft.com/office/drawing/2014/main" id="{67376C54-41E4-4C7B-A8AB-030574FAC1B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802941" y="1535113"/>
                <a:ext cx="74613" cy="90487"/>
              </a:xfrm>
              <a:custGeom>
                <a:avLst/>
                <a:gdLst>
                  <a:gd name="T0" fmla="*/ 92 w 92"/>
                  <a:gd name="T1" fmla="*/ 90 h 115"/>
                  <a:gd name="T2" fmla="*/ 92 w 92"/>
                  <a:gd name="T3" fmla="*/ 115 h 115"/>
                  <a:gd name="T4" fmla="*/ 0 w 92"/>
                  <a:gd name="T5" fmla="*/ 115 h 115"/>
                  <a:gd name="T6" fmla="*/ 0 w 92"/>
                  <a:gd name="T7" fmla="*/ 0 h 115"/>
                  <a:gd name="T8" fmla="*/ 90 w 92"/>
                  <a:gd name="T9" fmla="*/ 0 h 115"/>
                  <a:gd name="T10" fmla="*/ 90 w 92"/>
                  <a:gd name="T11" fmla="*/ 25 h 115"/>
                  <a:gd name="T12" fmla="*/ 32 w 92"/>
                  <a:gd name="T13" fmla="*/ 25 h 115"/>
                  <a:gd name="T14" fmla="*/ 32 w 92"/>
                  <a:gd name="T15" fmla="*/ 44 h 115"/>
                  <a:gd name="T16" fmla="*/ 83 w 92"/>
                  <a:gd name="T17" fmla="*/ 44 h 115"/>
                  <a:gd name="T18" fmla="*/ 83 w 92"/>
                  <a:gd name="T19" fmla="*/ 69 h 115"/>
                  <a:gd name="T20" fmla="*/ 32 w 92"/>
                  <a:gd name="T21" fmla="*/ 69 h 115"/>
                  <a:gd name="T22" fmla="*/ 32 w 92"/>
                  <a:gd name="T23" fmla="*/ 90 h 115"/>
                  <a:gd name="T24" fmla="*/ 92 w 92"/>
                  <a:gd name="T25" fmla="*/ 9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2" h="115">
                    <a:moveTo>
                      <a:pt x="92" y="90"/>
                    </a:moveTo>
                    <a:lnTo>
                      <a:pt x="9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25"/>
                    </a:lnTo>
                    <a:lnTo>
                      <a:pt x="32" y="25"/>
                    </a:lnTo>
                    <a:lnTo>
                      <a:pt x="32" y="44"/>
                    </a:lnTo>
                    <a:lnTo>
                      <a:pt x="83" y="44"/>
                    </a:lnTo>
                    <a:lnTo>
                      <a:pt x="83" y="69"/>
                    </a:lnTo>
                    <a:lnTo>
                      <a:pt x="32" y="69"/>
                    </a:lnTo>
                    <a:lnTo>
                      <a:pt x="32" y="90"/>
                    </a:lnTo>
                    <a:lnTo>
                      <a:pt x="92" y="9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21">
                <a:extLst>
                  <a:ext uri="{FF2B5EF4-FFF2-40B4-BE49-F238E27FC236}">
                    <a16:creationId xmlns:a16="http://schemas.microsoft.com/office/drawing/2014/main" id="{398EA96A-00DB-4181-8D23-8059D8B80F2F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934704" y="1535113"/>
                <a:ext cx="82550" cy="90487"/>
              </a:xfrm>
              <a:custGeom>
                <a:avLst/>
                <a:gdLst>
                  <a:gd name="T0" fmla="*/ 79 w 104"/>
                  <a:gd name="T1" fmla="*/ 5 h 115"/>
                  <a:gd name="T2" fmla="*/ 79 w 104"/>
                  <a:gd name="T3" fmla="*/ 5 h 115"/>
                  <a:gd name="T4" fmla="*/ 85 w 104"/>
                  <a:gd name="T5" fmla="*/ 8 h 115"/>
                  <a:gd name="T6" fmla="*/ 90 w 104"/>
                  <a:gd name="T7" fmla="*/ 12 h 115"/>
                  <a:gd name="T8" fmla="*/ 94 w 104"/>
                  <a:gd name="T9" fmla="*/ 16 h 115"/>
                  <a:gd name="T10" fmla="*/ 98 w 104"/>
                  <a:gd name="T11" fmla="*/ 20 h 115"/>
                  <a:gd name="T12" fmla="*/ 98 w 104"/>
                  <a:gd name="T13" fmla="*/ 20 h 115"/>
                  <a:gd name="T14" fmla="*/ 101 w 104"/>
                  <a:gd name="T15" fmla="*/ 27 h 115"/>
                  <a:gd name="T16" fmla="*/ 104 w 104"/>
                  <a:gd name="T17" fmla="*/ 35 h 115"/>
                  <a:gd name="T18" fmla="*/ 104 w 104"/>
                  <a:gd name="T19" fmla="*/ 43 h 115"/>
                  <a:gd name="T20" fmla="*/ 104 w 104"/>
                  <a:gd name="T21" fmla="*/ 51 h 115"/>
                  <a:gd name="T22" fmla="*/ 102 w 104"/>
                  <a:gd name="T23" fmla="*/ 59 h 115"/>
                  <a:gd name="T24" fmla="*/ 98 w 104"/>
                  <a:gd name="T25" fmla="*/ 66 h 115"/>
                  <a:gd name="T26" fmla="*/ 93 w 104"/>
                  <a:gd name="T27" fmla="*/ 72 h 115"/>
                  <a:gd name="T28" fmla="*/ 87 w 104"/>
                  <a:gd name="T29" fmla="*/ 77 h 115"/>
                  <a:gd name="T30" fmla="*/ 87 w 104"/>
                  <a:gd name="T31" fmla="*/ 77 h 115"/>
                  <a:gd name="T32" fmla="*/ 79 w 104"/>
                  <a:gd name="T33" fmla="*/ 81 h 115"/>
                  <a:gd name="T34" fmla="*/ 79 w 104"/>
                  <a:gd name="T35" fmla="*/ 81 h 115"/>
                  <a:gd name="T36" fmla="*/ 72 w 104"/>
                  <a:gd name="T37" fmla="*/ 83 h 115"/>
                  <a:gd name="T38" fmla="*/ 66 w 104"/>
                  <a:gd name="T39" fmla="*/ 85 h 115"/>
                  <a:gd name="T40" fmla="*/ 59 w 104"/>
                  <a:gd name="T41" fmla="*/ 85 h 115"/>
                  <a:gd name="T42" fmla="*/ 52 w 104"/>
                  <a:gd name="T43" fmla="*/ 86 h 115"/>
                  <a:gd name="T44" fmla="*/ 32 w 104"/>
                  <a:gd name="T45" fmla="*/ 86 h 115"/>
                  <a:gd name="T46" fmla="*/ 32 w 104"/>
                  <a:gd name="T47" fmla="*/ 115 h 115"/>
                  <a:gd name="T48" fmla="*/ 0 w 104"/>
                  <a:gd name="T49" fmla="*/ 115 h 115"/>
                  <a:gd name="T50" fmla="*/ 0 w 104"/>
                  <a:gd name="T51" fmla="*/ 0 h 115"/>
                  <a:gd name="T52" fmla="*/ 52 w 104"/>
                  <a:gd name="T53" fmla="*/ 0 h 115"/>
                  <a:gd name="T54" fmla="*/ 52 w 104"/>
                  <a:gd name="T55" fmla="*/ 0 h 115"/>
                  <a:gd name="T56" fmla="*/ 59 w 104"/>
                  <a:gd name="T57" fmla="*/ 1 h 115"/>
                  <a:gd name="T58" fmla="*/ 66 w 104"/>
                  <a:gd name="T59" fmla="*/ 2 h 115"/>
                  <a:gd name="T60" fmla="*/ 73 w 104"/>
                  <a:gd name="T61" fmla="*/ 3 h 115"/>
                  <a:gd name="T62" fmla="*/ 79 w 104"/>
                  <a:gd name="T63" fmla="*/ 5 h 115"/>
                  <a:gd name="T64" fmla="*/ 79 w 104"/>
                  <a:gd name="T65" fmla="*/ 5 h 115"/>
                  <a:gd name="T66" fmla="*/ 65 w 104"/>
                  <a:gd name="T67" fmla="*/ 56 h 115"/>
                  <a:gd name="T68" fmla="*/ 65 w 104"/>
                  <a:gd name="T69" fmla="*/ 56 h 115"/>
                  <a:gd name="T70" fmla="*/ 67 w 104"/>
                  <a:gd name="T71" fmla="*/ 53 h 115"/>
                  <a:gd name="T72" fmla="*/ 69 w 104"/>
                  <a:gd name="T73" fmla="*/ 50 h 115"/>
                  <a:gd name="T74" fmla="*/ 70 w 104"/>
                  <a:gd name="T75" fmla="*/ 46 h 115"/>
                  <a:gd name="T76" fmla="*/ 70 w 104"/>
                  <a:gd name="T77" fmla="*/ 43 h 115"/>
                  <a:gd name="T78" fmla="*/ 70 w 104"/>
                  <a:gd name="T79" fmla="*/ 43 h 115"/>
                  <a:gd name="T80" fmla="*/ 70 w 104"/>
                  <a:gd name="T81" fmla="*/ 39 h 115"/>
                  <a:gd name="T82" fmla="*/ 69 w 104"/>
                  <a:gd name="T83" fmla="*/ 36 h 115"/>
                  <a:gd name="T84" fmla="*/ 67 w 104"/>
                  <a:gd name="T85" fmla="*/ 33 h 115"/>
                  <a:gd name="T86" fmla="*/ 65 w 104"/>
                  <a:gd name="T87" fmla="*/ 30 h 115"/>
                  <a:gd name="T88" fmla="*/ 65 w 104"/>
                  <a:gd name="T89" fmla="*/ 30 h 115"/>
                  <a:gd name="T90" fmla="*/ 62 w 104"/>
                  <a:gd name="T91" fmla="*/ 28 h 115"/>
                  <a:gd name="T92" fmla="*/ 58 w 104"/>
                  <a:gd name="T93" fmla="*/ 27 h 115"/>
                  <a:gd name="T94" fmla="*/ 54 w 104"/>
                  <a:gd name="T95" fmla="*/ 26 h 115"/>
                  <a:gd name="T96" fmla="*/ 50 w 104"/>
                  <a:gd name="T97" fmla="*/ 26 h 115"/>
                  <a:gd name="T98" fmla="*/ 32 w 104"/>
                  <a:gd name="T99" fmla="*/ 26 h 115"/>
                  <a:gd name="T100" fmla="*/ 32 w 104"/>
                  <a:gd name="T101" fmla="*/ 60 h 115"/>
                  <a:gd name="T102" fmla="*/ 50 w 104"/>
                  <a:gd name="T103" fmla="*/ 60 h 115"/>
                  <a:gd name="T104" fmla="*/ 50 w 104"/>
                  <a:gd name="T105" fmla="*/ 60 h 115"/>
                  <a:gd name="T106" fmla="*/ 54 w 104"/>
                  <a:gd name="T107" fmla="*/ 60 h 115"/>
                  <a:gd name="T108" fmla="*/ 58 w 104"/>
                  <a:gd name="T109" fmla="*/ 59 h 115"/>
                  <a:gd name="T110" fmla="*/ 62 w 104"/>
                  <a:gd name="T111" fmla="*/ 58 h 115"/>
                  <a:gd name="T112" fmla="*/ 65 w 104"/>
                  <a:gd name="T113" fmla="*/ 56 h 115"/>
                  <a:gd name="T114" fmla="*/ 65 w 104"/>
                  <a:gd name="T115" fmla="*/ 56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04" h="115">
                    <a:moveTo>
                      <a:pt x="79" y="5"/>
                    </a:moveTo>
                    <a:lnTo>
                      <a:pt x="79" y="5"/>
                    </a:lnTo>
                    <a:lnTo>
                      <a:pt x="85" y="8"/>
                    </a:lnTo>
                    <a:lnTo>
                      <a:pt x="90" y="12"/>
                    </a:lnTo>
                    <a:lnTo>
                      <a:pt x="94" y="16"/>
                    </a:lnTo>
                    <a:lnTo>
                      <a:pt x="98" y="20"/>
                    </a:lnTo>
                    <a:lnTo>
                      <a:pt x="98" y="20"/>
                    </a:lnTo>
                    <a:lnTo>
                      <a:pt x="101" y="27"/>
                    </a:lnTo>
                    <a:lnTo>
                      <a:pt x="104" y="35"/>
                    </a:lnTo>
                    <a:lnTo>
                      <a:pt x="104" y="43"/>
                    </a:lnTo>
                    <a:lnTo>
                      <a:pt x="104" y="51"/>
                    </a:lnTo>
                    <a:lnTo>
                      <a:pt x="102" y="59"/>
                    </a:lnTo>
                    <a:lnTo>
                      <a:pt x="98" y="66"/>
                    </a:lnTo>
                    <a:lnTo>
                      <a:pt x="93" y="72"/>
                    </a:lnTo>
                    <a:lnTo>
                      <a:pt x="87" y="77"/>
                    </a:lnTo>
                    <a:lnTo>
                      <a:pt x="87" y="77"/>
                    </a:lnTo>
                    <a:lnTo>
                      <a:pt x="79" y="81"/>
                    </a:lnTo>
                    <a:lnTo>
                      <a:pt x="79" y="81"/>
                    </a:lnTo>
                    <a:lnTo>
                      <a:pt x="72" y="83"/>
                    </a:lnTo>
                    <a:lnTo>
                      <a:pt x="66" y="85"/>
                    </a:lnTo>
                    <a:lnTo>
                      <a:pt x="59" y="85"/>
                    </a:lnTo>
                    <a:lnTo>
                      <a:pt x="52" y="86"/>
                    </a:lnTo>
                    <a:lnTo>
                      <a:pt x="32" y="86"/>
                    </a:lnTo>
                    <a:lnTo>
                      <a:pt x="3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52" y="0"/>
                    </a:lnTo>
                    <a:lnTo>
                      <a:pt x="52" y="0"/>
                    </a:lnTo>
                    <a:lnTo>
                      <a:pt x="59" y="1"/>
                    </a:lnTo>
                    <a:lnTo>
                      <a:pt x="66" y="2"/>
                    </a:lnTo>
                    <a:lnTo>
                      <a:pt x="73" y="3"/>
                    </a:lnTo>
                    <a:lnTo>
                      <a:pt x="79" y="5"/>
                    </a:lnTo>
                    <a:lnTo>
                      <a:pt x="79" y="5"/>
                    </a:lnTo>
                    <a:close/>
                    <a:moveTo>
                      <a:pt x="65" y="56"/>
                    </a:moveTo>
                    <a:lnTo>
                      <a:pt x="65" y="56"/>
                    </a:lnTo>
                    <a:lnTo>
                      <a:pt x="67" y="53"/>
                    </a:lnTo>
                    <a:lnTo>
                      <a:pt x="69" y="50"/>
                    </a:lnTo>
                    <a:lnTo>
                      <a:pt x="70" y="46"/>
                    </a:lnTo>
                    <a:lnTo>
                      <a:pt x="70" y="43"/>
                    </a:lnTo>
                    <a:lnTo>
                      <a:pt x="70" y="43"/>
                    </a:lnTo>
                    <a:lnTo>
                      <a:pt x="70" y="39"/>
                    </a:lnTo>
                    <a:lnTo>
                      <a:pt x="69" y="36"/>
                    </a:lnTo>
                    <a:lnTo>
                      <a:pt x="67" y="33"/>
                    </a:lnTo>
                    <a:lnTo>
                      <a:pt x="65" y="30"/>
                    </a:lnTo>
                    <a:lnTo>
                      <a:pt x="65" y="30"/>
                    </a:lnTo>
                    <a:lnTo>
                      <a:pt x="62" y="28"/>
                    </a:lnTo>
                    <a:lnTo>
                      <a:pt x="58" y="27"/>
                    </a:lnTo>
                    <a:lnTo>
                      <a:pt x="54" y="26"/>
                    </a:lnTo>
                    <a:lnTo>
                      <a:pt x="50" y="26"/>
                    </a:lnTo>
                    <a:lnTo>
                      <a:pt x="32" y="26"/>
                    </a:lnTo>
                    <a:lnTo>
                      <a:pt x="32" y="60"/>
                    </a:lnTo>
                    <a:lnTo>
                      <a:pt x="50" y="60"/>
                    </a:lnTo>
                    <a:lnTo>
                      <a:pt x="50" y="60"/>
                    </a:lnTo>
                    <a:lnTo>
                      <a:pt x="54" y="60"/>
                    </a:lnTo>
                    <a:lnTo>
                      <a:pt x="58" y="59"/>
                    </a:lnTo>
                    <a:lnTo>
                      <a:pt x="62" y="58"/>
                    </a:lnTo>
                    <a:lnTo>
                      <a:pt x="65" y="56"/>
                    </a:lnTo>
                    <a:lnTo>
                      <a:pt x="65" y="5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22">
                <a:extLst>
                  <a:ext uri="{FF2B5EF4-FFF2-40B4-BE49-F238E27FC236}">
                    <a16:creationId xmlns:a16="http://schemas.microsoft.com/office/drawing/2014/main" id="{F17DCD5F-BE71-4928-A746-5A2790B2D15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029954" y="1535113"/>
                <a:ext cx="74613" cy="90487"/>
              </a:xfrm>
              <a:custGeom>
                <a:avLst/>
                <a:gdLst>
                  <a:gd name="T0" fmla="*/ 93 w 93"/>
                  <a:gd name="T1" fmla="*/ 90 h 115"/>
                  <a:gd name="T2" fmla="*/ 93 w 93"/>
                  <a:gd name="T3" fmla="*/ 115 h 115"/>
                  <a:gd name="T4" fmla="*/ 0 w 93"/>
                  <a:gd name="T5" fmla="*/ 115 h 115"/>
                  <a:gd name="T6" fmla="*/ 0 w 93"/>
                  <a:gd name="T7" fmla="*/ 0 h 115"/>
                  <a:gd name="T8" fmla="*/ 91 w 93"/>
                  <a:gd name="T9" fmla="*/ 0 h 115"/>
                  <a:gd name="T10" fmla="*/ 91 w 93"/>
                  <a:gd name="T11" fmla="*/ 25 h 115"/>
                  <a:gd name="T12" fmla="*/ 32 w 93"/>
                  <a:gd name="T13" fmla="*/ 25 h 115"/>
                  <a:gd name="T14" fmla="*/ 32 w 93"/>
                  <a:gd name="T15" fmla="*/ 44 h 115"/>
                  <a:gd name="T16" fmla="*/ 83 w 93"/>
                  <a:gd name="T17" fmla="*/ 44 h 115"/>
                  <a:gd name="T18" fmla="*/ 83 w 93"/>
                  <a:gd name="T19" fmla="*/ 69 h 115"/>
                  <a:gd name="T20" fmla="*/ 32 w 93"/>
                  <a:gd name="T21" fmla="*/ 69 h 115"/>
                  <a:gd name="T22" fmla="*/ 32 w 93"/>
                  <a:gd name="T23" fmla="*/ 90 h 115"/>
                  <a:gd name="T24" fmla="*/ 93 w 93"/>
                  <a:gd name="T25" fmla="*/ 9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3" h="115">
                    <a:moveTo>
                      <a:pt x="93" y="90"/>
                    </a:moveTo>
                    <a:lnTo>
                      <a:pt x="93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91" y="0"/>
                    </a:lnTo>
                    <a:lnTo>
                      <a:pt x="91" y="25"/>
                    </a:lnTo>
                    <a:lnTo>
                      <a:pt x="32" y="25"/>
                    </a:lnTo>
                    <a:lnTo>
                      <a:pt x="32" y="44"/>
                    </a:lnTo>
                    <a:lnTo>
                      <a:pt x="83" y="44"/>
                    </a:lnTo>
                    <a:lnTo>
                      <a:pt x="83" y="69"/>
                    </a:lnTo>
                    <a:lnTo>
                      <a:pt x="32" y="69"/>
                    </a:lnTo>
                    <a:lnTo>
                      <a:pt x="32" y="90"/>
                    </a:lnTo>
                    <a:lnTo>
                      <a:pt x="93" y="9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23">
                <a:extLst>
                  <a:ext uri="{FF2B5EF4-FFF2-40B4-BE49-F238E27FC236}">
                    <a16:creationId xmlns:a16="http://schemas.microsoft.com/office/drawing/2014/main" id="{67C9DECD-1312-4844-8E93-0EAA8EB1777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122029" y="1535113"/>
                <a:ext cx="122238" cy="90487"/>
              </a:xfrm>
              <a:custGeom>
                <a:avLst/>
                <a:gdLst>
                  <a:gd name="T0" fmla="*/ 155 w 155"/>
                  <a:gd name="T1" fmla="*/ 0 h 115"/>
                  <a:gd name="T2" fmla="*/ 155 w 155"/>
                  <a:gd name="T3" fmla="*/ 115 h 115"/>
                  <a:gd name="T4" fmla="*/ 0 w 155"/>
                  <a:gd name="T5" fmla="*/ 115 h 115"/>
                  <a:gd name="T6" fmla="*/ 0 w 155"/>
                  <a:gd name="T7" fmla="*/ 0 h 115"/>
                  <a:gd name="T8" fmla="*/ 31 w 155"/>
                  <a:gd name="T9" fmla="*/ 0 h 115"/>
                  <a:gd name="T10" fmla="*/ 31 w 155"/>
                  <a:gd name="T11" fmla="*/ 90 h 115"/>
                  <a:gd name="T12" fmla="*/ 61 w 155"/>
                  <a:gd name="T13" fmla="*/ 90 h 115"/>
                  <a:gd name="T14" fmla="*/ 61 w 155"/>
                  <a:gd name="T15" fmla="*/ 0 h 115"/>
                  <a:gd name="T16" fmla="*/ 93 w 155"/>
                  <a:gd name="T17" fmla="*/ 0 h 115"/>
                  <a:gd name="T18" fmla="*/ 93 w 155"/>
                  <a:gd name="T19" fmla="*/ 90 h 115"/>
                  <a:gd name="T20" fmla="*/ 123 w 155"/>
                  <a:gd name="T21" fmla="*/ 90 h 115"/>
                  <a:gd name="T22" fmla="*/ 123 w 155"/>
                  <a:gd name="T23" fmla="*/ 0 h 115"/>
                  <a:gd name="T24" fmla="*/ 155 w 155"/>
                  <a:gd name="T25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5" h="115">
                    <a:moveTo>
                      <a:pt x="155" y="0"/>
                    </a:moveTo>
                    <a:lnTo>
                      <a:pt x="155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1" y="0"/>
                    </a:lnTo>
                    <a:lnTo>
                      <a:pt x="31" y="90"/>
                    </a:lnTo>
                    <a:lnTo>
                      <a:pt x="61" y="90"/>
                    </a:lnTo>
                    <a:lnTo>
                      <a:pt x="61" y="0"/>
                    </a:lnTo>
                    <a:lnTo>
                      <a:pt x="93" y="0"/>
                    </a:lnTo>
                    <a:lnTo>
                      <a:pt x="93" y="90"/>
                    </a:lnTo>
                    <a:lnTo>
                      <a:pt x="123" y="90"/>
                    </a:lnTo>
                    <a:lnTo>
                      <a:pt x="123" y="0"/>
                    </a:lnTo>
                    <a:lnTo>
                      <a:pt x="15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24">
                <a:extLst>
                  <a:ext uri="{FF2B5EF4-FFF2-40B4-BE49-F238E27FC236}">
                    <a16:creationId xmlns:a16="http://schemas.microsoft.com/office/drawing/2014/main" id="{84435BBC-B99D-4B8E-AA14-6AD30CFEF4F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268079" y="1535113"/>
                <a:ext cx="71438" cy="90487"/>
              </a:xfrm>
              <a:custGeom>
                <a:avLst/>
                <a:gdLst>
                  <a:gd name="T0" fmla="*/ 92 w 92"/>
                  <a:gd name="T1" fmla="*/ 90 h 115"/>
                  <a:gd name="T2" fmla="*/ 92 w 92"/>
                  <a:gd name="T3" fmla="*/ 115 h 115"/>
                  <a:gd name="T4" fmla="*/ 0 w 92"/>
                  <a:gd name="T5" fmla="*/ 115 h 115"/>
                  <a:gd name="T6" fmla="*/ 0 w 92"/>
                  <a:gd name="T7" fmla="*/ 0 h 115"/>
                  <a:gd name="T8" fmla="*/ 90 w 92"/>
                  <a:gd name="T9" fmla="*/ 0 h 115"/>
                  <a:gd name="T10" fmla="*/ 90 w 92"/>
                  <a:gd name="T11" fmla="*/ 25 h 115"/>
                  <a:gd name="T12" fmla="*/ 32 w 92"/>
                  <a:gd name="T13" fmla="*/ 25 h 115"/>
                  <a:gd name="T14" fmla="*/ 32 w 92"/>
                  <a:gd name="T15" fmla="*/ 44 h 115"/>
                  <a:gd name="T16" fmla="*/ 83 w 92"/>
                  <a:gd name="T17" fmla="*/ 44 h 115"/>
                  <a:gd name="T18" fmla="*/ 83 w 92"/>
                  <a:gd name="T19" fmla="*/ 69 h 115"/>
                  <a:gd name="T20" fmla="*/ 32 w 92"/>
                  <a:gd name="T21" fmla="*/ 69 h 115"/>
                  <a:gd name="T22" fmla="*/ 32 w 92"/>
                  <a:gd name="T23" fmla="*/ 90 h 115"/>
                  <a:gd name="T24" fmla="*/ 92 w 92"/>
                  <a:gd name="T25" fmla="*/ 9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2" h="115">
                    <a:moveTo>
                      <a:pt x="92" y="90"/>
                    </a:moveTo>
                    <a:lnTo>
                      <a:pt x="9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25"/>
                    </a:lnTo>
                    <a:lnTo>
                      <a:pt x="32" y="25"/>
                    </a:lnTo>
                    <a:lnTo>
                      <a:pt x="32" y="44"/>
                    </a:lnTo>
                    <a:lnTo>
                      <a:pt x="83" y="44"/>
                    </a:lnTo>
                    <a:lnTo>
                      <a:pt x="83" y="69"/>
                    </a:lnTo>
                    <a:lnTo>
                      <a:pt x="32" y="69"/>
                    </a:lnTo>
                    <a:lnTo>
                      <a:pt x="32" y="90"/>
                    </a:lnTo>
                    <a:lnTo>
                      <a:pt x="92" y="9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25">
                <a:extLst>
                  <a:ext uri="{FF2B5EF4-FFF2-40B4-BE49-F238E27FC236}">
                    <a16:creationId xmlns:a16="http://schemas.microsoft.com/office/drawing/2014/main" id="{CC6E4A5E-09E9-47ED-BE3D-D63143796F1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358566" y="1535113"/>
                <a:ext cx="85725" cy="90487"/>
              </a:xfrm>
              <a:custGeom>
                <a:avLst/>
                <a:gdLst>
                  <a:gd name="T0" fmla="*/ 109 w 109"/>
                  <a:gd name="T1" fmla="*/ 0 h 115"/>
                  <a:gd name="T2" fmla="*/ 109 w 109"/>
                  <a:gd name="T3" fmla="*/ 115 h 115"/>
                  <a:gd name="T4" fmla="*/ 77 w 109"/>
                  <a:gd name="T5" fmla="*/ 115 h 115"/>
                  <a:gd name="T6" fmla="*/ 77 w 109"/>
                  <a:gd name="T7" fmla="*/ 71 h 115"/>
                  <a:gd name="T8" fmla="*/ 32 w 109"/>
                  <a:gd name="T9" fmla="*/ 71 h 115"/>
                  <a:gd name="T10" fmla="*/ 32 w 109"/>
                  <a:gd name="T11" fmla="*/ 115 h 115"/>
                  <a:gd name="T12" fmla="*/ 0 w 109"/>
                  <a:gd name="T13" fmla="*/ 115 h 115"/>
                  <a:gd name="T14" fmla="*/ 0 w 109"/>
                  <a:gd name="T15" fmla="*/ 0 h 115"/>
                  <a:gd name="T16" fmla="*/ 32 w 109"/>
                  <a:gd name="T17" fmla="*/ 0 h 115"/>
                  <a:gd name="T18" fmla="*/ 32 w 109"/>
                  <a:gd name="T19" fmla="*/ 43 h 115"/>
                  <a:gd name="T20" fmla="*/ 77 w 109"/>
                  <a:gd name="T21" fmla="*/ 43 h 115"/>
                  <a:gd name="T22" fmla="*/ 77 w 109"/>
                  <a:gd name="T23" fmla="*/ 0 h 115"/>
                  <a:gd name="T24" fmla="*/ 109 w 109"/>
                  <a:gd name="T25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9" h="115">
                    <a:moveTo>
                      <a:pt x="109" y="0"/>
                    </a:moveTo>
                    <a:lnTo>
                      <a:pt x="109" y="115"/>
                    </a:lnTo>
                    <a:lnTo>
                      <a:pt x="77" y="115"/>
                    </a:lnTo>
                    <a:lnTo>
                      <a:pt x="77" y="71"/>
                    </a:lnTo>
                    <a:lnTo>
                      <a:pt x="32" y="71"/>
                    </a:lnTo>
                    <a:lnTo>
                      <a:pt x="3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2" y="0"/>
                    </a:lnTo>
                    <a:lnTo>
                      <a:pt x="32" y="43"/>
                    </a:lnTo>
                    <a:lnTo>
                      <a:pt x="77" y="43"/>
                    </a:lnTo>
                    <a:lnTo>
                      <a:pt x="77" y="0"/>
                    </a:lnTo>
                    <a:lnTo>
                      <a:pt x="109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26">
                <a:extLst>
                  <a:ext uri="{FF2B5EF4-FFF2-40B4-BE49-F238E27FC236}">
                    <a16:creationId xmlns:a16="http://schemas.microsoft.com/office/drawing/2014/main" id="{B9E1E04A-8288-4971-84E6-DC2048EF35F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466516" y="1535113"/>
                <a:ext cx="87313" cy="90487"/>
              </a:xfrm>
              <a:custGeom>
                <a:avLst/>
                <a:gdLst>
                  <a:gd name="T0" fmla="*/ 0 w 110"/>
                  <a:gd name="T1" fmla="*/ 0 h 115"/>
                  <a:gd name="T2" fmla="*/ 32 w 110"/>
                  <a:gd name="T3" fmla="*/ 0 h 115"/>
                  <a:gd name="T4" fmla="*/ 32 w 110"/>
                  <a:gd name="T5" fmla="*/ 68 h 115"/>
                  <a:gd name="T6" fmla="*/ 80 w 110"/>
                  <a:gd name="T7" fmla="*/ 0 h 115"/>
                  <a:gd name="T8" fmla="*/ 110 w 110"/>
                  <a:gd name="T9" fmla="*/ 0 h 115"/>
                  <a:gd name="T10" fmla="*/ 110 w 110"/>
                  <a:gd name="T11" fmla="*/ 115 h 115"/>
                  <a:gd name="T12" fmla="*/ 78 w 110"/>
                  <a:gd name="T13" fmla="*/ 115 h 115"/>
                  <a:gd name="T14" fmla="*/ 78 w 110"/>
                  <a:gd name="T15" fmla="*/ 48 h 115"/>
                  <a:gd name="T16" fmla="*/ 30 w 110"/>
                  <a:gd name="T17" fmla="*/ 115 h 115"/>
                  <a:gd name="T18" fmla="*/ 0 w 110"/>
                  <a:gd name="T19" fmla="*/ 115 h 115"/>
                  <a:gd name="T20" fmla="*/ 0 w 110"/>
                  <a:gd name="T21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0" h="115">
                    <a:moveTo>
                      <a:pt x="0" y="0"/>
                    </a:moveTo>
                    <a:lnTo>
                      <a:pt x="32" y="0"/>
                    </a:lnTo>
                    <a:lnTo>
                      <a:pt x="32" y="68"/>
                    </a:lnTo>
                    <a:lnTo>
                      <a:pt x="80" y="0"/>
                    </a:lnTo>
                    <a:lnTo>
                      <a:pt x="110" y="0"/>
                    </a:lnTo>
                    <a:lnTo>
                      <a:pt x="110" y="115"/>
                    </a:lnTo>
                    <a:lnTo>
                      <a:pt x="78" y="115"/>
                    </a:lnTo>
                    <a:lnTo>
                      <a:pt x="78" y="48"/>
                    </a:lnTo>
                    <a:lnTo>
                      <a:pt x="30" y="115"/>
                    </a:lnTo>
                    <a:lnTo>
                      <a:pt x="0" y="11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27">
                <a:extLst>
                  <a:ext uri="{FF2B5EF4-FFF2-40B4-BE49-F238E27FC236}">
                    <a16:creationId xmlns:a16="http://schemas.microsoft.com/office/drawing/2014/main" id="{1B59B090-1571-4B52-BE8C-772E034F93E1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1571291" y="1535113"/>
                <a:ext cx="80963" cy="90487"/>
              </a:xfrm>
              <a:custGeom>
                <a:avLst/>
                <a:gdLst>
                  <a:gd name="T0" fmla="*/ 103 w 103"/>
                  <a:gd name="T1" fmla="*/ 0 h 115"/>
                  <a:gd name="T2" fmla="*/ 103 w 103"/>
                  <a:gd name="T3" fmla="*/ 115 h 115"/>
                  <a:gd name="T4" fmla="*/ 71 w 103"/>
                  <a:gd name="T5" fmla="*/ 115 h 115"/>
                  <a:gd name="T6" fmla="*/ 71 w 103"/>
                  <a:gd name="T7" fmla="*/ 87 h 115"/>
                  <a:gd name="T8" fmla="*/ 54 w 103"/>
                  <a:gd name="T9" fmla="*/ 87 h 115"/>
                  <a:gd name="T10" fmla="*/ 34 w 103"/>
                  <a:gd name="T11" fmla="*/ 115 h 115"/>
                  <a:gd name="T12" fmla="*/ 0 w 103"/>
                  <a:gd name="T13" fmla="*/ 115 h 115"/>
                  <a:gd name="T14" fmla="*/ 23 w 103"/>
                  <a:gd name="T15" fmla="*/ 82 h 115"/>
                  <a:gd name="T16" fmla="*/ 23 w 103"/>
                  <a:gd name="T17" fmla="*/ 82 h 115"/>
                  <a:gd name="T18" fmla="*/ 18 w 103"/>
                  <a:gd name="T19" fmla="*/ 79 h 115"/>
                  <a:gd name="T20" fmla="*/ 13 w 103"/>
                  <a:gd name="T21" fmla="*/ 76 h 115"/>
                  <a:gd name="T22" fmla="*/ 9 w 103"/>
                  <a:gd name="T23" fmla="*/ 72 h 115"/>
                  <a:gd name="T24" fmla="*/ 6 w 103"/>
                  <a:gd name="T25" fmla="*/ 67 h 115"/>
                  <a:gd name="T26" fmla="*/ 6 w 103"/>
                  <a:gd name="T27" fmla="*/ 67 h 115"/>
                  <a:gd name="T28" fmla="*/ 3 w 103"/>
                  <a:gd name="T29" fmla="*/ 62 h 115"/>
                  <a:gd name="T30" fmla="*/ 1 w 103"/>
                  <a:gd name="T31" fmla="*/ 57 h 115"/>
                  <a:gd name="T32" fmla="*/ 0 w 103"/>
                  <a:gd name="T33" fmla="*/ 51 h 115"/>
                  <a:gd name="T34" fmla="*/ 0 w 103"/>
                  <a:gd name="T35" fmla="*/ 44 h 115"/>
                  <a:gd name="T36" fmla="*/ 0 w 103"/>
                  <a:gd name="T37" fmla="*/ 44 h 115"/>
                  <a:gd name="T38" fmla="*/ 0 w 103"/>
                  <a:gd name="T39" fmla="*/ 38 h 115"/>
                  <a:gd name="T40" fmla="*/ 1 w 103"/>
                  <a:gd name="T41" fmla="*/ 32 h 115"/>
                  <a:gd name="T42" fmla="*/ 3 w 103"/>
                  <a:gd name="T43" fmla="*/ 26 h 115"/>
                  <a:gd name="T44" fmla="*/ 6 w 103"/>
                  <a:gd name="T45" fmla="*/ 21 h 115"/>
                  <a:gd name="T46" fmla="*/ 6 w 103"/>
                  <a:gd name="T47" fmla="*/ 21 h 115"/>
                  <a:gd name="T48" fmla="*/ 10 w 103"/>
                  <a:gd name="T49" fmla="*/ 16 h 115"/>
                  <a:gd name="T50" fmla="*/ 14 w 103"/>
                  <a:gd name="T51" fmla="*/ 12 h 115"/>
                  <a:gd name="T52" fmla="*/ 19 w 103"/>
                  <a:gd name="T53" fmla="*/ 8 h 115"/>
                  <a:gd name="T54" fmla="*/ 24 w 103"/>
                  <a:gd name="T55" fmla="*/ 6 h 115"/>
                  <a:gd name="T56" fmla="*/ 24 w 103"/>
                  <a:gd name="T57" fmla="*/ 6 h 115"/>
                  <a:gd name="T58" fmla="*/ 30 w 103"/>
                  <a:gd name="T59" fmla="*/ 3 h 115"/>
                  <a:gd name="T60" fmla="*/ 37 w 103"/>
                  <a:gd name="T61" fmla="*/ 2 h 115"/>
                  <a:gd name="T62" fmla="*/ 45 w 103"/>
                  <a:gd name="T63" fmla="*/ 1 h 115"/>
                  <a:gd name="T64" fmla="*/ 52 w 103"/>
                  <a:gd name="T65" fmla="*/ 1 h 115"/>
                  <a:gd name="T66" fmla="*/ 103 w 103"/>
                  <a:gd name="T67" fmla="*/ 0 h 115"/>
                  <a:gd name="T68" fmla="*/ 32 w 103"/>
                  <a:gd name="T69" fmla="*/ 43 h 115"/>
                  <a:gd name="T70" fmla="*/ 32 w 103"/>
                  <a:gd name="T71" fmla="*/ 43 h 115"/>
                  <a:gd name="T72" fmla="*/ 33 w 103"/>
                  <a:gd name="T73" fmla="*/ 48 h 115"/>
                  <a:gd name="T74" fmla="*/ 34 w 103"/>
                  <a:gd name="T75" fmla="*/ 51 h 115"/>
                  <a:gd name="T76" fmla="*/ 35 w 103"/>
                  <a:gd name="T77" fmla="*/ 54 h 115"/>
                  <a:gd name="T78" fmla="*/ 37 w 103"/>
                  <a:gd name="T79" fmla="*/ 57 h 115"/>
                  <a:gd name="T80" fmla="*/ 37 w 103"/>
                  <a:gd name="T81" fmla="*/ 57 h 115"/>
                  <a:gd name="T82" fmla="*/ 42 w 103"/>
                  <a:gd name="T83" fmla="*/ 59 h 115"/>
                  <a:gd name="T84" fmla="*/ 45 w 103"/>
                  <a:gd name="T85" fmla="*/ 61 h 115"/>
                  <a:gd name="T86" fmla="*/ 49 w 103"/>
                  <a:gd name="T87" fmla="*/ 62 h 115"/>
                  <a:gd name="T88" fmla="*/ 52 w 103"/>
                  <a:gd name="T89" fmla="*/ 62 h 115"/>
                  <a:gd name="T90" fmla="*/ 72 w 103"/>
                  <a:gd name="T91" fmla="*/ 62 h 115"/>
                  <a:gd name="T92" fmla="*/ 72 w 103"/>
                  <a:gd name="T93" fmla="*/ 26 h 115"/>
                  <a:gd name="T94" fmla="*/ 53 w 103"/>
                  <a:gd name="T95" fmla="*/ 26 h 115"/>
                  <a:gd name="T96" fmla="*/ 53 w 103"/>
                  <a:gd name="T97" fmla="*/ 26 h 115"/>
                  <a:gd name="T98" fmla="*/ 48 w 103"/>
                  <a:gd name="T99" fmla="*/ 26 h 115"/>
                  <a:gd name="T100" fmla="*/ 44 w 103"/>
                  <a:gd name="T101" fmla="*/ 27 h 115"/>
                  <a:gd name="T102" fmla="*/ 41 w 103"/>
                  <a:gd name="T103" fmla="*/ 28 h 115"/>
                  <a:gd name="T104" fmla="*/ 37 w 103"/>
                  <a:gd name="T105" fmla="*/ 30 h 115"/>
                  <a:gd name="T106" fmla="*/ 35 w 103"/>
                  <a:gd name="T107" fmla="*/ 32 h 115"/>
                  <a:gd name="T108" fmla="*/ 34 w 103"/>
                  <a:gd name="T109" fmla="*/ 35 h 115"/>
                  <a:gd name="T110" fmla="*/ 33 w 103"/>
                  <a:gd name="T111" fmla="*/ 39 h 115"/>
                  <a:gd name="T112" fmla="*/ 32 w 103"/>
                  <a:gd name="T113" fmla="*/ 43 h 115"/>
                  <a:gd name="T114" fmla="*/ 32 w 103"/>
                  <a:gd name="T115" fmla="*/ 43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03" h="115">
                    <a:moveTo>
                      <a:pt x="103" y="0"/>
                    </a:moveTo>
                    <a:lnTo>
                      <a:pt x="103" y="115"/>
                    </a:lnTo>
                    <a:lnTo>
                      <a:pt x="71" y="115"/>
                    </a:lnTo>
                    <a:lnTo>
                      <a:pt x="71" y="87"/>
                    </a:lnTo>
                    <a:lnTo>
                      <a:pt x="54" y="87"/>
                    </a:lnTo>
                    <a:lnTo>
                      <a:pt x="34" y="115"/>
                    </a:lnTo>
                    <a:lnTo>
                      <a:pt x="0" y="115"/>
                    </a:lnTo>
                    <a:lnTo>
                      <a:pt x="23" y="82"/>
                    </a:lnTo>
                    <a:lnTo>
                      <a:pt x="23" y="82"/>
                    </a:lnTo>
                    <a:lnTo>
                      <a:pt x="18" y="79"/>
                    </a:lnTo>
                    <a:lnTo>
                      <a:pt x="13" y="76"/>
                    </a:lnTo>
                    <a:lnTo>
                      <a:pt x="9" y="72"/>
                    </a:lnTo>
                    <a:lnTo>
                      <a:pt x="6" y="67"/>
                    </a:lnTo>
                    <a:lnTo>
                      <a:pt x="6" y="67"/>
                    </a:lnTo>
                    <a:lnTo>
                      <a:pt x="3" y="62"/>
                    </a:lnTo>
                    <a:lnTo>
                      <a:pt x="1" y="57"/>
                    </a:lnTo>
                    <a:lnTo>
                      <a:pt x="0" y="51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38"/>
                    </a:lnTo>
                    <a:lnTo>
                      <a:pt x="1" y="32"/>
                    </a:lnTo>
                    <a:lnTo>
                      <a:pt x="3" y="26"/>
                    </a:lnTo>
                    <a:lnTo>
                      <a:pt x="6" y="21"/>
                    </a:lnTo>
                    <a:lnTo>
                      <a:pt x="6" y="21"/>
                    </a:lnTo>
                    <a:lnTo>
                      <a:pt x="10" y="16"/>
                    </a:lnTo>
                    <a:lnTo>
                      <a:pt x="14" y="12"/>
                    </a:lnTo>
                    <a:lnTo>
                      <a:pt x="19" y="8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30" y="3"/>
                    </a:lnTo>
                    <a:lnTo>
                      <a:pt x="37" y="2"/>
                    </a:lnTo>
                    <a:lnTo>
                      <a:pt x="45" y="1"/>
                    </a:lnTo>
                    <a:lnTo>
                      <a:pt x="52" y="1"/>
                    </a:lnTo>
                    <a:lnTo>
                      <a:pt x="103" y="0"/>
                    </a:lnTo>
                    <a:close/>
                    <a:moveTo>
                      <a:pt x="32" y="43"/>
                    </a:moveTo>
                    <a:lnTo>
                      <a:pt x="32" y="43"/>
                    </a:lnTo>
                    <a:lnTo>
                      <a:pt x="33" y="48"/>
                    </a:lnTo>
                    <a:lnTo>
                      <a:pt x="34" y="51"/>
                    </a:lnTo>
                    <a:lnTo>
                      <a:pt x="35" y="54"/>
                    </a:lnTo>
                    <a:lnTo>
                      <a:pt x="37" y="57"/>
                    </a:lnTo>
                    <a:lnTo>
                      <a:pt x="37" y="57"/>
                    </a:lnTo>
                    <a:lnTo>
                      <a:pt x="42" y="59"/>
                    </a:lnTo>
                    <a:lnTo>
                      <a:pt x="45" y="61"/>
                    </a:lnTo>
                    <a:lnTo>
                      <a:pt x="49" y="62"/>
                    </a:lnTo>
                    <a:lnTo>
                      <a:pt x="52" y="62"/>
                    </a:lnTo>
                    <a:lnTo>
                      <a:pt x="72" y="62"/>
                    </a:lnTo>
                    <a:lnTo>
                      <a:pt x="72" y="26"/>
                    </a:lnTo>
                    <a:lnTo>
                      <a:pt x="53" y="26"/>
                    </a:lnTo>
                    <a:lnTo>
                      <a:pt x="53" y="26"/>
                    </a:lnTo>
                    <a:lnTo>
                      <a:pt x="48" y="26"/>
                    </a:lnTo>
                    <a:lnTo>
                      <a:pt x="44" y="27"/>
                    </a:lnTo>
                    <a:lnTo>
                      <a:pt x="41" y="28"/>
                    </a:lnTo>
                    <a:lnTo>
                      <a:pt x="37" y="30"/>
                    </a:lnTo>
                    <a:lnTo>
                      <a:pt x="35" y="32"/>
                    </a:lnTo>
                    <a:lnTo>
                      <a:pt x="34" y="35"/>
                    </a:lnTo>
                    <a:lnTo>
                      <a:pt x="33" y="39"/>
                    </a:lnTo>
                    <a:lnTo>
                      <a:pt x="32" y="43"/>
                    </a:lnTo>
                    <a:lnTo>
                      <a:pt x="32" y="4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12139D71-2B8B-4F31-8B50-2E26542B7E77}"/>
                </a:ext>
              </a:extLst>
            </p:cNvPr>
            <p:cNvGrpSpPr/>
            <p:nvPr userDrawn="1"/>
          </p:nvGrpSpPr>
          <p:grpSpPr>
            <a:xfrm>
              <a:off x="10332720" y="658368"/>
              <a:ext cx="670092" cy="617763"/>
              <a:chOff x="10301291" y="611188"/>
              <a:chExt cx="731838" cy="674687"/>
            </a:xfrm>
          </p:grpSpPr>
          <p:sp>
            <p:nvSpPr>
              <p:cNvPr id="46" name="Freeform 28">
                <a:extLst>
                  <a:ext uri="{FF2B5EF4-FFF2-40B4-BE49-F238E27FC236}">
                    <a16:creationId xmlns:a16="http://schemas.microsoft.com/office/drawing/2014/main" id="{8B06BECA-B7D3-46D3-8F55-32C186FAA1F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301291" y="611188"/>
                <a:ext cx="731838" cy="674687"/>
              </a:xfrm>
              <a:custGeom>
                <a:avLst/>
                <a:gdLst>
                  <a:gd name="T0" fmla="*/ 922 w 922"/>
                  <a:gd name="T1" fmla="*/ 0 h 850"/>
                  <a:gd name="T2" fmla="*/ 922 w 922"/>
                  <a:gd name="T3" fmla="*/ 850 h 850"/>
                  <a:gd name="T4" fmla="*/ 0 w 922"/>
                  <a:gd name="T5" fmla="*/ 850 h 850"/>
                  <a:gd name="T6" fmla="*/ 922 w 922"/>
                  <a:gd name="T7" fmla="*/ 0 h 8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22" h="850">
                    <a:moveTo>
                      <a:pt x="922" y="0"/>
                    </a:moveTo>
                    <a:lnTo>
                      <a:pt x="922" y="850"/>
                    </a:lnTo>
                    <a:lnTo>
                      <a:pt x="0" y="850"/>
                    </a:lnTo>
                    <a:lnTo>
                      <a:pt x="922" y="0"/>
                    </a:lnTo>
                    <a:close/>
                  </a:path>
                </a:pathLst>
              </a:custGeom>
              <a:solidFill>
                <a:srgbClr val="46AC4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9">
                <a:extLst>
                  <a:ext uri="{FF2B5EF4-FFF2-40B4-BE49-F238E27FC236}">
                    <a16:creationId xmlns:a16="http://schemas.microsoft.com/office/drawing/2014/main" id="{058A0F03-E7AE-4302-9EC8-69AE218EBF1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877554" y="611188"/>
                <a:ext cx="155575" cy="674687"/>
              </a:xfrm>
              <a:custGeom>
                <a:avLst/>
                <a:gdLst>
                  <a:gd name="T0" fmla="*/ 196 w 196"/>
                  <a:gd name="T1" fmla="*/ 0 h 850"/>
                  <a:gd name="T2" fmla="*/ 196 w 196"/>
                  <a:gd name="T3" fmla="*/ 850 h 850"/>
                  <a:gd name="T4" fmla="*/ 0 w 196"/>
                  <a:gd name="T5" fmla="*/ 850 h 850"/>
                  <a:gd name="T6" fmla="*/ 0 w 196"/>
                  <a:gd name="T7" fmla="*/ 181 h 850"/>
                  <a:gd name="T8" fmla="*/ 196 w 196"/>
                  <a:gd name="T9" fmla="*/ 0 h 8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6" h="850">
                    <a:moveTo>
                      <a:pt x="196" y="0"/>
                    </a:moveTo>
                    <a:lnTo>
                      <a:pt x="196" y="850"/>
                    </a:lnTo>
                    <a:lnTo>
                      <a:pt x="0" y="850"/>
                    </a:lnTo>
                    <a:lnTo>
                      <a:pt x="0" y="181"/>
                    </a:lnTo>
                    <a:lnTo>
                      <a:pt x="196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30">
                <a:extLst>
                  <a:ext uri="{FF2B5EF4-FFF2-40B4-BE49-F238E27FC236}">
                    <a16:creationId xmlns:a16="http://schemas.microsoft.com/office/drawing/2014/main" id="{B57539D3-A3A8-44EE-9DC9-C2BC47970005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301291" y="625475"/>
                <a:ext cx="493713" cy="660400"/>
              </a:xfrm>
              <a:custGeom>
                <a:avLst/>
                <a:gdLst>
                  <a:gd name="T0" fmla="*/ 339 w 622"/>
                  <a:gd name="T1" fmla="*/ 302 h 833"/>
                  <a:gd name="T2" fmla="*/ 366 w 622"/>
                  <a:gd name="T3" fmla="*/ 303 h 833"/>
                  <a:gd name="T4" fmla="*/ 419 w 622"/>
                  <a:gd name="T5" fmla="*/ 309 h 833"/>
                  <a:gd name="T6" fmla="*/ 447 w 622"/>
                  <a:gd name="T7" fmla="*/ 315 h 833"/>
                  <a:gd name="T8" fmla="*/ 493 w 622"/>
                  <a:gd name="T9" fmla="*/ 332 h 833"/>
                  <a:gd name="T10" fmla="*/ 536 w 622"/>
                  <a:gd name="T11" fmla="*/ 358 h 833"/>
                  <a:gd name="T12" fmla="*/ 546 w 622"/>
                  <a:gd name="T13" fmla="*/ 366 h 833"/>
                  <a:gd name="T14" fmla="*/ 564 w 622"/>
                  <a:gd name="T15" fmla="*/ 383 h 833"/>
                  <a:gd name="T16" fmla="*/ 580 w 622"/>
                  <a:gd name="T17" fmla="*/ 404 h 833"/>
                  <a:gd name="T18" fmla="*/ 594 w 622"/>
                  <a:gd name="T19" fmla="*/ 428 h 833"/>
                  <a:gd name="T20" fmla="*/ 600 w 622"/>
                  <a:gd name="T21" fmla="*/ 440 h 833"/>
                  <a:gd name="T22" fmla="*/ 609 w 622"/>
                  <a:gd name="T23" fmla="*/ 468 h 833"/>
                  <a:gd name="T24" fmla="*/ 616 w 622"/>
                  <a:gd name="T25" fmla="*/ 500 h 833"/>
                  <a:gd name="T26" fmla="*/ 620 w 622"/>
                  <a:gd name="T27" fmla="*/ 532 h 833"/>
                  <a:gd name="T28" fmla="*/ 622 w 622"/>
                  <a:gd name="T29" fmla="*/ 568 h 833"/>
                  <a:gd name="T30" fmla="*/ 621 w 622"/>
                  <a:gd name="T31" fmla="*/ 586 h 833"/>
                  <a:gd name="T32" fmla="*/ 619 w 622"/>
                  <a:gd name="T33" fmla="*/ 620 h 833"/>
                  <a:gd name="T34" fmla="*/ 613 w 622"/>
                  <a:gd name="T35" fmla="*/ 653 h 833"/>
                  <a:gd name="T36" fmla="*/ 605 w 622"/>
                  <a:gd name="T37" fmla="*/ 682 h 833"/>
                  <a:gd name="T38" fmla="*/ 600 w 622"/>
                  <a:gd name="T39" fmla="*/ 695 h 833"/>
                  <a:gd name="T40" fmla="*/ 587 w 622"/>
                  <a:gd name="T41" fmla="*/ 720 h 833"/>
                  <a:gd name="T42" fmla="*/ 573 w 622"/>
                  <a:gd name="T43" fmla="*/ 742 h 833"/>
                  <a:gd name="T44" fmla="*/ 555 w 622"/>
                  <a:gd name="T45" fmla="*/ 761 h 833"/>
                  <a:gd name="T46" fmla="*/ 536 w 622"/>
                  <a:gd name="T47" fmla="*/ 779 h 833"/>
                  <a:gd name="T48" fmla="*/ 515 w 622"/>
                  <a:gd name="T49" fmla="*/ 792 h 833"/>
                  <a:gd name="T50" fmla="*/ 470 w 622"/>
                  <a:gd name="T51" fmla="*/ 813 h 833"/>
                  <a:gd name="T52" fmla="*/ 447 w 622"/>
                  <a:gd name="T53" fmla="*/ 820 h 833"/>
                  <a:gd name="T54" fmla="*/ 392 w 622"/>
                  <a:gd name="T55" fmla="*/ 830 h 833"/>
                  <a:gd name="T56" fmla="*/ 338 w 622"/>
                  <a:gd name="T57" fmla="*/ 833 h 833"/>
                  <a:gd name="T58" fmla="*/ 0 w 622"/>
                  <a:gd name="T59" fmla="*/ 0 h 833"/>
                  <a:gd name="T60" fmla="*/ 558 w 622"/>
                  <a:gd name="T61" fmla="*/ 187 h 833"/>
                  <a:gd name="T62" fmla="*/ 187 w 622"/>
                  <a:gd name="T63" fmla="*/ 302 h 833"/>
                  <a:gd name="T64" fmla="*/ 338 w 622"/>
                  <a:gd name="T65" fmla="*/ 661 h 833"/>
                  <a:gd name="T66" fmla="*/ 349 w 622"/>
                  <a:gd name="T67" fmla="*/ 660 h 833"/>
                  <a:gd name="T68" fmla="*/ 368 w 622"/>
                  <a:gd name="T69" fmla="*/ 658 h 833"/>
                  <a:gd name="T70" fmla="*/ 384 w 622"/>
                  <a:gd name="T71" fmla="*/ 652 h 833"/>
                  <a:gd name="T72" fmla="*/ 397 w 622"/>
                  <a:gd name="T73" fmla="*/ 644 h 833"/>
                  <a:gd name="T74" fmla="*/ 408 w 622"/>
                  <a:gd name="T75" fmla="*/ 634 h 833"/>
                  <a:gd name="T76" fmla="*/ 416 w 622"/>
                  <a:gd name="T77" fmla="*/ 620 h 833"/>
                  <a:gd name="T78" fmla="*/ 422 w 622"/>
                  <a:gd name="T79" fmla="*/ 604 h 833"/>
                  <a:gd name="T80" fmla="*/ 424 w 622"/>
                  <a:gd name="T81" fmla="*/ 586 h 833"/>
                  <a:gd name="T82" fmla="*/ 425 w 622"/>
                  <a:gd name="T83" fmla="*/ 575 h 833"/>
                  <a:gd name="T84" fmla="*/ 423 w 622"/>
                  <a:gd name="T85" fmla="*/ 556 h 833"/>
                  <a:gd name="T86" fmla="*/ 419 w 622"/>
                  <a:gd name="T87" fmla="*/ 539 h 833"/>
                  <a:gd name="T88" fmla="*/ 413 w 622"/>
                  <a:gd name="T89" fmla="*/ 524 h 833"/>
                  <a:gd name="T90" fmla="*/ 403 w 622"/>
                  <a:gd name="T91" fmla="*/ 512 h 833"/>
                  <a:gd name="T92" fmla="*/ 391 w 622"/>
                  <a:gd name="T93" fmla="*/ 503 h 833"/>
                  <a:gd name="T94" fmla="*/ 376 w 622"/>
                  <a:gd name="T95" fmla="*/ 497 h 833"/>
                  <a:gd name="T96" fmla="*/ 358 w 622"/>
                  <a:gd name="T97" fmla="*/ 493 h 833"/>
                  <a:gd name="T98" fmla="*/ 338 w 622"/>
                  <a:gd name="T99" fmla="*/ 491 h 833"/>
                  <a:gd name="T100" fmla="*/ 187 w 622"/>
                  <a:gd name="T101" fmla="*/ 661 h 8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622" h="833">
                    <a:moveTo>
                      <a:pt x="187" y="302"/>
                    </a:moveTo>
                    <a:lnTo>
                      <a:pt x="339" y="302"/>
                    </a:lnTo>
                    <a:lnTo>
                      <a:pt x="339" y="302"/>
                    </a:lnTo>
                    <a:lnTo>
                      <a:pt x="366" y="303"/>
                    </a:lnTo>
                    <a:lnTo>
                      <a:pt x="393" y="305"/>
                    </a:lnTo>
                    <a:lnTo>
                      <a:pt x="419" y="309"/>
                    </a:lnTo>
                    <a:lnTo>
                      <a:pt x="447" y="315"/>
                    </a:lnTo>
                    <a:lnTo>
                      <a:pt x="447" y="315"/>
                    </a:lnTo>
                    <a:lnTo>
                      <a:pt x="471" y="323"/>
                    </a:lnTo>
                    <a:lnTo>
                      <a:pt x="493" y="332"/>
                    </a:lnTo>
                    <a:lnTo>
                      <a:pt x="515" y="345"/>
                    </a:lnTo>
                    <a:lnTo>
                      <a:pt x="536" y="358"/>
                    </a:lnTo>
                    <a:lnTo>
                      <a:pt x="536" y="358"/>
                    </a:lnTo>
                    <a:lnTo>
                      <a:pt x="546" y="366"/>
                    </a:lnTo>
                    <a:lnTo>
                      <a:pt x="555" y="374"/>
                    </a:lnTo>
                    <a:lnTo>
                      <a:pt x="564" y="383"/>
                    </a:lnTo>
                    <a:lnTo>
                      <a:pt x="573" y="393"/>
                    </a:lnTo>
                    <a:lnTo>
                      <a:pt x="580" y="404"/>
                    </a:lnTo>
                    <a:lnTo>
                      <a:pt x="587" y="415"/>
                    </a:lnTo>
                    <a:lnTo>
                      <a:pt x="594" y="428"/>
                    </a:lnTo>
                    <a:lnTo>
                      <a:pt x="600" y="440"/>
                    </a:lnTo>
                    <a:lnTo>
                      <a:pt x="600" y="440"/>
                    </a:lnTo>
                    <a:lnTo>
                      <a:pt x="605" y="454"/>
                    </a:lnTo>
                    <a:lnTo>
                      <a:pt x="609" y="468"/>
                    </a:lnTo>
                    <a:lnTo>
                      <a:pt x="613" y="484"/>
                    </a:lnTo>
                    <a:lnTo>
                      <a:pt x="616" y="500"/>
                    </a:lnTo>
                    <a:lnTo>
                      <a:pt x="619" y="516"/>
                    </a:lnTo>
                    <a:lnTo>
                      <a:pt x="620" y="532"/>
                    </a:lnTo>
                    <a:lnTo>
                      <a:pt x="621" y="550"/>
                    </a:lnTo>
                    <a:lnTo>
                      <a:pt x="622" y="568"/>
                    </a:lnTo>
                    <a:lnTo>
                      <a:pt x="622" y="568"/>
                    </a:lnTo>
                    <a:lnTo>
                      <a:pt x="621" y="586"/>
                    </a:lnTo>
                    <a:lnTo>
                      <a:pt x="620" y="603"/>
                    </a:lnTo>
                    <a:lnTo>
                      <a:pt x="619" y="620"/>
                    </a:lnTo>
                    <a:lnTo>
                      <a:pt x="616" y="637"/>
                    </a:lnTo>
                    <a:lnTo>
                      <a:pt x="613" y="653"/>
                    </a:lnTo>
                    <a:lnTo>
                      <a:pt x="609" y="668"/>
                    </a:lnTo>
                    <a:lnTo>
                      <a:pt x="605" y="682"/>
                    </a:lnTo>
                    <a:lnTo>
                      <a:pt x="600" y="695"/>
                    </a:lnTo>
                    <a:lnTo>
                      <a:pt x="600" y="695"/>
                    </a:lnTo>
                    <a:lnTo>
                      <a:pt x="594" y="708"/>
                    </a:lnTo>
                    <a:lnTo>
                      <a:pt x="587" y="720"/>
                    </a:lnTo>
                    <a:lnTo>
                      <a:pt x="580" y="732"/>
                    </a:lnTo>
                    <a:lnTo>
                      <a:pt x="573" y="742"/>
                    </a:lnTo>
                    <a:lnTo>
                      <a:pt x="564" y="752"/>
                    </a:lnTo>
                    <a:lnTo>
                      <a:pt x="555" y="761"/>
                    </a:lnTo>
                    <a:lnTo>
                      <a:pt x="546" y="771"/>
                    </a:lnTo>
                    <a:lnTo>
                      <a:pt x="536" y="779"/>
                    </a:lnTo>
                    <a:lnTo>
                      <a:pt x="536" y="779"/>
                    </a:lnTo>
                    <a:lnTo>
                      <a:pt x="515" y="792"/>
                    </a:lnTo>
                    <a:lnTo>
                      <a:pt x="493" y="804"/>
                    </a:lnTo>
                    <a:lnTo>
                      <a:pt x="470" y="813"/>
                    </a:lnTo>
                    <a:lnTo>
                      <a:pt x="447" y="820"/>
                    </a:lnTo>
                    <a:lnTo>
                      <a:pt x="447" y="820"/>
                    </a:lnTo>
                    <a:lnTo>
                      <a:pt x="419" y="826"/>
                    </a:lnTo>
                    <a:lnTo>
                      <a:pt x="392" y="830"/>
                    </a:lnTo>
                    <a:lnTo>
                      <a:pt x="365" y="833"/>
                    </a:lnTo>
                    <a:lnTo>
                      <a:pt x="338" y="833"/>
                    </a:lnTo>
                    <a:lnTo>
                      <a:pt x="0" y="833"/>
                    </a:lnTo>
                    <a:lnTo>
                      <a:pt x="0" y="0"/>
                    </a:lnTo>
                    <a:lnTo>
                      <a:pt x="558" y="0"/>
                    </a:lnTo>
                    <a:lnTo>
                      <a:pt x="558" y="187"/>
                    </a:lnTo>
                    <a:lnTo>
                      <a:pt x="187" y="187"/>
                    </a:lnTo>
                    <a:lnTo>
                      <a:pt x="187" y="302"/>
                    </a:lnTo>
                    <a:close/>
                    <a:moveTo>
                      <a:pt x="187" y="661"/>
                    </a:moveTo>
                    <a:lnTo>
                      <a:pt x="338" y="661"/>
                    </a:lnTo>
                    <a:lnTo>
                      <a:pt x="338" y="661"/>
                    </a:lnTo>
                    <a:lnTo>
                      <a:pt x="349" y="660"/>
                    </a:lnTo>
                    <a:lnTo>
                      <a:pt x="358" y="659"/>
                    </a:lnTo>
                    <a:lnTo>
                      <a:pt x="368" y="658"/>
                    </a:lnTo>
                    <a:lnTo>
                      <a:pt x="376" y="655"/>
                    </a:lnTo>
                    <a:lnTo>
                      <a:pt x="384" y="652"/>
                    </a:lnTo>
                    <a:lnTo>
                      <a:pt x="391" y="649"/>
                    </a:lnTo>
                    <a:lnTo>
                      <a:pt x="397" y="644"/>
                    </a:lnTo>
                    <a:lnTo>
                      <a:pt x="403" y="640"/>
                    </a:lnTo>
                    <a:lnTo>
                      <a:pt x="408" y="634"/>
                    </a:lnTo>
                    <a:lnTo>
                      <a:pt x="413" y="628"/>
                    </a:lnTo>
                    <a:lnTo>
                      <a:pt x="416" y="620"/>
                    </a:lnTo>
                    <a:lnTo>
                      <a:pt x="419" y="612"/>
                    </a:lnTo>
                    <a:lnTo>
                      <a:pt x="422" y="604"/>
                    </a:lnTo>
                    <a:lnTo>
                      <a:pt x="423" y="595"/>
                    </a:lnTo>
                    <a:lnTo>
                      <a:pt x="424" y="586"/>
                    </a:lnTo>
                    <a:lnTo>
                      <a:pt x="425" y="575"/>
                    </a:lnTo>
                    <a:lnTo>
                      <a:pt x="425" y="575"/>
                    </a:lnTo>
                    <a:lnTo>
                      <a:pt x="424" y="565"/>
                    </a:lnTo>
                    <a:lnTo>
                      <a:pt x="423" y="556"/>
                    </a:lnTo>
                    <a:lnTo>
                      <a:pt x="422" y="547"/>
                    </a:lnTo>
                    <a:lnTo>
                      <a:pt x="419" y="539"/>
                    </a:lnTo>
                    <a:lnTo>
                      <a:pt x="416" y="531"/>
                    </a:lnTo>
                    <a:lnTo>
                      <a:pt x="413" y="524"/>
                    </a:lnTo>
                    <a:lnTo>
                      <a:pt x="408" y="518"/>
                    </a:lnTo>
                    <a:lnTo>
                      <a:pt x="403" y="512"/>
                    </a:lnTo>
                    <a:lnTo>
                      <a:pt x="397" y="507"/>
                    </a:lnTo>
                    <a:lnTo>
                      <a:pt x="391" y="503"/>
                    </a:lnTo>
                    <a:lnTo>
                      <a:pt x="384" y="500"/>
                    </a:lnTo>
                    <a:lnTo>
                      <a:pt x="376" y="497"/>
                    </a:lnTo>
                    <a:lnTo>
                      <a:pt x="368" y="494"/>
                    </a:lnTo>
                    <a:lnTo>
                      <a:pt x="358" y="493"/>
                    </a:lnTo>
                    <a:lnTo>
                      <a:pt x="349" y="492"/>
                    </a:lnTo>
                    <a:lnTo>
                      <a:pt x="338" y="491"/>
                    </a:lnTo>
                    <a:lnTo>
                      <a:pt x="187" y="491"/>
                    </a:lnTo>
                    <a:lnTo>
                      <a:pt x="187" y="66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54068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37" userDrawn="1">
          <p15:clr>
            <a:srgbClr val="FBAE40"/>
          </p15:clr>
        </p15:guide>
        <p15:guide id="2" pos="5123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De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4">
            <a:extLst>
              <a:ext uri="{FF2B5EF4-FFF2-40B4-BE49-F238E27FC236}">
                <a16:creationId xmlns:a16="http://schemas.microsoft.com/office/drawing/2014/main" id="{AC2F43EE-FA03-5797-B30B-6852ACE6B72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23940" y="0"/>
            <a:ext cx="5968061" cy="6858000"/>
          </a:xfrm>
        </p:spPr>
        <p:txBody>
          <a:bodyPr/>
          <a:lstStyle/>
          <a:p>
            <a:r>
              <a:rPr lang="en-GB" dirty="0"/>
              <a:t>Click icon to add picture</a:t>
            </a:r>
            <a:endParaRPr lang="en-IN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74D27DA2-ED33-3162-C419-38974B24C16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2000" y="3197832"/>
            <a:ext cx="5259847" cy="1055708"/>
          </a:xfrm>
        </p:spPr>
        <p:txBody>
          <a:bodyPr/>
          <a:lstStyle>
            <a:lvl1pPr marL="0" indent="0">
              <a:buNone/>
              <a:defRPr sz="1600"/>
            </a:lvl1pPr>
          </a:lstStyle>
          <a:p>
            <a:pPr lvl="0"/>
            <a:r>
              <a:rPr lang="en-US" dirty="0"/>
              <a:t>Text 16 </a:t>
            </a:r>
            <a:r>
              <a:rPr lang="en-US" dirty="0" err="1"/>
              <a:t>pt</a:t>
            </a:r>
            <a:endParaRPr lang="en-IN" dirty="0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00C5306F-4988-1B3F-6382-6BDB127DAF5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2000" y="2313180"/>
            <a:ext cx="5259847" cy="884652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>
              <a:buNone/>
              <a:defRPr kumimoji="0" lang="en-IN" sz="2400" b="1" i="0" u="none" strike="noStrike" cap="none" spc="0" normalizeH="0" baseline="0" dirty="0">
                <a:ln>
                  <a:noFill/>
                </a:ln>
                <a:solidFill>
                  <a:srgbClr val="4AA85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200479" marR="0" lvl="0" indent="-200479" defTabSz="566606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CHAPTER. MONTSERRAT 24</a:t>
            </a:r>
            <a:r>
              <a:rPr lang="ru-RU" dirty="0"/>
              <a:t> </a:t>
            </a:r>
            <a:r>
              <a:rPr lang="en-US" dirty="0" err="1"/>
              <a:t>pt</a:t>
            </a:r>
            <a:endParaRPr lang="en-IN" dirty="0"/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30D98952-EBA6-4D28-BF8B-6FD4D192C81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677397" y="6463527"/>
            <a:ext cx="1588344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685767" rtl="0" eaLnBrk="1" latinLnBrk="0" hangingPunct="1">
              <a:defRPr lang="en-IN" sz="800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fld id="{0A732CD2-8778-4734-B7DA-BC1C70AD7809}" type="datetime4">
              <a:rPr lang="ru-RU" smtClean="0"/>
              <a:t>16 августа 2022 г.</a:t>
            </a:fld>
            <a:endParaRPr lang="en-US" dirty="0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41B3515B-01CA-42CE-A05C-E943857A59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83077" y="6463527"/>
            <a:ext cx="41148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685767" rtl="0" eaLnBrk="1" latinLnBrk="0" hangingPunct="1">
              <a:defRPr lang="en-IN" sz="8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ru-RU"/>
              <a:t>Название темы</a:t>
            </a:r>
            <a:endParaRPr lang="en-US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466FECE0-5385-4633-BF28-709632E09C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09601" y="6463527"/>
            <a:ext cx="884088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685767" rtl="0" eaLnBrk="1" latinLnBrk="0" hangingPunct="1">
              <a:defRPr lang="en-IN" sz="800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ru-RU"/>
              <a:t>Страница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944205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De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mountain, water, outdoor, lake&#10;&#10;Description automatically generated">
            <a:extLst>
              <a:ext uri="{FF2B5EF4-FFF2-40B4-BE49-F238E27FC236}">
                <a16:creationId xmlns:a16="http://schemas.microsoft.com/office/drawing/2014/main" id="{63527D89-6201-6FDF-4B4F-31A47A1A64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36"/>
          <a:stretch/>
        </p:blipFill>
        <p:spPr>
          <a:xfrm>
            <a:off x="-1" y="-1"/>
            <a:ext cx="12192001" cy="6858001"/>
          </a:xfrm>
          <a:prstGeom prst="rect">
            <a:avLst/>
          </a:prstGeom>
        </p:spPr>
      </p:pic>
      <p:sp>
        <p:nvSpPr>
          <p:cNvPr id="7" name="Прямоугольник 3">
            <a:extLst>
              <a:ext uri="{FF2B5EF4-FFF2-40B4-BE49-F238E27FC236}">
                <a16:creationId xmlns:a16="http://schemas.microsoft.com/office/drawing/2014/main" id="{6F7BC692-981D-1CEC-DAB1-260C219AD0AB}"/>
              </a:ext>
            </a:extLst>
          </p:cNvPr>
          <p:cNvSpPr/>
          <p:nvPr userDrawn="1"/>
        </p:nvSpPr>
        <p:spPr>
          <a:xfrm>
            <a:off x="2" y="0"/>
            <a:ext cx="12191998" cy="6867440"/>
          </a:xfrm>
          <a:prstGeom prst="rect">
            <a:avLst/>
          </a:prstGeom>
          <a:solidFill>
            <a:schemeClr val="bg2">
              <a:alpha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ru-RU" sz="900" dirty="0">
              <a:solidFill>
                <a:schemeClr val="tx1"/>
              </a:solidFill>
              <a:latin typeface="+mj-lt"/>
            </a:endParaRPr>
          </a:p>
        </p:txBody>
      </p:sp>
      <p:pic>
        <p:nvPicPr>
          <p:cNvPr id="9" name="Рисунок 10">
            <a:extLst>
              <a:ext uri="{FF2B5EF4-FFF2-40B4-BE49-F238E27FC236}">
                <a16:creationId xmlns:a16="http://schemas.microsoft.com/office/drawing/2014/main" id="{2FF4BC64-6203-2987-3D3B-F5D7015B852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8254314" y="3213328"/>
            <a:ext cx="3950353" cy="3644683"/>
          </a:xfrm>
          <a:prstGeom prst="rect">
            <a:avLst/>
          </a:prstGeom>
        </p:spPr>
      </p:pic>
      <p:grpSp>
        <p:nvGrpSpPr>
          <p:cNvPr id="36" name="Group 35">
            <a:extLst>
              <a:ext uri="{FF2B5EF4-FFF2-40B4-BE49-F238E27FC236}">
                <a16:creationId xmlns:a16="http://schemas.microsoft.com/office/drawing/2014/main" id="{9AB3A64C-A9BE-4466-AADD-B36CB1539533}"/>
              </a:ext>
            </a:extLst>
          </p:cNvPr>
          <p:cNvGrpSpPr/>
          <p:nvPr userDrawn="1"/>
        </p:nvGrpSpPr>
        <p:grpSpPr>
          <a:xfrm>
            <a:off x="10346853" y="658368"/>
            <a:ext cx="1319534" cy="970407"/>
            <a:chOff x="10332720" y="658368"/>
            <a:chExt cx="1319534" cy="970407"/>
          </a:xfrm>
        </p:grpSpPr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B1C6102B-B91F-4358-9D20-C7FEF7BD85F8}"/>
                </a:ext>
              </a:extLst>
            </p:cNvPr>
            <p:cNvGrpSpPr/>
            <p:nvPr userDrawn="1"/>
          </p:nvGrpSpPr>
          <p:grpSpPr>
            <a:xfrm>
              <a:off x="10344154" y="1376363"/>
              <a:ext cx="1308100" cy="252412"/>
              <a:chOff x="10344154" y="1376363"/>
              <a:chExt cx="1308100" cy="252412"/>
            </a:xfrm>
          </p:grpSpPr>
          <p:sp>
            <p:nvSpPr>
              <p:cNvPr id="73" name="Freeform 5">
                <a:extLst>
                  <a:ext uri="{FF2B5EF4-FFF2-40B4-BE49-F238E27FC236}">
                    <a16:creationId xmlns:a16="http://schemas.microsoft.com/office/drawing/2014/main" id="{0929D791-E51D-4371-9561-230D39B3F13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344154" y="1379538"/>
                <a:ext cx="85725" cy="90487"/>
              </a:xfrm>
              <a:custGeom>
                <a:avLst/>
                <a:gdLst>
                  <a:gd name="T0" fmla="*/ 109 w 109"/>
                  <a:gd name="T1" fmla="*/ 0 h 115"/>
                  <a:gd name="T2" fmla="*/ 109 w 109"/>
                  <a:gd name="T3" fmla="*/ 115 h 115"/>
                  <a:gd name="T4" fmla="*/ 77 w 109"/>
                  <a:gd name="T5" fmla="*/ 115 h 115"/>
                  <a:gd name="T6" fmla="*/ 77 w 109"/>
                  <a:gd name="T7" fmla="*/ 69 h 115"/>
                  <a:gd name="T8" fmla="*/ 32 w 109"/>
                  <a:gd name="T9" fmla="*/ 69 h 115"/>
                  <a:gd name="T10" fmla="*/ 32 w 109"/>
                  <a:gd name="T11" fmla="*/ 115 h 115"/>
                  <a:gd name="T12" fmla="*/ 0 w 109"/>
                  <a:gd name="T13" fmla="*/ 115 h 115"/>
                  <a:gd name="T14" fmla="*/ 0 w 109"/>
                  <a:gd name="T15" fmla="*/ 0 h 115"/>
                  <a:gd name="T16" fmla="*/ 32 w 109"/>
                  <a:gd name="T17" fmla="*/ 0 h 115"/>
                  <a:gd name="T18" fmla="*/ 32 w 109"/>
                  <a:gd name="T19" fmla="*/ 43 h 115"/>
                  <a:gd name="T20" fmla="*/ 77 w 109"/>
                  <a:gd name="T21" fmla="*/ 43 h 115"/>
                  <a:gd name="T22" fmla="*/ 77 w 109"/>
                  <a:gd name="T23" fmla="*/ 0 h 115"/>
                  <a:gd name="T24" fmla="*/ 109 w 109"/>
                  <a:gd name="T25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9" h="115">
                    <a:moveTo>
                      <a:pt x="109" y="0"/>
                    </a:moveTo>
                    <a:lnTo>
                      <a:pt x="109" y="115"/>
                    </a:lnTo>
                    <a:lnTo>
                      <a:pt x="77" y="115"/>
                    </a:lnTo>
                    <a:lnTo>
                      <a:pt x="77" y="69"/>
                    </a:lnTo>
                    <a:lnTo>
                      <a:pt x="32" y="69"/>
                    </a:lnTo>
                    <a:lnTo>
                      <a:pt x="3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2" y="0"/>
                    </a:lnTo>
                    <a:lnTo>
                      <a:pt x="32" y="43"/>
                    </a:lnTo>
                    <a:lnTo>
                      <a:pt x="77" y="43"/>
                    </a:lnTo>
                    <a:lnTo>
                      <a:pt x="77" y="0"/>
                    </a:lnTo>
                    <a:lnTo>
                      <a:pt x="109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6">
                <a:extLst>
                  <a:ext uri="{FF2B5EF4-FFF2-40B4-BE49-F238E27FC236}">
                    <a16:creationId xmlns:a16="http://schemas.microsoft.com/office/drawing/2014/main" id="{DC8D73E6-4421-4732-8050-11C1BC0D0FE8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447341" y="1377950"/>
                <a:ext cx="101600" cy="93662"/>
              </a:xfrm>
              <a:custGeom>
                <a:avLst/>
                <a:gdLst>
                  <a:gd name="T0" fmla="*/ 31 w 128"/>
                  <a:gd name="T1" fmla="*/ 112 h 119"/>
                  <a:gd name="T2" fmla="*/ 21 w 128"/>
                  <a:gd name="T3" fmla="*/ 105 h 119"/>
                  <a:gd name="T4" fmla="*/ 6 w 128"/>
                  <a:gd name="T5" fmla="*/ 87 h 119"/>
                  <a:gd name="T6" fmla="*/ 0 w 128"/>
                  <a:gd name="T7" fmla="*/ 65 h 119"/>
                  <a:gd name="T8" fmla="*/ 2 w 128"/>
                  <a:gd name="T9" fmla="*/ 43 h 119"/>
                  <a:gd name="T10" fmla="*/ 6 w 128"/>
                  <a:gd name="T11" fmla="*/ 32 h 119"/>
                  <a:gd name="T12" fmla="*/ 11 w 128"/>
                  <a:gd name="T13" fmla="*/ 24 h 119"/>
                  <a:gd name="T14" fmla="*/ 23 w 128"/>
                  <a:gd name="T15" fmla="*/ 12 h 119"/>
                  <a:gd name="T16" fmla="*/ 31 w 128"/>
                  <a:gd name="T17" fmla="*/ 7 h 119"/>
                  <a:gd name="T18" fmla="*/ 46 w 128"/>
                  <a:gd name="T19" fmla="*/ 2 h 119"/>
                  <a:gd name="T20" fmla="*/ 64 w 128"/>
                  <a:gd name="T21" fmla="*/ 0 h 119"/>
                  <a:gd name="T22" fmla="*/ 81 w 128"/>
                  <a:gd name="T23" fmla="*/ 2 h 119"/>
                  <a:gd name="T24" fmla="*/ 97 w 128"/>
                  <a:gd name="T25" fmla="*/ 7 h 119"/>
                  <a:gd name="T26" fmla="*/ 102 w 128"/>
                  <a:gd name="T27" fmla="*/ 10 h 119"/>
                  <a:gd name="T28" fmla="*/ 115 w 128"/>
                  <a:gd name="T29" fmla="*/ 22 h 119"/>
                  <a:gd name="T30" fmla="*/ 125 w 128"/>
                  <a:gd name="T31" fmla="*/ 42 h 119"/>
                  <a:gd name="T32" fmla="*/ 128 w 128"/>
                  <a:gd name="T33" fmla="*/ 64 h 119"/>
                  <a:gd name="T34" fmla="*/ 124 w 128"/>
                  <a:gd name="T35" fmla="*/ 81 h 119"/>
                  <a:gd name="T36" fmla="*/ 121 w 128"/>
                  <a:gd name="T37" fmla="*/ 86 h 119"/>
                  <a:gd name="T38" fmla="*/ 111 w 128"/>
                  <a:gd name="T39" fmla="*/ 100 h 119"/>
                  <a:gd name="T40" fmla="*/ 97 w 128"/>
                  <a:gd name="T41" fmla="*/ 112 h 119"/>
                  <a:gd name="T42" fmla="*/ 89 w 128"/>
                  <a:gd name="T43" fmla="*/ 115 h 119"/>
                  <a:gd name="T44" fmla="*/ 72 w 128"/>
                  <a:gd name="T45" fmla="*/ 119 h 119"/>
                  <a:gd name="T46" fmla="*/ 55 w 128"/>
                  <a:gd name="T47" fmla="*/ 119 h 119"/>
                  <a:gd name="T48" fmla="*/ 38 w 128"/>
                  <a:gd name="T49" fmla="*/ 115 h 119"/>
                  <a:gd name="T50" fmla="*/ 31 w 128"/>
                  <a:gd name="T51" fmla="*/ 112 h 119"/>
                  <a:gd name="T52" fmla="*/ 80 w 128"/>
                  <a:gd name="T53" fmla="*/ 87 h 119"/>
                  <a:gd name="T54" fmla="*/ 91 w 128"/>
                  <a:gd name="T55" fmla="*/ 76 h 119"/>
                  <a:gd name="T56" fmla="*/ 94 w 128"/>
                  <a:gd name="T57" fmla="*/ 68 h 119"/>
                  <a:gd name="T58" fmla="*/ 94 w 128"/>
                  <a:gd name="T59" fmla="*/ 50 h 119"/>
                  <a:gd name="T60" fmla="*/ 91 w 128"/>
                  <a:gd name="T61" fmla="*/ 42 h 119"/>
                  <a:gd name="T62" fmla="*/ 80 w 128"/>
                  <a:gd name="T63" fmla="*/ 30 h 119"/>
                  <a:gd name="T64" fmla="*/ 72 w 128"/>
                  <a:gd name="T65" fmla="*/ 27 h 119"/>
                  <a:gd name="T66" fmla="*/ 55 w 128"/>
                  <a:gd name="T67" fmla="*/ 27 h 119"/>
                  <a:gd name="T68" fmla="*/ 47 w 128"/>
                  <a:gd name="T69" fmla="*/ 30 h 119"/>
                  <a:gd name="T70" fmla="*/ 36 w 128"/>
                  <a:gd name="T71" fmla="*/ 42 h 119"/>
                  <a:gd name="T72" fmla="*/ 33 w 128"/>
                  <a:gd name="T73" fmla="*/ 50 h 119"/>
                  <a:gd name="T74" fmla="*/ 33 w 128"/>
                  <a:gd name="T75" fmla="*/ 68 h 119"/>
                  <a:gd name="T76" fmla="*/ 36 w 128"/>
                  <a:gd name="T77" fmla="*/ 76 h 119"/>
                  <a:gd name="T78" fmla="*/ 47 w 128"/>
                  <a:gd name="T79" fmla="*/ 87 h 119"/>
                  <a:gd name="T80" fmla="*/ 55 w 128"/>
                  <a:gd name="T81" fmla="*/ 90 h 119"/>
                  <a:gd name="T82" fmla="*/ 72 w 128"/>
                  <a:gd name="T83" fmla="*/ 90 h 119"/>
                  <a:gd name="T84" fmla="*/ 80 w 128"/>
                  <a:gd name="T85" fmla="*/ 87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28" h="119">
                    <a:moveTo>
                      <a:pt x="31" y="112"/>
                    </a:moveTo>
                    <a:lnTo>
                      <a:pt x="31" y="112"/>
                    </a:lnTo>
                    <a:lnTo>
                      <a:pt x="25" y="109"/>
                    </a:lnTo>
                    <a:lnTo>
                      <a:pt x="21" y="105"/>
                    </a:lnTo>
                    <a:lnTo>
                      <a:pt x="13" y="96"/>
                    </a:lnTo>
                    <a:lnTo>
                      <a:pt x="6" y="87"/>
                    </a:lnTo>
                    <a:lnTo>
                      <a:pt x="2" y="76"/>
                    </a:lnTo>
                    <a:lnTo>
                      <a:pt x="0" y="65"/>
                    </a:lnTo>
                    <a:lnTo>
                      <a:pt x="0" y="54"/>
                    </a:lnTo>
                    <a:lnTo>
                      <a:pt x="2" y="43"/>
                    </a:lnTo>
                    <a:lnTo>
                      <a:pt x="4" y="37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11" y="24"/>
                    </a:lnTo>
                    <a:lnTo>
                      <a:pt x="16" y="18"/>
                    </a:lnTo>
                    <a:lnTo>
                      <a:pt x="23" y="12"/>
                    </a:lnTo>
                    <a:lnTo>
                      <a:pt x="31" y="7"/>
                    </a:lnTo>
                    <a:lnTo>
                      <a:pt x="31" y="7"/>
                    </a:lnTo>
                    <a:lnTo>
                      <a:pt x="38" y="4"/>
                    </a:lnTo>
                    <a:lnTo>
                      <a:pt x="46" y="2"/>
                    </a:lnTo>
                    <a:lnTo>
                      <a:pt x="55" y="0"/>
                    </a:lnTo>
                    <a:lnTo>
                      <a:pt x="64" y="0"/>
                    </a:lnTo>
                    <a:lnTo>
                      <a:pt x="72" y="0"/>
                    </a:lnTo>
                    <a:lnTo>
                      <a:pt x="81" y="2"/>
                    </a:lnTo>
                    <a:lnTo>
                      <a:pt x="89" y="4"/>
                    </a:lnTo>
                    <a:lnTo>
                      <a:pt x="97" y="7"/>
                    </a:lnTo>
                    <a:lnTo>
                      <a:pt x="97" y="7"/>
                    </a:lnTo>
                    <a:lnTo>
                      <a:pt x="102" y="10"/>
                    </a:lnTo>
                    <a:lnTo>
                      <a:pt x="106" y="14"/>
                    </a:lnTo>
                    <a:lnTo>
                      <a:pt x="115" y="22"/>
                    </a:lnTo>
                    <a:lnTo>
                      <a:pt x="121" y="31"/>
                    </a:lnTo>
                    <a:lnTo>
                      <a:pt x="125" y="42"/>
                    </a:lnTo>
                    <a:lnTo>
                      <a:pt x="127" y="53"/>
                    </a:lnTo>
                    <a:lnTo>
                      <a:pt x="128" y="64"/>
                    </a:lnTo>
                    <a:lnTo>
                      <a:pt x="125" y="75"/>
                    </a:lnTo>
                    <a:lnTo>
                      <a:pt x="124" y="81"/>
                    </a:lnTo>
                    <a:lnTo>
                      <a:pt x="121" y="86"/>
                    </a:lnTo>
                    <a:lnTo>
                      <a:pt x="121" y="86"/>
                    </a:lnTo>
                    <a:lnTo>
                      <a:pt x="116" y="94"/>
                    </a:lnTo>
                    <a:lnTo>
                      <a:pt x="111" y="100"/>
                    </a:lnTo>
                    <a:lnTo>
                      <a:pt x="104" y="107"/>
                    </a:lnTo>
                    <a:lnTo>
                      <a:pt x="97" y="112"/>
                    </a:lnTo>
                    <a:lnTo>
                      <a:pt x="97" y="112"/>
                    </a:lnTo>
                    <a:lnTo>
                      <a:pt x="89" y="115"/>
                    </a:lnTo>
                    <a:lnTo>
                      <a:pt x="81" y="117"/>
                    </a:lnTo>
                    <a:lnTo>
                      <a:pt x="72" y="119"/>
                    </a:lnTo>
                    <a:lnTo>
                      <a:pt x="64" y="119"/>
                    </a:lnTo>
                    <a:lnTo>
                      <a:pt x="55" y="119"/>
                    </a:lnTo>
                    <a:lnTo>
                      <a:pt x="46" y="117"/>
                    </a:lnTo>
                    <a:lnTo>
                      <a:pt x="38" y="115"/>
                    </a:lnTo>
                    <a:lnTo>
                      <a:pt x="31" y="112"/>
                    </a:lnTo>
                    <a:lnTo>
                      <a:pt x="31" y="112"/>
                    </a:lnTo>
                    <a:close/>
                    <a:moveTo>
                      <a:pt x="80" y="87"/>
                    </a:moveTo>
                    <a:lnTo>
                      <a:pt x="80" y="87"/>
                    </a:lnTo>
                    <a:lnTo>
                      <a:pt x="86" y="82"/>
                    </a:lnTo>
                    <a:lnTo>
                      <a:pt x="91" y="76"/>
                    </a:lnTo>
                    <a:lnTo>
                      <a:pt x="91" y="76"/>
                    </a:lnTo>
                    <a:lnTo>
                      <a:pt x="94" y="68"/>
                    </a:lnTo>
                    <a:lnTo>
                      <a:pt x="95" y="59"/>
                    </a:lnTo>
                    <a:lnTo>
                      <a:pt x="94" y="50"/>
                    </a:lnTo>
                    <a:lnTo>
                      <a:pt x="91" y="42"/>
                    </a:lnTo>
                    <a:lnTo>
                      <a:pt x="91" y="42"/>
                    </a:lnTo>
                    <a:lnTo>
                      <a:pt x="86" y="35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72" y="27"/>
                    </a:lnTo>
                    <a:lnTo>
                      <a:pt x="64" y="26"/>
                    </a:lnTo>
                    <a:lnTo>
                      <a:pt x="55" y="27"/>
                    </a:lnTo>
                    <a:lnTo>
                      <a:pt x="47" y="30"/>
                    </a:lnTo>
                    <a:lnTo>
                      <a:pt x="47" y="30"/>
                    </a:lnTo>
                    <a:lnTo>
                      <a:pt x="41" y="35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3" y="50"/>
                    </a:lnTo>
                    <a:lnTo>
                      <a:pt x="32" y="59"/>
                    </a:lnTo>
                    <a:lnTo>
                      <a:pt x="33" y="68"/>
                    </a:lnTo>
                    <a:lnTo>
                      <a:pt x="36" y="76"/>
                    </a:lnTo>
                    <a:lnTo>
                      <a:pt x="36" y="76"/>
                    </a:lnTo>
                    <a:lnTo>
                      <a:pt x="41" y="82"/>
                    </a:lnTo>
                    <a:lnTo>
                      <a:pt x="47" y="87"/>
                    </a:lnTo>
                    <a:lnTo>
                      <a:pt x="47" y="87"/>
                    </a:lnTo>
                    <a:lnTo>
                      <a:pt x="55" y="90"/>
                    </a:lnTo>
                    <a:lnTo>
                      <a:pt x="64" y="91"/>
                    </a:lnTo>
                    <a:lnTo>
                      <a:pt x="72" y="90"/>
                    </a:lnTo>
                    <a:lnTo>
                      <a:pt x="80" y="87"/>
                    </a:lnTo>
                    <a:lnTo>
                      <a:pt x="80" y="8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7">
                <a:extLst>
                  <a:ext uri="{FF2B5EF4-FFF2-40B4-BE49-F238E27FC236}">
                    <a16:creationId xmlns:a16="http://schemas.microsoft.com/office/drawing/2014/main" id="{2A489F61-D001-493B-B17C-98DF4ACDE791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564816" y="1379538"/>
                <a:ext cx="84138" cy="90487"/>
              </a:xfrm>
              <a:custGeom>
                <a:avLst/>
                <a:gdLst>
                  <a:gd name="T0" fmla="*/ 99 w 105"/>
                  <a:gd name="T1" fmla="*/ 64 h 115"/>
                  <a:gd name="T2" fmla="*/ 103 w 105"/>
                  <a:gd name="T3" fmla="*/ 72 h 115"/>
                  <a:gd name="T4" fmla="*/ 105 w 105"/>
                  <a:gd name="T5" fmla="*/ 81 h 115"/>
                  <a:gd name="T6" fmla="*/ 104 w 105"/>
                  <a:gd name="T7" fmla="*/ 88 h 115"/>
                  <a:gd name="T8" fmla="*/ 98 w 105"/>
                  <a:gd name="T9" fmla="*/ 101 h 115"/>
                  <a:gd name="T10" fmla="*/ 93 w 105"/>
                  <a:gd name="T11" fmla="*/ 106 h 115"/>
                  <a:gd name="T12" fmla="*/ 77 w 105"/>
                  <a:gd name="T13" fmla="*/ 113 h 115"/>
                  <a:gd name="T14" fmla="*/ 59 w 105"/>
                  <a:gd name="T15" fmla="*/ 115 h 115"/>
                  <a:gd name="T16" fmla="*/ 0 w 105"/>
                  <a:gd name="T17" fmla="*/ 0 h 115"/>
                  <a:gd name="T18" fmla="*/ 56 w 105"/>
                  <a:gd name="T19" fmla="*/ 0 h 115"/>
                  <a:gd name="T20" fmla="*/ 73 w 105"/>
                  <a:gd name="T21" fmla="*/ 2 h 115"/>
                  <a:gd name="T22" fmla="*/ 88 w 105"/>
                  <a:gd name="T23" fmla="*/ 8 h 115"/>
                  <a:gd name="T24" fmla="*/ 93 w 105"/>
                  <a:gd name="T25" fmla="*/ 12 h 115"/>
                  <a:gd name="T26" fmla="*/ 99 w 105"/>
                  <a:gd name="T27" fmla="*/ 23 h 115"/>
                  <a:gd name="T28" fmla="*/ 99 w 105"/>
                  <a:gd name="T29" fmla="*/ 30 h 115"/>
                  <a:gd name="T30" fmla="*/ 95 w 105"/>
                  <a:gd name="T31" fmla="*/ 45 h 115"/>
                  <a:gd name="T32" fmla="*/ 90 w 105"/>
                  <a:gd name="T33" fmla="*/ 50 h 115"/>
                  <a:gd name="T34" fmla="*/ 84 w 105"/>
                  <a:gd name="T35" fmla="*/ 54 h 115"/>
                  <a:gd name="T36" fmla="*/ 92 w 105"/>
                  <a:gd name="T37" fmla="*/ 58 h 115"/>
                  <a:gd name="T38" fmla="*/ 99 w 105"/>
                  <a:gd name="T39" fmla="*/ 64 h 115"/>
                  <a:gd name="T40" fmla="*/ 32 w 105"/>
                  <a:gd name="T41" fmla="*/ 46 h 115"/>
                  <a:gd name="T42" fmla="*/ 53 w 105"/>
                  <a:gd name="T43" fmla="*/ 46 h 115"/>
                  <a:gd name="T44" fmla="*/ 63 w 105"/>
                  <a:gd name="T45" fmla="*/ 43 h 115"/>
                  <a:gd name="T46" fmla="*/ 67 w 105"/>
                  <a:gd name="T47" fmla="*/ 34 h 115"/>
                  <a:gd name="T48" fmla="*/ 66 w 105"/>
                  <a:gd name="T49" fmla="*/ 29 h 115"/>
                  <a:gd name="T50" fmla="*/ 59 w 105"/>
                  <a:gd name="T51" fmla="*/ 24 h 115"/>
                  <a:gd name="T52" fmla="*/ 32 w 105"/>
                  <a:gd name="T53" fmla="*/ 23 h 115"/>
                  <a:gd name="T54" fmla="*/ 72 w 105"/>
                  <a:gd name="T55" fmla="*/ 79 h 115"/>
                  <a:gd name="T56" fmla="*/ 71 w 105"/>
                  <a:gd name="T57" fmla="*/ 74 h 115"/>
                  <a:gd name="T58" fmla="*/ 64 w 105"/>
                  <a:gd name="T59" fmla="*/ 68 h 115"/>
                  <a:gd name="T60" fmla="*/ 32 w 105"/>
                  <a:gd name="T61" fmla="*/ 67 h 115"/>
                  <a:gd name="T62" fmla="*/ 58 w 105"/>
                  <a:gd name="T63" fmla="*/ 91 h 115"/>
                  <a:gd name="T64" fmla="*/ 64 w 105"/>
                  <a:gd name="T65" fmla="*/ 90 h 115"/>
                  <a:gd name="T66" fmla="*/ 71 w 105"/>
                  <a:gd name="T67" fmla="*/ 84 h 115"/>
                  <a:gd name="T68" fmla="*/ 72 w 105"/>
                  <a:gd name="T69" fmla="*/ 79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5" h="115">
                    <a:moveTo>
                      <a:pt x="99" y="64"/>
                    </a:moveTo>
                    <a:lnTo>
                      <a:pt x="99" y="64"/>
                    </a:lnTo>
                    <a:lnTo>
                      <a:pt x="102" y="68"/>
                    </a:lnTo>
                    <a:lnTo>
                      <a:pt x="103" y="72"/>
                    </a:lnTo>
                    <a:lnTo>
                      <a:pt x="104" y="77"/>
                    </a:lnTo>
                    <a:lnTo>
                      <a:pt x="105" y="81"/>
                    </a:lnTo>
                    <a:lnTo>
                      <a:pt x="105" y="81"/>
                    </a:lnTo>
                    <a:lnTo>
                      <a:pt x="104" y="88"/>
                    </a:lnTo>
                    <a:lnTo>
                      <a:pt x="102" y="95"/>
                    </a:lnTo>
                    <a:lnTo>
                      <a:pt x="98" y="101"/>
                    </a:lnTo>
                    <a:lnTo>
                      <a:pt x="93" y="106"/>
                    </a:lnTo>
                    <a:lnTo>
                      <a:pt x="93" y="106"/>
                    </a:lnTo>
                    <a:lnTo>
                      <a:pt x="85" y="110"/>
                    </a:lnTo>
                    <a:lnTo>
                      <a:pt x="77" y="113"/>
                    </a:lnTo>
                    <a:lnTo>
                      <a:pt x="68" y="115"/>
                    </a:lnTo>
                    <a:lnTo>
                      <a:pt x="59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5" y="0"/>
                    </a:lnTo>
                    <a:lnTo>
                      <a:pt x="73" y="2"/>
                    </a:lnTo>
                    <a:lnTo>
                      <a:pt x="81" y="4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93" y="12"/>
                    </a:lnTo>
                    <a:lnTo>
                      <a:pt x="97" y="17"/>
                    </a:lnTo>
                    <a:lnTo>
                      <a:pt x="99" y="23"/>
                    </a:lnTo>
                    <a:lnTo>
                      <a:pt x="99" y="30"/>
                    </a:lnTo>
                    <a:lnTo>
                      <a:pt x="99" y="30"/>
                    </a:lnTo>
                    <a:lnTo>
                      <a:pt x="98" y="37"/>
                    </a:lnTo>
                    <a:lnTo>
                      <a:pt x="95" y="45"/>
                    </a:lnTo>
                    <a:lnTo>
                      <a:pt x="95" y="45"/>
                    </a:lnTo>
                    <a:lnTo>
                      <a:pt x="90" y="50"/>
                    </a:lnTo>
                    <a:lnTo>
                      <a:pt x="84" y="54"/>
                    </a:lnTo>
                    <a:lnTo>
                      <a:pt x="84" y="54"/>
                    </a:lnTo>
                    <a:lnTo>
                      <a:pt x="88" y="56"/>
                    </a:lnTo>
                    <a:lnTo>
                      <a:pt x="92" y="58"/>
                    </a:lnTo>
                    <a:lnTo>
                      <a:pt x="96" y="61"/>
                    </a:lnTo>
                    <a:lnTo>
                      <a:pt x="99" y="64"/>
                    </a:lnTo>
                    <a:lnTo>
                      <a:pt x="99" y="64"/>
                    </a:lnTo>
                    <a:close/>
                    <a:moveTo>
                      <a:pt x="32" y="46"/>
                    </a:moveTo>
                    <a:lnTo>
                      <a:pt x="53" y="46"/>
                    </a:lnTo>
                    <a:lnTo>
                      <a:pt x="53" y="46"/>
                    </a:lnTo>
                    <a:lnTo>
                      <a:pt x="59" y="45"/>
                    </a:lnTo>
                    <a:lnTo>
                      <a:pt x="63" y="43"/>
                    </a:lnTo>
                    <a:lnTo>
                      <a:pt x="66" y="39"/>
                    </a:lnTo>
                    <a:lnTo>
                      <a:pt x="67" y="34"/>
                    </a:lnTo>
                    <a:lnTo>
                      <a:pt x="67" y="34"/>
                    </a:lnTo>
                    <a:lnTo>
                      <a:pt x="66" y="29"/>
                    </a:lnTo>
                    <a:lnTo>
                      <a:pt x="63" y="26"/>
                    </a:lnTo>
                    <a:lnTo>
                      <a:pt x="59" y="24"/>
                    </a:lnTo>
                    <a:lnTo>
                      <a:pt x="53" y="23"/>
                    </a:lnTo>
                    <a:lnTo>
                      <a:pt x="32" y="23"/>
                    </a:lnTo>
                    <a:lnTo>
                      <a:pt x="32" y="46"/>
                    </a:lnTo>
                    <a:close/>
                    <a:moveTo>
                      <a:pt x="72" y="79"/>
                    </a:moveTo>
                    <a:lnTo>
                      <a:pt x="72" y="79"/>
                    </a:lnTo>
                    <a:lnTo>
                      <a:pt x="71" y="74"/>
                    </a:lnTo>
                    <a:lnTo>
                      <a:pt x="69" y="70"/>
                    </a:lnTo>
                    <a:lnTo>
                      <a:pt x="64" y="68"/>
                    </a:lnTo>
                    <a:lnTo>
                      <a:pt x="58" y="67"/>
                    </a:lnTo>
                    <a:lnTo>
                      <a:pt x="32" y="67"/>
                    </a:lnTo>
                    <a:lnTo>
                      <a:pt x="32" y="91"/>
                    </a:lnTo>
                    <a:lnTo>
                      <a:pt x="58" y="91"/>
                    </a:lnTo>
                    <a:lnTo>
                      <a:pt x="58" y="91"/>
                    </a:lnTo>
                    <a:lnTo>
                      <a:pt x="64" y="90"/>
                    </a:lnTo>
                    <a:lnTo>
                      <a:pt x="69" y="88"/>
                    </a:lnTo>
                    <a:lnTo>
                      <a:pt x="71" y="84"/>
                    </a:lnTo>
                    <a:lnTo>
                      <a:pt x="72" y="79"/>
                    </a:lnTo>
                    <a:lnTo>
                      <a:pt x="72" y="7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8">
                <a:extLst>
                  <a:ext uri="{FF2B5EF4-FFF2-40B4-BE49-F238E27FC236}">
                    <a16:creationId xmlns:a16="http://schemas.microsoft.com/office/drawing/2014/main" id="{B959E18F-71BB-4217-A490-8F1C53E745D8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664829" y="1379538"/>
                <a:ext cx="115888" cy="90487"/>
              </a:xfrm>
              <a:custGeom>
                <a:avLst/>
                <a:gdLst>
                  <a:gd name="T0" fmla="*/ 92 w 147"/>
                  <a:gd name="T1" fmla="*/ 46 h 115"/>
                  <a:gd name="T2" fmla="*/ 92 w 147"/>
                  <a:gd name="T3" fmla="*/ 46 h 115"/>
                  <a:gd name="T4" fmla="*/ 97 w 147"/>
                  <a:gd name="T5" fmla="*/ 51 h 115"/>
                  <a:gd name="T6" fmla="*/ 101 w 147"/>
                  <a:gd name="T7" fmla="*/ 58 h 115"/>
                  <a:gd name="T8" fmla="*/ 103 w 147"/>
                  <a:gd name="T9" fmla="*/ 66 h 115"/>
                  <a:gd name="T10" fmla="*/ 103 w 147"/>
                  <a:gd name="T11" fmla="*/ 73 h 115"/>
                  <a:gd name="T12" fmla="*/ 103 w 147"/>
                  <a:gd name="T13" fmla="*/ 73 h 115"/>
                  <a:gd name="T14" fmla="*/ 103 w 147"/>
                  <a:gd name="T15" fmla="*/ 82 h 115"/>
                  <a:gd name="T16" fmla="*/ 100 w 147"/>
                  <a:gd name="T17" fmla="*/ 90 h 115"/>
                  <a:gd name="T18" fmla="*/ 96 w 147"/>
                  <a:gd name="T19" fmla="*/ 97 h 115"/>
                  <a:gd name="T20" fmla="*/ 90 w 147"/>
                  <a:gd name="T21" fmla="*/ 104 h 115"/>
                  <a:gd name="T22" fmla="*/ 90 w 147"/>
                  <a:gd name="T23" fmla="*/ 104 h 115"/>
                  <a:gd name="T24" fmla="*/ 82 w 147"/>
                  <a:gd name="T25" fmla="*/ 109 h 115"/>
                  <a:gd name="T26" fmla="*/ 74 w 147"/>
                  <a:gd name="T27" fmla="*/ 113 h 115"/>
                  <a:gd name="T28" fmla="*/ 65 w 147"/>
                  <a:gd name="T29" fmla="*/ 115 h 115"/>
                  <a:gd name="T30" fmla="*/ 55 w 147"/>
                  <a:gd name="T31" fmla="*/ 115 h 115"/>
                  <a:gd name="T32" fmla="*/ 0 w 147"/>
                  <a:gd name="T33" fmla="*/ 115 h 115"/>
                  <a:gd name="T34" fmla="*/ 0 w 147"/>
                  <a:gd name="T35" fmla="*/ 0 h 115"/>
                  <a:gd name="T36" fmla="*/ 32 w 147"/>
                  <a:gd name="T37" fmla="*/ 0 h 115"/>
                  <a:gd name="T38" fmla="*/ 32 w 147"/>
                  <a:gd name="T39" fmla="*/ 36 h 115"/>
                  <a:gd name="T40" fmla="*/ 59 w 147"/>
                  <a:gd name="T41" fmla="*/ 36 h 115"/>
                  <a:gd name="T42" fmla="*/ 59 w 147"/>
                  <a:gd name="T43" fmla="*/ 36 h 115"/>
                  <a:gd name="T44" fmla="*/ 68 w 147"/>
                  <a:gd name="T45" fmla="*/ 37 h 115"/>
                  <a:gd name="T46" fmla="*/ 76 w 147"/>
                  <a:gd name="T47" fmla="*/ 38 h 115"/>
                  <a:gd name="T48" fmla="*/ 84 w 147"/>
                  <a:gd name="T49" fmla="*/ 41 h 115"/>
                  <a:gd name="T50" fmla="*/ 92 w 147"/>
                  <a:gd name="T51" fmla="*/ 46 h 115"/>
                  <a:gd name="T52" fmla="*/ 92 w 147"/>
                  <a:gd name="T53" fmla="*/ 46 h 115"/>
                  <a:gd name="T54" fmla="*/ 66 w 147"/>
                  <a:gd name="T55" fmla="*/ 86 h 115"/>
                  <a:gd name="T56" fmla="*/ 66 w 147"/>
                  <a:gd name="T57" fmla="*/ 86 h 115"/>
                  <a:gd name="T58" fmla="*/ 68 w 147"/>
                  <a:gd name="T59" fmla="*/ 84 h 115"/>
                  <a:gd name="T60" fmla="*/ 70 w 147"/>
                  <a:gd name="T61" fmla="*/ 81 h 115"/>
                  <a:gd name="T62" fmla="*/ 71 w 147"/>
                  <a:gd name="T63" fmla="*/ 77 h 115"/>
                  <a:gd name="T64" fmla="*/ 71 w 147"/>
                  <a:gd name="T65" fmla="*/ 74 h 115"/>
                  <a:gd name="T66" fmla="*/ 71 w 147"/>
                  <a:gd name="T67" fmla="*/ 74 h 115"/>
                  <a:gd name="T68" fmla="*/ 71 w 147"/>
                  <a:gd name="T69" fmla="*/ 71 h 115"/>
                  <a:gd name="T70" fmla="*/ 70 w 147"/>
                  <a:gd name="T71" fmla="*/ 68 h 115"/>
                  <a:gd name="T72" fmla="*/ 68 w 147"/>
                  <a:gd name="T73" fmla="*/ 65 h 115"/>
                  <a:gd name="T74" fmla="*/ 67 w 147"/>
                  <a:gd name="T75" fmla="*/ 63 h 115"/>
                  <a:gd name="T76" fmla="*/ 64 w 147"/>
                  <a:gd name="T77" fmla="*/ 61 h 115"/>
                  <a:gd name="T78" fmla="*/ 61 w 147"/>
                  <a:gd name="T79" fmla="*/ 60 h 115"/>
                  <a:gd name="T80" fmla="*/ 53 w 147"/>
                  <a:gd name="T81" fmla="*/ 59 h 115"/>
                  <a:gd name="T82" fmla="*/ 32 w 147"/>
                  <a:gd name="T83" fmla="*/ 59 h 115"/>
                  <a:gd name="T84" fmla="*/ 32 w 147"/>
                  <a:gd name="T85" fmla="*/ 91 h 115"/>
                  <a:gd name="T86" fmla="*/ 53 w 147"/>
                  <a:gd name="T87" fmla="*/ 91 h 115"/>
                  <a:gd name="T88" fmla="*/ 53 w 147"/>
                  <a:gd name="T89" fmla="*/ 91 h 115"/>
                  <a:gd name="T90" fmla="*/ 57 w 147"/>
                  <a:gd name="T91" fmla="*/ 91 h 115"/>
                  <a:gd name="T92" fmla="*/ 60 w 147"/>
                  <a:gd name="T93" fmla="*/ 90 h 115"/>
                  <a:gd name="T94" fmla="*/ 63 w 147"/>
                  <a:gd name="T95" fmla="*/ 88 h 115"/>
                  <a:gd name="T96" fmla="*/ 66 w 147"/>
                  <a:gd name="T97" fmla="*/ 86 h 115"/>
                  <a:gd name="T98" fmla="*/ 66 w 147"/>
                  <a:gd name="T99" fmla="*/ 86 h 115"/>
                  <a:gd name="T100" fmla="*/ 116 w 147"/>
                  <a:gd name="T101" fmla="*/ 0 h 115"/>
                  <a:gd name="T102" fmla="*/ 147 w 147"/>
                  <a:gd name="T103" fmla="*/ 0 h 115"/>
                  <a:gd name="T104" fmla="*/ 147 w 147"/>
                  <a:gd name="T105" fmla="*/ 115 h 115"/>
                  <a:gd name="T106" fmla="*/ 116 w 147"/>
                  <a:gd name="T107" fmla="*/ 115 h 115"/>
                  <a:gd name="T108" fmla="*/ 116 w 147"/>
                  <a:gd name="T109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47" h="115">
                    <a:moveTo>
                      <a:pt x="92" y="46"/>
                    </a:moveTo>
                    <a:lnTo>
                      <a:pt x="92" y="46"/>
                    </a:lnTo>
                    <a:lnTo>
                      <a:pt x="97" y="51"/>
                    </a:lnTo>
                    <a:lnTo>
                      <a:pt x="101" y="58"/>
                    </a:lnTo>
                    <a:lnTo>
                      <a:pt x="103" y="66"/>
                    </a:lnTo>
                    <a:lnTo>
                      <a:pt x="103" y="73"/>
                    </a:lnTo>
                    <a:lnTo>
                      <a:pt x="103" y="73"/>
                    </a:lnTo>
                    <a:lnTo>
                      <a:pt x="103" y="82"/>
                    </a:lnTo>
                    <a:lnTo>
                      <a:pt x="100" y="90"/>
                    </a:lnTo>
                    <a:lnTo>
                      <a:pt x="96" y="97"/>
                    </a:lnTo>
                    <a:lnTo>
                      <a:pt x="90" y="104"/>
                    </a:lnTo>
                    <a:lnTo>
                      <a:pt x="90" y="104"/>
                    </a:lnTo>
                    <a:lnTo>
                      <a:pt x="82" y="109"/>
                    </a:lnTo>
                    <a:lnTo>
                      <a:pt x="74" y="113"/>
                    </a:lnTo>
                    <a:lnTo>
                      <a:pt x="65" y="115"/>
                    </a:lnTo>
                    <a:lnTo>
                      <a:pt x="55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2" y="0"/>
                    </a:lnTo>
                    <a:lnTo>
                      <a:pt x="32" y="36"/>
                    </a:lnTo>
                    <a:lnTo>
                      <a:pt x="59" y="36"/>
                    </a:lnTo>
                    <a:lnTo>
                      <a:pt x="59" y="36"/>
                    </a:lnTo>
                    <a:lnTo>
                      <a:pt x="68" y="37"/>
                    </a:lnTo>
                    <a:lnTo>
                      <a:pt x="76" y="38"/>
                    </a:lnTo>
                    <a:lnTo>
                      <a:pt x="84" y="41"/>
                    </a:lnTo>
                    <a:lnTo>
                      <a:pt x="92" y="46"/>
                    </a:lnTo>
                    <a:lnTo>
                      <a:pt x="92" y="46"/>
                    </a:lnTo>
                    <a:close/>
                    <a:moveTo>
                      <a:pt x="66" y="86"/>
                    </a:moveTo>
                    <a:lnTo>
                      <a:pt x="66" y="86"/>
                    </a:lnTo>
                    <a:lnTo>
                      <a:pt x="68" y="84"/>
                    </a:lnTo>
                    <a:lnTo>
                      <a:pt x="70" y="81"/>
                    </a:lnTo>
                    <a:lnTo>
                      <a:pt x="71" y="77"/>
                    </a:lnTo>
                    <a:lnTo>
                      <a:pt x="71" y="74"/>
                    </a:lnTo>
                    <a:lnTo>
                      <a:pt x="71" y="74"/>
                    </a:lnTo>
                    <a:lnTo>
                      <a:pt x="71" y="71"/>
                    </a:lnTo>
                    <a:lnTo>
                      <a:pt x="70" y="68"/>
                    </a:lnTo>
                    <a:lnTo>
                      <a:pt x="68" y="65"/>
                    </a:lnTo>
                    <a:lnTo>
                      <a:pt x="67" y="63"/>
                    </a:lnTo>
                    <a:lnTo>
                      <a:pt x="64" y="61"/>
                    </a:lnTo>
                    <a:lnTo>
                      <a:pt x="61" y="60"/>
                    </a:lnTo>
                    <a:lnTo>
                      <a:pt x="53" y="59"/>
                    </a:lnTo>
                    <a:lnTo>
                      <a:pt x="32" y="59"/>
                    </a:lnTo>
                    <a:lnTo>
                      <a:pt x="32" y="91"/>
                    </a:lnTo>
                    <a:lnTo>
                      <a:pt x="53" y="91"/>
                    </a:lnTo>
                    <a:lnTo>
                      <a:pt x="53" y="91"/>
                    </a:lnTo>
                    <a:lnTo>
                      <a:pt x="57" y="91"/>
                    </a:lnTo>
                    <a:lnTo>
                      <a:pt x="60" y="90"/>
                    </a:lnTo>
                    <a:lnTo>
                      <a:pt x="63" y="88"/>
                    </a:lnTo>
                    <a:lnTo>
                      <a:pt x="66" y="86"/>
                    </a:lnTo>
                    <a:lnTo>
                      <a:pt x="66" y="86"/>
                    </a:lnTo>
                    <a:close/>
                    <a:moveTo>
                      <a:pt x="116" y="0"/>
                    </a:moveTo>
                    <a:lnTo>
                      <a:pt x="147" y="0"/>
                    </a:lnTo>
                    <a:lnTo>
                      <a:pt x="147" y="115"/>
                    </a:lnTo>
                    <a:lnTo>
                      <a:pt x="116" y="115"/>
                    </a:lnTo>
                    <a:lnTo>
                      <a:pt x="116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9">
                <a:extLst>
                  <a:ext uri="{FF2B5EF4-FFF2-40B4-BE49-F238E27FC236}">
                    <a16:creationId xmlns:a16="http://schemas.microsoft.com/office/drawing/2014/main" id="{29959D6C-65E6-4727-A8C2-28C56CDBA05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802941" y="1379538"/>
                <a:ext cx="74613" cy="90487"/>
              </a:xfrm>
              <a:custGeom>
                <a:avLst/>
                <a:gdLst>
                  <a:gd name="T0" fmla="*/ 92 w 92"/>
                  <a:gd name="T1" fmla="*/ 89 h 115"/>
                  <a:gd name="T2" fmla="*/ 92 w 92"/>
                  <a:gd name="T3" fmla="*/ 115 h 115"/>
                  <a:gd name="T4" fmla="*/ 0 w 92"/>
                  <a:gd name="T5" fmla="*/ 115 h 115"/>
                  <a:gd name="T6" fmla="*/ 0 w 92"/>
                  <a:gd name="T7" fmla="*/ 0 h 115"/>
                  <a:gd name="T8" fmla="*/ 90 w 92"/>
                  <a:gd name="T9" fmla="*/ 0 h 115"/>
                  <a:gd name="T10" fmla="*/ 90 w 92"/>
                  <a:gd name="T11" fmla="*/ 25 h 115"/>
                  <a:gd name="T12" fmla="*/ 32 w 92"/>
                  <a:gd name="T13" fmla="*/ 25 h 115"/>
                  <a:gd name="T14" fmla="*/ 32 w 92"/>
                  <a:gd name="T15" fmla="*/ 44 h 115"/>
                  <a:gd name="T16" fmla="*/ 83 w 92"/>
                  <a:gd name="T17" fmla="*/ 44 h 115"/>
                  <a:gd name="T18" fmla="*/ 83 w 92"/>
                  <a:gd name="T19" fmla="*/ 68 h 115"/>
                  <a:gd name="T20" fmla="*/ 32 w 92"/>
                  <a:gd name="T21" fmla="*/ 68 h 115"/>
                  <a:gd name="T22" fmla="*/ 32 w 92"/>
                  <a:gd name="T23" fmla="*/ 89 h 115"/>
                  <a:gd name="T24" fmla="*/ 92 w 92"/>
                  <a:gd name="T25" fmla="*/ 89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2" h="115">
                    <a:moveTo>
                      <a:pt x="92" y="89"/>
                    </a:moveTo>
                    <a:lnTo>
                      <a:pt x="9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25"/>
                    </a:lnTo>
                    <a:lnTo>
                      <a:pt x="32" y="25"/>
                    </a:lnTo>
                    <a:lnTo>
                      <a:pt x="32" y="44"/>
                    </a:lnTo>
                    <a:lnTo>
                      <a:pt x="83" y="44"/>
                    </a:lnTo>
                    <a:lnTo>
                      <a:pt x="83" y="68"/>
                    </a:lnTo>
                    <a:lnTo>
                      <a:pt x="32" y="68"/>
                    </a:lnTo>
                    <a:lnTo>
                      <a:pt x="32" y="89"/>
                    </a:lnTo>
                    <a:lnTo>
                      <a:pt x="92" y="8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10">
                <a:extLst>
                  <a:ext uri="{FF2B5EF4-FFF2-40B4-BE49-F238E27FC236}">
                    <a16:creationId xmlns:a16="http://schemas.microsoft.com/office/drawing/2014/main" id="{01B96F94-46AA-49C5-90CD-74C57F52A9C6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934704" y="1379538"/>
                <a:ext cx="82550" cy="90487"/>
              </a:xfrm>
              <a:custGeom>
                <a:avLst/>
                <a:gdLst>
                  <a:gd name="T0" fmla="*/ 99 w 105"/>
                  <a:gd name="T1" fmla="*/ 64 h 115"/>
                  <a:gd name="T2" fmla="*/ 104 w 105"/>
                  <a:gd name="T3" fmla="*/ 72 h 115"/>
                  <a:gd name="T4" fmla="*/ 105 w 105"/>
                  <a:gd name="T5" fmla="*/ 81 h 115"/>
                  <a:gd name="T6" fmla="*/ 104 w 105"/>
                  <a:gd name="T7" fmla="*/ 88 h 115"/>
                  <a:gd name="T8" fmla="*/ 98 w 105"/>
                  <a:gd name="T9" fmla="*/ 101 h 115"/>
                  <a:gd name="T10" fmla="*/ 93 w 105"/>
                  <a:gd name="T11" fmla="*/ 106 h 115"/>
                  <a:gd name="T12" fmla="*/ 78 w 105"/>
                  <a:gd name="T13" fmla="*/ 113 h 115"/>
                  <a:gd name="T14" fmla="*/ 58 w 105"/>
                  <a:gd name="T15" fmla="*/ 115 h 115"/>
                  <a:gd name="T16" fmla="*/ 0 w 105"/>
                  <a:gd name="T17" fmla="*/ 0 h 115"/>
                  <a:gd name="T18" fmla="*/ 55 w 105"/>
                  <a:gd name="T19" fmla="*/ 0 h 115"/>
                  <a:gd name="T20" fmla="*/ 72 w 105"/>
                  <a:gd name="T21" fmla="*/ 2 h 115"/>
                  <a:gd name="T22" fmla="*/ 88 w 105"/>
                  <a:gd name="T23" fmla="*/ 8 h 115"/>
                  <a:gd name="T24" fmla="*/ 93 w 105"/>
                  <a:gd name="T25" fmla="*/ 12 h 115"/>
                  <a:gd name="T26" fmla="*/ 99 w 105"/>
                  <a:gd name="T27" fmla="*/ 23 h 115"/>
                  <a:gd name="T28" fmla="*/ 100 w 105"/>
                  <a:gd name="T29" fmla="*/ 30 h 115"/>
                  <a:gd name="T30" fmla="*/ 96 w 105"/>
                  <a:gd name="T31" fmla="*/ 45 h 115"/>
                  <a:gd name="T32" fmla="*/ 91 w 105"/>
                  <a:gd name="T33" fmla="*/ 50 h 115"/>
                  <a:gd name="T34" fmla="*/ 84 w 105"/>
                  <a:gd name="T35" fmla="*/ 54 h 115"/>
                  <a:gd name="T36" fmla="*/ 93 w 105"/>
                  <a:gd name="T37" fmla="*/ 58 h 115"/>
                  <a:gd name="T38" fmla="*/ 99 w 105"/>
                  <a:gd name="T39" fmla="*/ 64 h 115"/>
                  <a:gd name="T40" fmla="*/ 32 w 105"/>
                  <a:gd name="T41" fmla="*/ 46 h 115"/>
                  <a:gd name="T42" fmla="*/ 52 w 105"/>
                  <a:gd name="T43" fmla="*/ 46 h 115"/>
                  <a:gd name="T44" fmla="*/ 63 w 105"/>
                  <a:gd name="T45" fmla="*/ 43 h 115"/>
                  <a:gd name="T46" fmla="*/ 66 w 105"/>
                  <a:gd name="T47" fmla="*/ 34 h 115"/>
                  <a:gd name="T48" fmla="*/ 65 w 105"/>
                  <a:gd name="T49" fmla="*/ 29 h 115"/>
                  <a:gd name="T50" fmla="*/ 58 w 105"/>
                  <a:gd name="T51" fmla="*/ 24 h 115"/>
                  <a:gd name="T52" fmla="*/ 32 w 105"/>
                  <a:gd name="T53" fmla="*/ 23 h 115"/>
                  <a:gd name="T54" fmla="*/ 71 w 105"/>
                  <a:gd name="T55" fmla="*/ 79 h 115"/>
                  <a:gd name="T56" fmla="*/ 70 w 105"/>
                  <a:gd name="T57" fmla="*/ 74 h 115"/>
                  <a:gd name="T58" fmla="*/ 63 w 105"/>
                  <a:gd name="T59" fmla="*/ 68 h 115"/>
                  <a:gd name="T60" fmla="*/ 32 w 105"/>
                  <a:gd name="T61" fmla="*/ 67 h 115"/>
                  <a:gd name="T62" fmla="*/ 57 w 105"/>
                  <a:gd name="T63" fmla="*/ 91 h 115"/>
                  <a:gd name="T64" fmla="*/ 63 w 105"/>
                  <a:gd name="T65" fmla="*/ 90 h 115"/>
                  <a:gd name="T66" fmla="*/ 70 w 105"/>
                  <a:gd name="T67" fmla="*/ 84 h 115"/>
                  <a:gd name="T68" fmla="*/ 71 w 105"/>
                  <a:gd name="T69" fmla="*/ 79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5" h="115">
                    <a:moveTo>
                      <a:pt x="99" y="64"/>
                    </a:moveTo>
                    <a:lnTo>
                      <a:pt x="99" y="64"/>
                    </a:lnTo>
                    <a:lnTo>
                      <a:pt x="102" y="68"/>
                    </a:lnTo>
                    <a:lnTo>
                      <a:pt x="104" y="72"/>
                    </a:lnTo>
                    <a:lnTo>
                      <a:pt x="105" y="77"/>
                    </a:lnTo>
                    <a:lnTo>
                      <a:pt x="105" y="81"/>
                    </a:lnTo>
                    <a:lnTo>
                      <a:pt x="105" y="81"/>
                    </a:lnTo>
                    <a:lnTo>
                      <a:pt x="104" y="88"/>
                    </a:lnTo>
                    <a:lnTo>
                      <a:pt x="102" y="95"/>
                    </a:lnTo>
                    <a:lnTo>
                      <a:pt x="98" y="101"/>
                    </a:lnTo>
                    <a:lnTo>
                      <a:pt x="93" y="106"/>
                    </a:lnTo>
                    <a:lnTo>
                      <a:pt x="93" y="106"/>
                    </a:lnTo>
                    <a:lnTo>
                      <a:pt x="86" y="110"/>
                    </a:lnTo>
                    <a:lnTo>
                      <a:pt x="78" y="113"/>
                    </a:lnTo>
                    <a:lnTo>
                      <a:pt x="69" y="114"/>
                    </a:lnTo>
                    <a:lnTo>
                      <a:pt x="58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55" y="0"/>
                    </a:lnTo>
                    <a:lnTo>
                      <a:pt x="55" y="0"/>
                    </a:lnTo>
                    <a:lnTo>
                      <a:pt x="64" y="0"/>
                    </a:lnTo>
                    <a:lnTo>
                      <a:pt x="72" y="2"/>
                    </a:lnTo>
                    <a:lnTo>
                      <a:pt x="81" y="4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93" y="12"/>
                    </a:lnTo>
                    <a:lnTo>
                      <a:pt x="97" y="17"/>
                    </a:lnTo>
                    <a:lnTo>
                      <a:pt x="99" y="23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99" y="37"/>
                    </a:lnTo>
                    <a:lnTo>
                      <a:pt x="96" y="45"/>
                    </a:lnTo>
                    <a:lnTo>
                      <a:pt x="96" y="45"/>
                    </a:lnTo>
                    <a:lnTo>
                      <a:pt x="91" y="50"/>
                    </a:lnTo>
                    <a:lnTo>
                      <a:pt x="84" y="54"/>
                    </a:lnTo>
                    <a:lnTo>
                      <a:pt x="84" y="54"/>
                    </a:lnTo>
                    <a:lnTo>
                      <a:pt x="88" y="56"/>
                    </a:lnTo>
                    <a:lnTo>
                      <a:pt x="93" y="58"/>
                    </a:lnTo>
                    <a:lnTo>
                      <a:pt x="96" y="61"/>
                    </a:lnTo>
                    <a:lnTo>
                      <a:pt x="99" y="64"/>
                    </a:lnTo>
                    <a:lnTo>
                      <a:pt x="99" y="64"/>
                    </a:lnTo>
                    <a:close/>
                    <a:moveTo>
                      <a:pt x="32" y="46"/>
                    </a:moveTo>
                    <a:lnTo>
                      <a:pt x="52" y="46"/>
                    </a:lnTo>
                    <a:lnTo>
                      <a:pt x="52" y="46"/>
                    </a:lnTo>
                    <a:lnTo>
                      <a:pt x="58" y="45"/>
                    </a:lnTo>
                    <a:lnTo>
                      <a:pt x="63" y="43"/>
                    </a:lnTo>
                    <a:lnTo>
                      <a:pt x="65" y="39"/>
                    </a:lnTo>
                    <a:lnTo>
                      <a:pt x="66" y="34"/>
                    </a:lnTo>
                    <a:lnTo>
                      <a:pt x="66" y="34"/>
                    </a:lnTo>
                    <a:lnTo>
                      <a:pt x="65" y="29"/>
                    </a:lnTo>
                    <a:lnTo>
                      <a:pt x="63" y="26"/>
                    </a:lnTo>
                    <a:lnTo>
                      <a:pt x="58" y="24"/>
                    </a:lnTo>
                    <a:lnTo>
                      <a:pt x="52" y="23"/>
                    </a:lnTo>
                    <a:lnTo>
                      <a:pt x="32" y="23"/>
                    </a:lnTo>
                    <a:lnTo>
                      <a:pt x="32" y="46"/>
                    </a:lnTo>
                    <a:close/>
                    <a:moveTo>
                      <a:pt x="71" y="79"/>
                    </a:moveTo>
                    <a:lnTo>
                      <a:pt x="71" y="79"/>
                    </a:lnTo>
                    <a:lnTo>
                      <a:pt x="70" y="74"/>
                    </a:lnTo>
                    <a:lnTo>
                      <a:pt x="68" y="70"/>
                    </a:lnTo>
                    <a:lnTo>
                      <a:pt x="63" y="68"/>
                    </a:lnTo>
                    <a:lnTo>
                      <a:pt x="57" y="67"/>
                    </a:lnTo>
                    <a:lnTo>
                      <a:pt x="32" y="67"/>
                    </a:lnTo>
                    <a:lnTo>
                      <a:pt x="32" y="91"/>
                    </a:lnTo>
                    <a:lnTo>
                      <a:pt x="57" y="91"/>
                    </a:lnTo>
                    <a:lnTo>
                      <a:pt x="57" y="91"/>
                    </a:lnTo>
                    <a:lnTo>
                      <a:pt x="63" y="90"/>
                    </a:lnTo>
                    <a:lnTo>
                      <a:pt x="68" y="88"/>
                    </a:lnTo>
                    <a:lnTo>
                      <a:pt x="70" y="84"/>
                    </a:lnTo>
                    <a:lnTo>
                      <a:pt x="71" y="79"/>
                    </a:lnTo>
                    <a:lnTo>
                      <a:pt x="71" y="7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11">
                <a:extLst>
                  <a:ext uri="{FF2B5EF4-FFF2-40B4-BE49-F238E27FC236}">
                    <a16:creationId xmlns:a16="http://schemas.microsoft.com/office/drawing/2014/main" id="{0A508A24-5B76-430A-8F88-2D2EEE92E70F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1033129" y="1379538"/>
                <a:ext cx="119063" cy="90487"/>
              </a:xfrm>
              <a:custGeom>
                <a:avLst/>
                <a:gdLst>
                  <a:gd name="T0" fmla="*/ 92 w 148"/>
                  <a:gd name="T1" fmla="*/ 46 h 115"/>
                  <a:gd name="T2" fmla="*/ 92 w 148"/>
                  <a:gd name="T3" fmla="*/ 46 h 115"/>
                  <a:gd name="T4" fmla="*/ 97 w 148"/>
                  <a:gd name="T5" fmla="*/ 51 h 115"/>
                  <a:gd name="T6" fmla="*/ 101 w 148"/>
                  <a:gd name="T7" fmla="*/ 58 h 115"/>
                  <a:gd name="T8" fmla="*/ 103 w 148"/>
                  <a:gd name="T9" fmla="*/ 66 h 115"/>
                  <a:gd name="T10" fmla="*/ 103 w 148"/>
                  <a:gd name="T11" fmla="*/ 73 h 115"/>
                  <a:gd name="T12" fmla="*/ 103 w 148"/>
                  <a:gd name="T13" fmla="*/ 73 h 115"/>
                  <a:gd name="T14" fmla="*/ 103 w 148"/>
                  <a:gd name="T15" fmla="*/ 82 h 115"/>
                  <a:gd name="T16" fmla="*/ 100 w 148"/>
                  <a:gd name="T17" fmla="*/ 90 h 115"/>
                  <a:gd name="T18" fmla="*/ 96 w 148"/>
                  <a:gd name="T19" fmla="*/ 97 h 115"/>
                  <a:gd name="T20" fmla="*/ 91 w 148"/>
                  <a:gd name="T21" fmla="*/ 104 h 115"/>
                  <a:gd name="T22" fmla="*/ 91 w 148"/>
                  <a:gd name="T23" fmla="*/ 104 h 115"/>
                  <a:gd name="T24" fmla="*/ 83 w 148"/>
                  <a:gd name="T25" fmla="*/ 109 h 115"/>
                  <a:gd name="T26" fmla="*/ 73 w 148"/>
                  <a:gd name="T27" fmla="*/ 113 h 115"/>
                  <a:gd name="T28" fmla="*/ 64 w 148"/>
                  <a:gd name="T29" fmla="*/ 115 h 115"/>
                  <a:gd name="T30" fmla="*/ 54 w 148"/>
                  <a:gd name="T31" fmla="*/ 115 h 115"/>
                  <a:gd name="T32" fmla="*/ 0 w 148"/>
                  <a:gd name="T33" fmla="*/ 115 h 115"/>
                  <a:gd name="T34" fmla="*/ 0 w 148"/>
                  <a:gd name="T35" fmla="*/ 0 h 115"/>
                  <a:gd name="T36" fmla="*/ 32 w 148"/>
                  <a:gd name="T37" fmla="*/ 0 h 115"/>
                  <a:gd name="T38" fmla="*/ 32 w 148"/>
                  <a:gd name="T39" fmla="*/ 36 h 115"/>
                  <a:gd name="T40" fmla="*/ 59 w 148"/>
                  <a:gd name="T41" fmla="*/ 36 h 115"/>
                  <a:gd name="T42" fmla="*/ 59 w 148"/>
                  <a:gd name="T43" fmla="*/ 36 h 115"/>
                  <a:gd name="T44" fmla="*/ 67 w 148"/>
                  <a:gd name="T45" fmla="*/ 37 h 115"/>
                  <a:gd name="T46" fmla="*/ 76 w 148"/>
                  <a:gd name="T47" fmla="*/ 38 h 115"/>
                  <a:gd name="T48" fmla="*/ 85 w 148"/>
                  <a:gd name="T49" fmla="*/ 41 h 115"/>
                  <a:gd name="T50" fmla="*/ 92 w 148"/>
                  <a:gd name="T51" fmla="*/ 46 h 115"/>
                  <a:gd name="T52" fmla="*/ 92 w 148"/>
                  <a:gd name="T53" fmla="*/ 46 h 115"/>
                  <a:gd name="T54" fmla="*/ 65 w 148"/>
                  <a:gd name="T55" fmla="*/ 86 h 115"/>
                  <a:gd name="T56" fmla="*/ 65 w 148"/>
                  <a:gd name="T57" fmla="*/ 86 h 115"/>
                  <a:gd name="T58" fmla="*/ 67 w 148"/>
                  <a:gd name="T59" fmla="*/ 84 h 115"/>
                  <a:gd name="T60" fmla="*/ 69 w 148"/>
                  <a:gd name="T61" fmla="*/ 81 h 115"/>
                  <a:gd name="T62" fmla="*/ 70 w 148"/>
                  <a:gd name="T63" fmla="*/ 77 h 115"/>
                  <a:gd name="T64" fmla="*/ 70 w 148"/>
                  <a:gd name="T65" fmla="*/ 74 h 115"/>
                  <a:gd name="T66" fmla="*/ 70 w 148"/>
                  <a:gd name="T67" fmla="*/ 74 h 115"/>
                  <a:gd name="T68" fmla="*/ 70 w 148"/>
                  <a:gd name="T69" fmla="*/ 71 h 115"/>
                  <a:gd name="T70" fmla="*/ 69 w 148"/>
                  <a:gd name="T71" fmla="*/ 68 h 115"/>
                  <a:gd name="T72" fmla="*/ 68 w 148"/>
                  <a:gd name="T73" fmla="*/ 65 h 115"/>
                  <a:gd name="T74" fmla="*/ 66 w 148"/>
                  <a:gd name="T75" fmla="*/ 63 h 115"/>
                  <a:gd name="T76" fmla="*/ 63 w 148"/>
                  <a:gd name="T77" fmla="*/ 61 h 115"/>
                  <a:gd name="T78" fmla="*/ 60 w 148"/>
                  <a:gd name="T79" fmla="*/ 60 h 115"/>
                  <a:gd name="T80" fmla="*/ 52 w 148"/>
                  <a:gd name="T81" fmla="*/ 59 h 115"/>
                  <a:gd name="T82" fmla="*/ 33 w 148"/>
                  <a:gd name="T83" fmla="*/ 59 h 115"/>
                  <a:gd name="T84" fmla="*/ 33 w 148"/>
                  <a:gd name="T85" fmla="*/ 91 h 115"/>
                  <a:gd name="T86" fmla="*/ 52 w 148"/>
                  <a:gd name="T87" fmla="*/ 91 h 115"/>
                  <a:gd name="T88" fmla="*/ 52 w 148"/>
                  <a:gd name="T89" fmla="*/ 91 h 115"/>
                  <a:gd name="T90" fmla="*/ 56 w 148"/>
                  <a:gd name="T91" fmla="*/ 91 h 115"/>
                  <a:gd name="T92" fmla="*/ 59 w 148"/>
                  <a:gd name="T93" fmla="*/ 90 h 115"/>
                  <a:gd name="T94" fmla="*/ 62 w 148"/>
                  <a:gd name="T95" fmla="*/ 88 h 115"/>
                  <a:gd name="T96" fmla="*/ 65 w 148"/>
                  <a:gd name="T97" fmla="*/ 86 h 115"/>
                  <a:gd name="T98" fmla="*/ 65 w 148"/>
                  <a:gd name="T99" fmla="*/ 86 h 115"/>
                  <a:gd name="T100" fmla="*/ 116 w 148"/>
                  <a:gd name="T101" fmla="*/ 0 h 115"/>
                  <a:gd name="T102" fmla="*/ 148 w 148"/>
                  <a:gd name="T103" fmla="*/ 0 h 115"/>
                  <a:gd name="T104" fmla="*/ 148 w 148"/>
                  <a:gd name="T105" fmla="*/ 115 h 115"/>
                  <a:gd name="T106" fmla="*/ 116 w 148"/>
                  <a:gd name="T107" fmla="*/ 115 h 115"/>
                  <a:gd name="T108" fmla="*/ 116 w 148"/>
                  <a:gd name="T109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48" h="115">
                    <a:moveTo>
                      <a:pt x="92" y="46"/>
                    </a:moveTo>
                    <a:lnTo>
                      <a:pt x="92" y="46"/>
                    </a:lnTo>
                    <a:lnTo>
                      <a:pt x="97" y="51"/>
                    </a:lnTo>
                    <a:lnTo>
                      <a:pt x="101" y="58"/>
                    </a:lnTo>
                    <a:lnTo>
                      <a:pt x="103" y="66"/>
                    </a:lnTo>
                    <a:lnTo>
                      <a:pt x="103" y="73"/>
                    </a:lnTo>
                    <a:lnTo>
                      <a:pt x="103" y="73"/>
                    </a:lnTo>
                    <a:lnTo>
                      <a:pt x="103" y="82"/>
                    </a:lnTo>
                    <a:lnTo>
                      <a:pt x="100" y="90"/>
                    </a:lnTo>
                    <a:lnTo>
                      <a:pt x="96" y="97"/>
                    </a:lnTo>
                    <a:lnTo>
                      <a:pt x="91" y="104"/>
                    </a:lnTo>
                    <a:lnTo>
                      <a:pt x="91" y="104"/>
                    </a:lnTo>
                    <a:lnTo>
                      <a:pt x="83" y="109"/>
                    </a:lnTo>
                    <a:lnTo>
                      <a:pt x="73" y="113"/>
                    </a:lnTo>
                    <a:lnTo>
                      <a:pt x="64" y="115"/>
                    </a:lnTo>
                    <a:lnTo>
                      <a:pt x="54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2" y="0"/>
                    </a:lnTo>
                    <a:lnTo>
                      <a:pt x="32" y="36"/>
                    </a:lnTo>
                    <a:lnTo>
                      <a:pt x="59" y="36"/>
                    </a:lnTo>
                    <a:lnTo>
                      <a:pt x="59" y="36"/>
                    </a:lnTo>
                    <a:lnTo>
                      <a:pt x="67" y="37"/>
                    </a:lnTo>
                    <a:lnTo>
                      <a:pt x="76" y="38"/>
                    </a:lnTo>
                    <a:lnTo>
                      <a:pt x="85" y="41"/>
                    </a:lnTo>
                    <a:lnTo>
                      <a:pt x="92" y="46"/>
                    </a:lnTo>
                    <a:lnTo>
                      <a:pt x="92" y="46"/>
                    </a:lnTo>
                    <a:close/>
                    <a:moveTo>
                      <a:pt x="65" y="86"/>
                    </a:moveTo>
                    <a:lnTo>
                      <a:pt x="65" y="86"/>
                    </a:lnTo>
                    <a:lnTo>
                      <a:pt x="67" y="84"/>
                    </a:lnTo>
                    <a:lnTo>
                      <a:pt x="69" y="81"/>
                    </a:lnTo>
                    <a:lnTo>
                      <a:pt x="70" y="77"/>
                    </a:lnTo>
                    <a:lnTo>
                      <a:pt x="70" y="74"/>
                    </a:lnTo>
                    <a:lnTo>
                      <a:pt x="70" y="74"/>
                    </a:lnTo>
                    <a:lnTo>
                      <a:pt x="70" y="71"/>
                    </a:lnTo>
                    <a:lnTo>
                      <a:pt x="69" y="68"/>
                    </a:lnTo>
                    <a:lnTo>
                      <a:pt x="68" y="65"/>
                    </a:lnTo>
                    <a:lnTo>
                      <a:pt x="66" y="63"/>
                    </a:lnTo>
                    <a:lnTo>
                      <a:pt x="63" y="61"/>
                    </a:lnTo>
                    <a:lnTo>
                      <a:pt x="60" y="60"/>
                    </a:lnTo>
                    <a:lnTo>
                      <a:pt x="52" y="59"/>
                    </a:lnTo>
                    <a:lnTo>
                      <a:pt x="33" y="59"/>
                    </a:lnTo>
                    <a:lnTo>
                      <a:pt x="33" y="91"/>
                    </a:lnTo>
                    <a:lnTo>
                      <a:pt x="52" y="91"/>
                    </a:lnTo>
                    <a:lnTo>
                      <a:pt x="52" y="91"/>
                    </a:lnTo>
                    <a:lnTo>
                      <a:pt x="56" y="91"/>
                    </a:lnTo>
                    <a:lnTo>
                      <a:pt x="59" y="90"/>
                    </a:lnTo>
                    <a:lnTo>
                      <a:pt x="62" y="88"/>
                    </a:lnTo>
                    <a:lnTo>
                      <a:pt x="65" y="86"/>
                    </a:lnTo>
                    <a:lnTo>
                      <a:pt x="65" y="86"/>
                    </a:lnTo>
                    <a:close/>
                    <a:moveTo>
                      <a:pt x="116" y="0"/>
                    </a:moveTo>
                    <a:lnTo>
                      <a:pt x="148" y="0"/>
                    </a:lnTo>
                    <a:lnTo>
                      <a:pt x="148" y="115"/>
                    </a:lnTo>
                    <a:lnTo>
                      <a:pt x="116" y="115"/>
                    </a:lnTo>
                    <a:lnTo>
                      <a:pt x="116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12">
                <a:extLst>
                  <a:ext uri="{FF2B5EF4-FFF2-40B4-BE49-F238E27FC236}">
                    <a16:creationId xmlns:a16="http://schemas.microsoft.com/office/drawing/2014/main" id="{C5A330E0-6021-4DAF-A13A-D86CB57EDA2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166479" y="1376363"/>
                <a:ext cx="79375" cy="95250"/>
              </a:xfrm>
              <a:custGeom>
                <a:avLst/>
                <a:gdLst>
                  <a:gd name="T0" fmla="*/ 96 w 101"/>
                  <a:gd name="T1" fmla="*/ 68 h 120"/>
                  <a:gd name="T2" fmla="*/ 100 w 101"/>
                  <a:gd name="T3" fmla="*/ 76 h 120"/>
                  <a:gd name="T4" fmla="*/ 101 w 101"/>
                  <a:gd name="T5" fmla="*/ 85 h 120"/>
                  <a:gd name="T6" fmla="*/ 101 w 101"/>
                  <a:gd name="T7" fmla="*/ 90 h 120"/>
                  <a:gd name="T8" fmla="*/ 97 w 101"/>
                  <a:gd name="T9" fmla="*/ 99 h 120"/>
                  <a:gd name="T10" fmla="*/ 94 w 101"/>
                  <a:gd name="T11" fmla="*/ 104 h 120"/>
                  <a:gd name="T12" fmla="*/ 85 w 101"/>
                  <a:gd name="T13" fmla="*/ 111 h 120"/>
                  <a:gd name="T14" fmla="*/ 75 w 101"/>
                  <a:gd name="T15" fmla="*/ 116 h 120"/>
                  <a:gd name="T16" fmla="*/ 61 w 101"/>
                  <a:gd name="T17" fmla="*/ 119 h 120"/>
                  <a:gd name="T18" fmla="*/ 48 w 101"/>
                  <a:gd name="T19" fmla="*/ 120 h 120"/>
                  <a:gd name="T20" fmla="*/ 23 w 101"/>
                  <a:gd name="T21" fmla="*/ 118 h 120"/>
                  <a:gd name="T22" fmla="*/ 12 w 101"/>
                  <a:gd name="T23" fmla="*/ 114 h 120"/>
                  <a:gd name="T24" fmla="*/ 10 w 101"/>
                  <a:gd name="T25" fmla="*/ 86 h 120"/>
                  <a:gd name="T26" fmla="*/ 18 w 101"/>
                  <a:gd name="T27" fmla="*/ 89 h 120"/>
                  <a:gd name="T28" fmla="*/ 26 w 101"/>
                  <a:gd name="T29" fmla="*/ 92 h 120"/>
                  <a:gd name="T30" fmla="*/ 44 w 101"/>
                  <a:gd name="T31" fmla="*/ 94 h 120"/>
                  <a:gd name="T32" fmla="*/ 53 w 101"/>
                  <a:gd name="T33" fmla="*/ 93 h 120"/>
                  <a:gd name="T34" fmla="*/ 62 w 101"/>
                  <a:gd name="T35" fmla="*/ 90 h 120"/>
                  <a:gd name="T36" fmla="*/ 67 w 101"/>
                  <a:gd name="T37" fmla="*/ 86 h 120"/>
                  <a:gd name="T38" fmla="*/ 69 w 101"/>
                  <a:gd name="T39" fmla="*/ 80 h 120"/>
                  <a:gd name="T40" fmla="*/ 68 w 101"/>
                  <a:gd name="T41" fmla="*/ 78 h 120"/>
                  <a:gd name="T42" fmla="*/ 66 w 101"/>
                  <a:gd name="T43" fmla="*/ 74 h 120"/>
                  <a:gd name="T44" fmla="*/ 64 w 101"/>
                  <a:gd name="T45" fmla="*/ 73 h 120"/>
                  <a:gd name="T46" fmla="*/ 53 w 101"/>
                  <a:gd name="T47" fmla="*/ 70 h 120"/>
                  <a:gd name="T48" fmla="*/ 23 w 101"/>
                  <a:gd name="T49" fmla="*/ 47 h 120"/>
                  <a:gd name="T50" fmla="*/ 50 w 101"/>
                  <a:gd name="T51" fmla="*/ 47 h 120"/>
                  <a:gd name="T52" fmla="*/ 60 w 101"/>
                  <a:gd name="T53" fmla="*/ 44 h 120"/>
                  <a:gd name="T54" fmla="*/ 63 w 101"/>
                  <a:gd name="T55" fmla="*/ 41 h 120"/>
                  <a:gd name="T56" fmla="*/ 64 w 101"/>
                  <a:gd name="T57" fmla="*/ 37 h 120"/>
                  <a:gd name="T58" fmla="*/ 62 w 101"/>
                  <a:gd name="T59" fmla="*/ 32 h 120"/>
                  <a:gd name="T60" fmla="*/ 58 w 101"/>
                  <a:gd name="T61" fmla="*/ 29 h 120"/>
                  <a:gd name="T62" fmla="*/ 51 w 101"/>
                  <a:gd name="T63" fmla="*/ 26 h 120"/>
                  <a:gd name="T64" fmla="*/ 44 w 101"/>
                  <a:gd name="T65" fmla="*/ 26 h 120"/>
                  <a:gd name="T66" fmla="*/ 28 w 101"/>
                  <a:gd name="T67" fmla="*/ 28 h 120"/>
                  <a:gd name="T68" fmla="*/ 20 w 101"/>
                  <a:gd name="T69" fmla="*/ 30 h 120"/>
                  <a:gd name="T70" fmla="*/ 3 w 101"/>
                  <a:gd name="T71" fmla="*/ 9 h 120"/>
                  <a:gd name="T72" fmla="*/ 13 w 101"/>
                  <a:gd name="T73" fmla="*/ 5 h 120"/>
                  <a:gd name="T74" fmla="*/ 33 w 101"/>
                  <a:gd name="T75" fmla="*/ 1 h 120"/>
                  <a:gd name="T76" fmla="*/ 44 w 101"/>
                  <a:gd name="T77" fmla="*/ 0 h 120"/>
                  <a:gd name="T78" fmla="*/ 70 w 101"/>
                  <a:gd name="T79" fmla="*/ 4 h 120"/>
                  <a:gd name="T80" fmla="*/ 75 w 101"/>
                  <a:gd name="T81" fmla="*/ 6 h 120"/>
                  <a:gd name="T82" fmla="*/ 85 w 101"/>
                  <a:gd name="T83" fmla="*/ 12 h 120"/>
                  <a:gd name="T84" fmla="*/ 89 w 101"/>
                  <a:gd name="T85" fmla="*/ 16 h 120"/>
                  <a:gd name="T86" fmla="*/ 95 w 101"/>
                  <a:gd name="T87" fmla="*/ 24 h 120"/>
                  <a:gd name="T88" fmla="*/ 96 w 101"/>
                  <a:gd name="T89" fmla="*/ 34 h 120"/>
                  <a:gd name="T90" fmla="*/ 95 w 101"/>
                  <a:gd name="T91" fmla="*/ 41 h 120"/>
                  <a:gd name="T92" fmla="*/ 92 w 101"/>
                  <a:gd name="T93" fmla="*/ 48 h 120"/>
                  <a:gd name="T94" fmla="*/ 81 w 101"/>
                  <a:gd name="T95" fmla="*/ 58 h 120"/>
                  <a:gd name="T96" fmla="*/ 85 w 101"/>
                  <a:gd name="T97" fmla="*/ 59 h 120"/>
                  <a:gd name="T98" fmla="*/ 93 w 101"/>
                  <a:gd name="T99" fmla="*/ 65 h 120"/>
                  <a:gd name="T100" fmla="*/ 96 w 101"/>
                  <a:gd name="T101" fmla="*/ 68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01" h="120">
                    <a:moveTo>
                      <a:pt x="96" y="68"/>
                    </a:moveTo>
                    <a:lnTo>
                      <a:pt x="96" y="68"/>
                    </a:lnTo>
                    <a:lnTo>
                      <a:pt x="98" y="72"/>
                    </a:lnTo>
                    <a:lnTo>
                      <a:pt x="100" y="76"/>
                    </a:lnTo>
                    <a:lnTo>
                      <a:pt x="101" y="80"/>
                    </a:lnTo>
                    <a:lnTo>
                      <a:pt x="101" y="85"/>
                    </a:lnTo>
                    <a:lnTo>
                      <a:pt x="101" y="85"/>
                    </a:lnTo>
                    <a:lnTo>
                      <a:pt x="101" y="90"/>
                    </a:lnTo>
                    <a:lnTo>
                      <a:pt x="99" y="95"/>
                    </a:lnTo>
                    <a:lnTo>
                      <a:pt x="97" y="99"/>
                    </a:lnTo>
                    <a:lnTo>
                      <a:pt x="94" y="104"/>
                    </a:lnTo>
                    <a:lnTo>
                      <a:pt x="94" y="104"/>
                    </a:lnTo>
                    <a:lnTo>
                      <a:pt x="90" y="108"/>
                    </a:lnTo>
                    <a:lnTo>
                      <a:pt x="85" y="111"/>
                    </a:lnTo>
                    <a:lnTo>
                      <a:pt x="80" y="114"/>
                    </a:lnTo>
                    <a:lnTo>
                      <a:pt x="75" y="116"/>
                    </a:lnTo>
                    <a:lnTo>
                      <a:pt x="75" y="116"/>
                    </a:lnTo>
                    <a:lnTo>
                      <a:pt x="61" y="119"/>
                    </a:lnTo>
                    <a:lnTo>
                      <a:pt x="48" y="120"/>
                    </a:lnTo>
                    <a:lnTo>
                      <a:pt x="48" y="120"/>
                    </a:lnTo>
                    <a:lnTo>
                      <a:pt x="35" y="120"/>
                    </a:lnTo>
                    <a:lnTo>
                      <a:pt x="23" y="118"/>
                    </a:lnTo>
                    <a:lnTo>
                      <a:pt x="23" y="118"/>
                    </a:lnTo>
                    <a:lnTo>
                      <a:pt x="12" y="114"/>
                    </a:lnTo>
                    <a:lnTo>
                      <a:pt x="0" y="109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8" y="89"/>
                    </a:lnTo>
                    <a:lnTo>
                      <a:pt x="26" y="92"/>
                    </a:lnTo>
                    <a:lnTo>
                      <a:pt x="26" y="92"/>
                    </a:lnTo>
                    <a:lnTo>
                      <a:pt x="35" y="93"/>
                    </a:lnTo>
                    <a:lnTo>
                      <a:pt x="44" y="94"/>
                    </a:lnTo>
                    <a:lnTo>
                      <a:pt x="44" y="94"/>
                    </a:lnTo>
                    <a:lnTo>
                      <a:pt x="53" y="93"/>
                    </a:lnTo>
                    <a:lnTo>
                      <a:pt x="62" y="90"/>
                    </a:lnTo>
                    <a:lnTo>
                      <a:pt x="62" y="90"/>
                    </a:lnTo>
                    <a:lnTo>
                      <a:pt x="64" y="89"/>
                    </a:lnTo>
                    <a:lnTo>
                      <a:pt x="67" y="86"/>
                    </a:lnTo>
                    <a:lnTo>
                      <a:pt x="68" y="84"/>
                    </a:lnTo>
                    <a:lnTo>
                      <a:pt x="69" y="80"/>
                    </a:lnTo>
                    <a:lnTo>
                      <a:pt x="69" y="80"/>
                    </a:lnTo>
                    <a:lnTo>
                      <a:pt x="68" y="78"/>
                    </a:lnTo>
                    <a:lnTo>
                      <a:pt x="67" y="76"/>
                    </a:lnTo>
                    <a:lnTo>
                      <a:pt x="66" y="74"/>
                    </a:lnTo>
                    <a:lnTo>
                      <a:pt x="64" y="73"/>
                    </a:lnTo>
                    <a:lnTo>
                      <a:pt x="64" y="73"/>
                    </a:lnTo>
                    <a:lnTo>
                      <a:pt x="59" y="71"/>
                    </a:lnTo>
                    <a:lnTo>
                      <a:pt x="53" y="70"/>
                    </a:lnTo>
                    <a:lnTo>
                      <a:pt x="23" y="70"/>
                    </a:lnTo>
                    <a:lnTo>
                      <a:pt x="23" y="47"/>
                    </a:lnTo>
                    <a:lnTo>
                      <a:pt x="50" y="47"/>
                    </a:lnTo>
                    <a:lnTo>
                      <a:pt x="50" y="47"/>
                    </a:lnTo>
                    <a:lnTo>
                      <a:pt x="55" y="46"/>
                    </a:lnTo>
                    <a:lnTo>
                      <a:pt x="60" y="44"/>
                    </a:lnTo>
                    <a:lnTo>
                      <a:pt x="60" y="44"/>
                    </a:lnTo>
                    <a:lnTo>
                      <a:pt x="63" y="41"/>
                    </a:lnTo>
                    <a:lnTo>
                      <a:pt x="64" y="37"/>
                    </a:lnTo>
                    <a:lnTo>
                      <a:pt x="64" y="37"/>
                    </a:lnTo>
                    <a:lnTo>
                      <a:pt x="63" y="35"/>
                    </a:lnTo>
                    <a:lnTo>
                      <a:pt x="62" y="32"/>
                    </a:lnTo>
                    <a:lnTo>
                      <a:pt x="61" y="30"/>
                    </a:lnTo>
                    <a:lnTo>
                      <a:pt x="58" y="29"/>
                    </a:lnTo>
                    <a:lnTo>
                      <a:pt x="58" y="29"/>
                    </a:lnTo>
                    <a:lnTo>
                      <a:pt x="51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35" y="26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0" y="30"/>
                    </a:lnTo>
                    <a:lnTo>
                      <a:pt x="13" y="34"/>
                    </a:lnTo>
                    <a:lnTo>
                      <a:pt x="3" y="9"/>
                    </a:lnTo>
                    <a:lnTo>
                      <a:pt x="3" y="9"/>
                    </a:lnTo>
                    <a:lnTo>
                      <a:pt x="13" y="5"/>
                    </a:lnTo>
                    <a:lnTo>
                      <a:pt x="23" y="2"/>
                    </a:lnTo>
                    <a:lnTo>
                      <a:pt x="33" y="1"/>
                    </a:lnTo>
                    <a:lnTo>
                      <a:pt x="44" y="0"/>
                    </a:lnTo>
                    <a:lnTo>
                      <a:pt x="44" y="0"/>
                    </a:lnTo>
                    <a:lnTo>
                      <a:pt x="57" y="1"/>
                    </a:lnTo>
                    <a:lnTo>
                      <a:pt x="70" y="4"/>
                    </a:lnTo>
                    <a:lnTo>
                      <a:pt x="70" y="4"/>
                    </a:lnTo>
                    <a:lnTo>
                      <a:pt x="75" y="6"/>
                    </a:lnTo>
                    <a:lnTo>
                      <a:pt x="80" y="9"/>
                    </a:lnTo>
                    <a:lnTo>
                      <a:pt x="85" y="12"/>
                    </a:lnTo>
                    <a:lnTo>
                      <a:pt x="89" y="16"/>
                    </a:lnTo>
                    <a:lnTo>
                      <a:pt x="89" y="16"/>
                    </a:lnTo>
                    <a:lnTo>
                      <a:pt x="92" y="20"/>
                    </a:lnTo>
                    <a:lnTo>
                      <a:pt x="95" y="24"/>
                    </a:lnTo>
                    <a:lnTo>
                      <a:pt x="96" y="29"/>
                    </a:lnTo>
                    <a:lnTo>
                      <a:pt x="96" y="34"/>
                    </a:lnTo>
                    <a:lnTo>
                      <a:pt x="96" y="34"/>
                    </a:lnTo>
                    <a:lnTo>
                      <a:pt x="95" y="41"/>
                    </a:lnTo>
                    <a:lnTo>
                      <a:pt x="92" y="48"/>
                    </a:lnTo>
                    <a:lnTo>
                      <a:pt x="92" y="48"/>
                    </a:lnTo>
                    <a:lnTo>
                      <a:pt x="87" y="53"/>
                    </a:lnTo>
                    <a:lnTo>
                      <a:pt x="81" y="58"/>
                    </a:lnTo>
                    <a:lnTo>
                      <a:pt x="81" y="58"/>
                    </a:lnTo>
                    <a:lnTo>
                      <a:pt x="85" y="59"/>
                    </a:lnTo>
                    <a:lnTo>
                      <a:pt x="89" y="62"/>
                    </a:lnTo>
                    <a:lnTo>
                      <a:pt x="93" y="65"/>
                    </a:lnTo>
                    <a:lnTo>
                      <a:pt x="96" y="68"/>
                    </a:lnTo>
                    <a:lnTo>
                      <a:pt x="96" y="6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13">
                <a:extLst>
                  <a:ext uri="{FF2B5EF4-FFF2-40B4-BE49-F238E27FC236}">
                    <a16:creationId xmlns:a16="http://schemas.microsoft.com/office/drawing/2014/main" id="{62A949D6-20F4-491F-8422-7D9595CC3D23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1256966" y="1377950"/>
                <a:ext cx="101600" cy="93662"/>
              </a:xfrm>
              <a:custGeom>
                <a:avLst/>
                <a:gdLst>
                  <a:gd name="T0" fmla="*/ 31 w 128"/>
                  <a:gd name="T1" fmla="*/ 112 h 119"/>
                  <a:gd name="T2" fmla="*/ 21 w 128"/>
                  <a:gd name="T3" fmla="*/ 105 h 119"/>
                  <a:gd name="T4" fmla="*/ 7 w 128"/>
                  <a:gd name="T5" fmla="*/ 87 h 119"/>
                  <a:gd name="T6" fmla="*/ 0 w 128"/>
                  <a:gd name="T7" fmla="*/ 65 h 119"/>
                  <a:gd name="T8" fmla="*/ 2 w 128"/>
                  <a:gd name="T9" fmla="*/ 43 h 119"/>
                  <a:gd name="T10" fmla="*/ 7 w 128"/>
                  <a:gd name="T11" fmla="*/ 32 h 119"/>
                  <a:gd name="T12" fmla="*/ 11 w 128"/>
                  <a:gd name="T13" fmla="*/ 24 h 119"/>
                  <a:gd name="T14" fmla="*/ 24 w 128"/>
                  <a:gd name="T15" fmla="*/ 12 h 119"/>
                  <a:gd name="T16" fmla="*/ 31 w 128"/>
                  <a:gd name="T17" fmla="*/ 7 h 119"/>
                  <a:gd name="T18" fmla="*/ 47 w 128"/>
                  <a:gd name="T19" fmla="*/ 2 h 119"/>
                  <a:gd name="T20" fmla="*/ 65 w 128"/>
                  <a:gd name="T21" fmla="*/ 0 h 119"/>
                  <a:gd name="T22" fmla="*/ 81 w 128"/>
                  <a:gd name="T23" fmla="*/ 2 h 119"/>
                  <a:gd name="T24" fmla="*/ 97 w 128"/>
                  <a:gd name="T25" fmla="*/ 7 h 119"/>
                  <a:gd name="T26" fmla="*/ 102 w 128"/>
                  <a:gd name="T27" fmla="*/ 10 h 119"/>
                  <a:gd name="T28" fmla="*/ 115 w 128"/>
                  <a:gd name="T29" fmla="*/ 22 h 119"/>
                  <a:gd name="T30" fmla="*/ 126 w 128"/>
                  <a:gd name="T31" fmla="*/ 42 h 119"/>
                  <a:gd name="T32" fmla="*/ 128 w 128"/>
                  <a:gd name="T33" fmla="*/ 64 h 119"/>
                  <a:gd name="T34" fmla="*/ 124 w 128"/>
                  <a:gd name="T35" fmla="*/ 81 h 119"/>
                  <a:gd name="T36" fmla="*/ 122 w 128"/>
                  <a:gd name="T37" fmla="*/ 86 h 119"/>
                  <a:gd name="T38" fmla="*/ 111 w 128"/>
                  <a:gd name="T39" fmla="*/ 100 h 119"/>
                  <a:gd name="T40" fmla="*/ 97 w 128"/>
                  <a:gd name="T41" fmla="*/ 112 h 119"/>
                  <a:gd name="T42" fmla="*/ 89 w 128"/>
                  <a:gd name="T43" fmla="*/ 115 h 119"/>
                  <a:gd name="T44" fmla="*/ 73 w 128"/>
                  <a:gd name="T45" fmla="*/ 119 h 119"/>
                  <a:gd name="T46" fmla="*/ 56 w 128"/>
                  <a:gd name="T47" fmla="*/ 119 h 119"/>
                  <a:gd name="T48" fmla="*/ 39 w 128"/>
                  <a:gd name="T49" fmla="*/ 115 h 119"/>
                  <a:gd name="T50" fmla="*/ 31 w 128"/>
                  <a:gd name="T51" fmla="*/ 112 h 119"/>
                  <a:gd name="T52" fmla="*/ 80 w 128"/>
                  <a:gd name="T53" fmla="*/ 87 h 119"/>
                  <a:gd name="T54" fmla="*/ 91 w 128"/>
                  <a:gd name="T55" fmla="*/ 76 h 119"/>
                  <a:gd name="T56" fmla="*/ 94 w 128"/>
                  <a:gd name="T57" fmla="*/ 68 h 119"/>
                  <a:gd name="T58" fmla="*/ 94 w 128"/>
                  <a:gd name="T59" fmla="*/ 50 h 119"/>
                  <a:gd name="T60" fmla="*/ 91 w 128"/>
                  <a:gd name="T61" fmla="*/ 42 h 119"/>
                  <a:gd name="T62" fmla="*/ 80 w 128"/>
                  <a:gd name="T63" fmla="*/ 30 h 119"/>
                  <a:gd name="T64" fmla="*/ 73 w 128"/>
                  <a:gd name="T65" fmla="*/ 27 h 119"/>
                  <a:gd name="T66" fmla="*/ 57 w 128"/>
                  <a:gd name="T67" fmla="*/ 27 h 119"/>
                  <a:gd name="T68" fmla="*/ 48 w 128"/>
                  <a:gd name="T69" fmla="*/ 30 h 119"/>
                  <a:gd name="T70" fmla="*/ 37 w 128"/>
                  <a:gd name="T71" fmla="*/ 42 h 119"/>
                  <a:gd name="T72" fmla="*/ 34 w 128"/>
                  <a:gd name="T73" fmla="*/ 50 h 119"/>
                  <a:gd name="T74" fmla="*/ 34 w 128"/>
                  <a:gd name="T75" fmla="*/ 68 h 119"/>
                  <a:gd name="T76" fmla="*/ 37 w 128"/>
                  <a:gd name="T77" fmla="*/ 76 h 119"/>
                  <a:gd name="T78" fmla="*/ 48 w 128"/>
                  <a:gd name="T79" fmla="*/ 87 h 119"/>
                  <a:gd name="T80" fmla="*/ 57 w 128"/>
                  <a:gd name="T81" fmla="*/ 90 h 119"/>
                  <a:gd name="T82" fmla="*/ 73 w 128"/>
                  <a:gd name="T83" fmla="*/ 90 h 119"/>
                  <a:gd name="T84" fmla="*/ 80 w 128"/>
                  <a:gd name="T85" fmla="*/ 87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28" h="119">
                    <a:moveTo>
                      <a:pt x="31" y="112"/>
                    </a:moveTo>
                    <a:lnTo>
                      <a:pt x="31" y="112"/>
                    </a:lnTo>
                    <a:lnTo>
                      <a:pt x="26" y="109"/>
                    </a:lnTo>
                    <a:lnTo>
                      <a:pt x="21" y="105"/>
                    </a:lnTo>
                    <a:lnTo>
                      <a:pt x="13" y="96"/>
                    </a:lnTo>
                    <a:lnTo>
                      <a:pt x="7" y="87"/>
                    </a:lnTo>
                    <a:lnTo>
                      <a:pt x="3" y="76"/>
                    </a:lnTo>
                    <a:lnTo>
                      <a:pt x="0" y="65"/>
                    </a:lnTo>
                    <a:lnTo>
                      <a:pt x="0" y="54"/>
                    </a:lnTo>
                    <a:lnTo>
                      <a:pt x="2" y="43"/>
                    </a:lnTo>
                    <a:lnTo>
                      <a:pt x="4" y="37"/>
                    </a:lnTo>
                    <a:lnTo>
                      <a:pt x="7" y="32"/>
                    </a:lnTo>
                    <a:lnTo>
                      <a:pt x="7" y="32"/>
                    </a:lnTo>
                    <a:lnTo>
                      <a:pt x="11" y="24"/>
                    </a:lnTo>
                    <a:lnTo>
                      <a:pt x="17" y="18"/>
                    </a:lnTo>
                    <a:lnTo>
                      <a:pt x="24" y="12"/>
                    </a:lnTo>
                    <a:lnTo>
                      <a:pt x="31" y="7"/>
                    </a:lnTo>
                    <a:lnTo>
                      <a:pt x="31" y="7"/>
                    </a:lnTo>
                    <a:lnTo>
                      <a:pt x="39" y="4"/>
                    </a:lnTo>
                    <a:lnTo>
                      <a:pt x="47" y="2"/>
                    </a:lnTo>
                    <a:lnTo>
                      <a:pt x="56" y="0"/>
                    </a:lnTo>
                    <a:lnTo>
                      <a:pt x="65" y="0"/>
                    </a:lnTo>
                    <a:lnTo>
                      <a:pt x="73" y="0"/>
                    </a:lnTo>
                    <a:lnTo>
                      <a:pt x="81" y="2"/>
                    </a:lnTo>
                    <a:lnTo>
                      <a:pt x="89" y="4"/>
                    </a:lnTo>
                    <a:lnTo>
                      <a:pt x="97" y="7"/>
                    </a:lnTo>
                    <a:lnTo>
                      <a:pt x="97" y="7"/>
                    </a:lnTo>
                    <a:lnTo>
                      <a:pt x="102" y="10"/>
                    </a:lnTo>
                    <a:lnTo>
                      <a:pt x="107" y="14"/>
                    </a:lnTo>
                    <a:lnTo>
                      <a:pt x="115" y="22"/>
                    </a:lnTo>
                    <a:lnTo>
                      <a:pt x="121" y="31"/>
                    </a:lnTo>
                    <a:lnTo>
                      <a:pt x="126" y="42"/>
                    </a:lnTo>
                    <a:lnTo>
                      <a:pt x="128" y="53"/>
                    </a:lnTo>
                    <a:lnTo>
                      <a:pt x="128" y="64"/>
                    </a:lnTo>
                    <a:lnTo>
                      <a:pt x="126" y="75"/>
                    </a:lnTo>
                    <a:lnTo>
                      <a:pt x="124" y="81"/>
                    </a:lnTo>
                    <a:lnTo>
                      <a:pt x="122" y="86"/>
                    </a:lnTo>
                    <a:lnTo>
                      <a:pt x="122" y="86"/>
                    </a:lnTo>
                    <a:lnTo>
                      <a:pt x="117" y="94"/>
                    </a:lnTo>
                    <a:lnTo>
                      <a:pt x="111" y="100"/>
                    </a:lnTo>
                    <a:lnTo>
                      <a:pt x="105" y="107"/>
                    </a:lnTo>
                    <a:lnTo>
                      <a:pt x="97" y="112"/>
                    </a:lnTo>
                    <a:lnTo>
                      <a:pt x="97" y="112"/>
                    </a:lnTo>
                    <a:lnTo>
                      <a:pt x="89" y="115"/>
                    </a:lnTo>
                    <a:lnTo>
                      <a:pt x="81" y="117"/>
                    </a:lnTo>
                    <a:lnTo>
                      <a:pt x="73" y="119"/>
                    </a:lnTo>
                    <a:lnTo>
                      <a:pt x="65" y="119"/>
                    </a:lnTo>
                    <a:lnTo>
                      <a:pt x="56" y="119"/>
                    </a:lnTo>
                    <a:lnTo>
                      <a:pt x="47" y="117"/>
                    </a:lnTo>
                    <a:lnTo>
                      <a:pt x="39" y="115"/>
                    </a:lnTo>
                    <a:lnTo>
                      <a:pt x="31" y="112"/>
                    </a:lnTo>
                    <a:lnTo>
                      <a:pt x="31" y="112"/>
                    </a:lnTo>
                    <a:close/>
                    <a:moveTo>
                      <a:pt x="80" y="87"/>
                    </a:moveTo>
                    <a:lnTo>
                      <a:pt x="80" y="87"/>
                    </a:lnTo>
                    <a:lnTo>
                      <a:pt x="87" y="82"/>
                    </a:lnTo>
                    <a:lnTo>
                      <a:pt x="91" y="76"/>
                    </a:lnTo>
                    <a:lnTo>
                      <a:pt x="91" y="76"/>
                    </a:lnTo>
                    <a:lnTo>
                      <a:pt x="94" y="68"/>
                    </a:lnTo>
                    <a:lnTo>
                      <a:pt x="96" y="59"/>
                    </a:lnTo>
                    <a:lnTo>
                      <a:pt x="94" y="50"/>
                    </a:lnTo>
                    <a:lnTo>
                      <a:pt x="91" y="42"/>
                    </a:lnTo>
                    <a:lnTo>
                      <a:pt x="91" y="42"/>
                    </a:lnTo>
                    <a:lnTo>
                      <a:pt x="87" y="35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73" y="27"/>
                    </a:lnTo>
                    <a:lnTo>
                      <a:pt x="65" y="26"/>
                    </a:lnTo>
                    <a:lnTo>
                      <a:pt x="57" y="27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2" y="35"/>
                    </a:lnTo>
                    <a:lnTo>
                      <a:pt x="37" y="42"/>
                    </a:lnTo>
                    <a:lnTo>
                      <a:pt x="37" y="42"/>
                    </a:lnTo>
                    <a:lnTo>
                      <a:pt x="34" y="50"/>
                    </a:lnTo>
                    <a:lnTo>
                      <a:pt x="33" y="59"/>
                    </a:lnTo>
                    <a:lnTo>
                      <a:pt x="34" y="68"/>
                    </a:lnTo>
                    <a:lnTo>
                      <a:pt x="37" y="76"/>
                    </a:lnTo>
                    <a:lnTo>
                      <a:pt x="37" y="76"/>
                    </a:lnTo>
                    <a:lnTo>
                      <a:pt x="42" y="82"/>
                    </a:lnTo>
                    <a:lnTo>
                      <a:pt x="48" y="87"/>
                    </a:lnTo>
                    <a:lnTo>
                      <a:pt x="48" y="87"/>
                    </a:lnTo>
                    <a:lnTo>
                      <a:pt x="57" y="90"/>
                    </a:lnTo>
                    <a:lnTo>
                      <a:pt x="65" y="91"/>
                    </a:lnTo>
                    <a:lnTo>
                      <a:pt x="73" y="90"/>
                    </a:lnTo>
                    <a:lnTo>
                      <a:pt x="80" y="87"/>
                    </a:lnTo>
                    <a:lnTo>
                      <a:pt x="80" y="8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14">
                <a:extLst>
                  <a:ext uri="{FF2B5EF4-FFF2-40B4-BE49-F238E27FC236}">
                    <a16:creationId xmlns:a16="http://schemas.microsoft.com/office/drawing/2014/main" id="{C497EEB4-C768-4E08-86EA-8A71B3D1ABEC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1374441" y="1379538"/>
                <a:ext cx="82550" cy="90487"/>
              </a:xfrm>
              <a:custGeom>
                <a:avLst/>
                <a:gdLst>
                  <a:gd name="T0" fmla="*/ 99 w 104"/>
                  <a:gd name="T1" fmla="*/ 64 h 115"/>
                  <a:gd name="T2" fmla="*/ 103 w 104"/>
                  <a:gd name="T3" fmla="*/ 72 h 115"/>
                  <a:gd name="T4" fmla="*/ 104 w 104"/>
                  <a:gd name="T5" fmla="*/ 81 h 115"/>
                  <a:gd name="T6" fmla="*/ 104 w 104"/>
                  <a:gd name="T7" fmla="*/ 88 h 115"/>
                  <a:gd name="T8" fmla="*/ 98 w 104"/>
                  <a:gd name="T9" fmla="*/ 101 h 115"/>
                  <a:gd name="T10" fmla="*/ 92 w 104"/>
                  <a:gd name="T11" fmla="*/ 106 h 115"/>
                  <a:gd name="T12" fmla="*/ 78 w 104"/>
                  <a:gd name="T13" fmla="*/ 113 h 115"/>
                  <a:gd name="T14" fmla="*/ 59 w 104"/>
                  <a:gd name="T15" fmla="*/ 115 h 115"/>
                  <a:gd name="T16" fmla="*/ 0 w 104"/>
                  <a:gd name="T17" fmla="*/ 0 h 115"/>
                  <a:gd name="T18" fmla="*/ 56 w 104"/>
                  <a:gd name="T19" fmla="*/ 0 h 115"/>
                  <a:gd name="T20" fmla="*/ 72 w 104"/>
                  <a:gd name="T21" fmla="*/ 2 h 115"/>
                  <a:gd name="T22" fmla="*/ 88 w 104"/>
                  <a:gd name="T23" fmla="*/ 8 h 115"/>
                  <a:gd name="T24" fmla="*/ 93 w 104"/>
                  <a:gd name="T25" fmla="*/ 12 h 115"/>
                  <a:gd name="T26" fmla="*/ 99 w 104"/>
                  <a:gd name="T27" fmla="*/ 23 h 115"/>
                  <a:gd name="T28" fmla="*/ 99 w 104"/>
                  <a:gd name="T29" fmla="*/ 30 h 115"/>
                  <a:gd name="T30" fmla="*/ 95 w 104"/>
                  <a:gd name="T31" fmla="*/ 45 h 115"/>
                  <a:gd name="T32" fmla="*/ 90 w 104"/>
                  <a:gd name="T33" fmla="*/ 50 h 115"/>
                  <a:gd name="T34" fmla="*/ 84 w 104"/>
                  <a:gd name="T35" fmla="*/ 54 h 115"/>
                  <a:gd name="T36" fmla="*/ 92 w 104"/>
                  <a:gd name="T37" fmla="*/ 58 h 115"/>
                  <a:gd name="T38" fmla="*/ 99 w 104"/>
                  <a:gd name="T39" fmla="*/ 64 h 115"/>
                  <a:gd name="T40" fmla="*/ 31 w 104"/>
                  <a:gd name="T41" fmla="*/ 46 h 115"/>
                  <a:gd name="T42" fmla="*/ 53 w 104"/>
                  <a:gd name="T43" fmla="*/ 46 h 115"/>
                  <a:gd name="T44" fmla="*/ 63 w 104"/>
                  <a:gd name="T45" fmla="*/ 43 h 115"/>
                  <a:gd name="T46" fmla="*/ 67 w 104"/>
                  <a:gd name="T47" fmla="*/ 34 h 115"/>
                  <a:gd name="T48" fmla="*/ 66 w 104"/>
                  <a:gd name="T49" fmla="*/ 29 h 115"/>
                  <a:gd name="T50" fmla="*/ 59 w 104"/>
                  <a:gd name="T51" fmla="*/ 24 h 115"/>
                  <a:gd name="T52" fmla="*/ 31 w 104"/>
                  <a:gd name="T53" fmla="*/ 23 h 115"/>
                  <a:gd name="T54" fmla="*/ 72 w 104"/>
                  <a:gd name="T55" fmla="*/ 79 h 115"/>
                  <a:gd name="T56" fmla="*/ 71 w 104"/>
                  <a:gd name="T57" fmla="*/ 74 h 115"/>
                  <a:gd name="T58" fmla="*/ 64 w 104"/>
                  <a:gd name="T59" fmla="*/ 68 h 115"/>
                  <a:gd name="T60" fmla="*/ 32 w 104"/>
                  <a:gd name="T61" fmla="*/ 67 h 115"/>
                  <a:gd name="T62" fmla="*/ 58 w 104"/>
                  <a:gd name="T63" fmla="*/ 91 h 115"/>
                  <a:gd name="T64" fmla="*/ 64 w 104"/>
                  <a:gd name="T65" fmla="*/ 90 h 115"/>
                  <a:gd name="T66" fmla="*/ 71 w 104"/>
                  <a:gd name="T67" fmla="*/ 84 h 115"/>
                  <a:gd name="T68" fmla="*/ 72 w 104"/>
                  <a:gd name="T69" fmla="*/ 79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4" h="115">
                    <a:moveTo>
                      <a:pt x="99" y="64"/>
                    </a:moveTo>
                    <a:lnTo>
                      <a:pt x="99" y="64"/>
                    </a:lnTo>
                    <a:lnTo>
                      <a:pt x="101" y="68"/>
                    </a:lnTo>
                    <a:lnTo>
                      <a:pt x="103" y="72"/>
                    </a:lnTo>
                    <a:lnTo>
                      <a:pt x="104" y="77"/>
                    </a:lnTo>
                    <a:lnTo>
                      <a:pt x="104" y="81"/>
                    </a:lnTo>
                    <a:lnTo>
                      <a:pt x="104" y="81"/>
                    </a:lnTo>
                    <a:lnTo>
                      <a:pt x="104" y="88"/>
                    </a:lnTo>
                    <a:lnTo>
                      <a:pt x="101" y="95"/>
                    </a:lnTo>
                    <a:lnTo>
                      <a:pt x="98" y="101"/>
                    </a:lnTo>
                    <a:lnTo>
                      <a:pt x="92" y="106"/>
                    </a:lnTo>
                    <a:lnTo>
                      <a:pt x="92" y="106"/>
                    </a:lnTo>
                    <a:lnTo>
                      <a:pt x="86" y="110"/>
                    </a:lnTo>
                    <a:lnTo>
                      <a:pt x="78" y="113"/>
                    </a:lnTo>
                    <a:lnTo>
                      <a:pt x="69" y="114"/>
                    </a:lnTo>
                    <a:lnTo>
                      <a:pt x="59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4" y="0"/>
                    </a:lnTo>
                    <a:lnTo>
                      <a:pt x="72" y="2"/>
                    </a:lnTo>
                    <a:lnTo>
                      <a:pt x="80" y="4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93" y="12"/>
                    </a:lnTo>
                    <a:lnTo>
                      <a:pt x="96" y="17"/>
                    </a:lnTo>
                    <a:lnTo>
                      <a:pt x="99" y="23"/>
                    </a:lnTo>
                    <a:lnTo>
                      <a:pt x="99" y="30"/>
                    </a:lnTo>
                    <a:lnTo>
                      <a:pt x="99" y="30"/>
                    </a:lnTo>
                    <a:lnTo>
                      <a:pt x="98" y="37"/>
                    </a:lnTo>
                    <a:lnTo>
                      <a:pt x="95" y="45"/>
                    </a:lnTo>
                    <a:lnTo>
                      <a:pt x="95" y="45"/>
                    </a:lnTo>
                    <a:lnTo>
                      <a:pt x="90" y="50"/>
                    </a:lnTo>
                    <a:lnTo>
                      <a:pt x="84" y="54"/>
                    </a:lnTo>
                    <a:lnTo>
                      <a:pt x="84" y="54"/>
                    </a:lnTo>
                    <a:lnTo>
                      <a:pt x="88" y="56"/>
                    </a:lnTo>
                    <a:lnTo>
                      <a:pt x="92" y="58"/>
                    </a:lnTo>
                    <a:lnTo>
                      <a:pt x="96" y="61"/>
                    </a:lnTo>
                    <a:lnTo>
                      <a:pt x="99" y="64"/>
                    </a:lnTo>
                    <a:lnTo>
                      <a:pt x="99" y="64"/>
                    </a:lnTo>
                    <a:close/>
                    <a:moveTo>
                      <a:pt x="31" y="46"/>
                    </a:moveTo>
                    <a:lnTo>
                      <a:pt x="53" y="46"/>
                    </a:lnTo>
                    <a:lnTo>
                      <a:pt x="53" y="46"/>
                    </a:lnTo>
                    <a:lnTo>
                      <a:pt x="59" y="45"/>
                    </a:lnTo>
                    <a:lnTo>
                      <a:pt x="63" y="43"/>
                    </a:lnTo>
                    <a:lnTo>
                      <a:pt x="66" y="39"/>
                    </a:lnTo>
                    <a:lnTo>
                      <a:pt x="67" y="34"/>
                    </a:lnTo>
                    <a:lnTo>
                      <a:pt x="67" y="34"/>
                    </a:lnTo>
                    <a:lnTo>
                      <a:pt x="66" y="29"/>
                    </a:lnTo>
                    <a:lnTo>
                      <a:pt x="63" y="26"/>
                    </a:lnTo>
                    <a:lnTo>
                      <a:pt x="59" y="24"/>
                    </a:lnTo>
                    <a:lnTo>
                      <a:pt x="53" y="23"/>
                    </a:lnTo>
                    <a:lnTo>
                      <a:pt x="31" y="23"/>
                    </a:lnTo>
                    <a:lnTo>
                      <a:pt x="31" y="46"/>
                    </a:lnTo>
                    <a:close/>
                    <a:moveTo>
                      <a:pt x="72" y="79"/>
                    </a:moveTo>
                    <a:lnTo>
                      <a:pt x="72" y="79"/>
                    </a:lnTo>
                    <a:lnTo>
                      <a:pt x="71" y="74"/>
                    </a:lnTo>
                    <a:lnTo>
                      <a:pt x="68" y="70"/>
                    </a:lnTo>
                    <a:lnTo>
                      <a:pt x="64" y="68"/>
                    </a:lnTo>
                    <a:lnTo>
                      <a:pt x="58" y="67"/>
                    </a:lnTo>
                    <a:lnTo>
                      <a:pt x="32" y="67"/>
                    </a:lnTo>
                    <a:lnTo>
                      <a:pt x="32" y="91"/>
                    </a:lnTo>
                    <a:lnTo>
                      <a:pt x="58" y="91"/>
                    </a:lnTo>
                    <a:lnTo>
                      <a:pt x="58" y="91"/>
                    </a:lnTo>
                    <a:lnTo>
                      <a:pt x="64" y="90"/>
                    </a:lnTo>
                    <a:lnTo>
                      <a:pt x="68" y="88"/>
                    </a:lnTo>
                    <a:lnTo>
                      <a:pt x="71" y="84"/>
                    </a:lnTo>
                    <a:lnTo>
                      <a:pt x="72" y="79"/>
                    </a:lnTo>
                    <a:lnTo>
                      <a:pt x="72" y="7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15">
                <a:extLst>
                  <a:ext uri="{FF2B5EF4-FFF2-40B4-BE49-F238E27FC236}">
                    <a16:creationId xmlns:a16="http://schemas.microsoft.com/office/drawing/2014/main" id="{45C0E844-CDE4-4B4E-A8D0-E3A8BAEB769A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1474454" y="1379538"/>
                <a:ext cx="115888" cy="90487"/>
              </a:xfrm>
              <a:custGeom>
                <a:avLst/>
                <a:gdLst>
                  <a:gd name="T0" fmla="*/ 91 w 147"/>
                  <a:gd name="T1" fmla="*/ 46 h 115"/>
                  <a:gd name="T2" fmla="*/ 91 w 147"/>
                  <a:gd name="T3" fmla="*/ 46 h 115"/>
                  <a:gd name="T4" fmla="*/ 97 w 147"/>
                  <a:gd name="T5" fmla="*/ 51 h 115"/>
                  <a:gd name="T6" fmla="*/ 100 w 147"/>
                  <a:gd name="T7" fmla="*/ 58 h 115"/>
                  <a:gd name="T8" fmla="*/ 103 w 147"/>
                  <a:gd name="T9" fmla="*/ 66 h 115"/>
                  <a:gd name="T10" fmla="*/ 103 w 147"/>
                  <a:gd name="T11" fmla="*/ 73 h 115"/>
                  <a:gd name="T12" fmla="*/ 103 w 147"/>
                  <a:gd name="T13" fmla="*/ 73 h 115"/>
                  <a:gd name="T14" fmla="*/ 102 w 147"/>
                  <a:gd name="T15" fmla="*/ 82 h 115"/>
                  <a:gd name="T16" fmla="*/ 100 w 147"/>
                  <a:gd name="T17" fmla="*/ 90 h 115"/>
                  <a:gd name="T18" fmla="*/ 96 w 147"/>
                  <a:gd name="T19" fmla="*/ 97 h 115"/>
                  <a:gd name="T20" fmla="*/ 90 w 147"/>
                  <a:gd name="T21" fmla="*/ 104 h 115"/>
                  <a:gd name="T22" fmla="*/ 90 w 147"/>
                  <a:gd name="T23" fmla="*/ 104 h 115"/>
                  <a:gd name="T24" fmla="*/ 82 w 147"/>
                  <a:gd name="T25" fmla="*/ 109 h 115"/>
                  <a:gd name="T26" fmla="*/ 73 w 147"/>
                  <a:gd name="T27" fmla="*/ 113 h 115"/>
                  <a:gd name="T28" fmla="*/ 64 w 147"/>
                  <a:gd name="T29" fmla="*/ 115 h 115"/>
                  <a:gd name="T30" fmla="*/ 55 w 147"/>
                  <a:gd name="T31" fmla="*/ 115 h 115"/>
                  <a:gd name="T32" fmla="*/ 0 w 147"/>
                  <a:gd name="T33" fmla="*/ 115 h 115"/>
                  <a:gd name="T34" fmla="*/ 0 w 147"/>
                  <a:gd name="T35" fmla="*/ 0 h 115"/>
                  <a:gd name="T36" fmla="*/ 32 w 147"/>
                  <a:gd name="T37" fmla="*/ 0 h 115"/>
                  <a:gd name="T38" fmla="*/ 32 w 147"/>
                  <a:gd name="T39" fmla="*/ 36 h 115"/>
                  <a:gd name="T40" fmla="*/ 59 w 147"/>
                  <a:gd name="T41" fmla="*/ 36 h 115"/>
                  <a:gd name="T42" fmla="*/ 59 w 147"/>
                  <a:gd name="T43" fmla="*/ 36 h 115"/>
                  <a:gd name="T44" fmla="*/ 68 w 147"/>
                  <a:gd name="T45" fmla="*/ 37 h 115"/>
                  <a:gd name="T46" fmla="*/ 76 w 147"/>
                  <a:gd name="T47" fmla="*/ 38 h 115"/>
                  <a:gd name="T48" fmla="*/ 84 w 147"/>
                  <a:gd name="T49" fmla="*/ 41 h 115"/>
                  <a:gd name="T50" fmla="*/ 91 w 147"/>
                  <a:gd name="T51" fmla="*/ 46 h 115"/>
                  <a:gd name="T52" fmla="*/ 91 w 147"/>
                  <a:gd name="T53" fmla="*/ 46 h 115"/>
                  <a:gd name="T54" fmla="*/ 66 w 147"/>
                  <a:gd name="T55" fmla="*/ 86 h 115"/>
                  <a:gd name="T56" fmla="*/ 66 w 147"/>
                  <a:gd name="T57" fmla="*/ 86 h 115"/>
                  <a:gd name="T58" fmla="*/ 68 w 147"/>
                  <a:gd name="T59" fmla="*/ 84 h 115"/>
                  <a:gd name="T60" fmla="*/ 69 w 147"/>
                  <a:gd name="T61" fmla="*/ 81 h 115"/>
                  <a:gd name="T62" fmla="*/ 70 w 147"/>
                  <a:gd name="T63" fmla="*/ 77 h 115"/>
                  <a:gd name="T64" fmla="*/ 71 w 147"/>
                  <a:gd name="T65" fmla="*/ 74 h 115"/>
                  <a:gd name="T66" fmla="*/ 71 w 147"/>
                  <a:gd name="T67" fmla="*/ 74 h 115"/>
                  <a:gd name="T68" fmla="*/ 70 w 147"/>
                  <a:gd name="T69" fmla="*/ 71 h 115"/>
                  <a:gd name="T70" fmla="*/ 70 w 147"/>
                  <a:gd name="T71" fmla="*/ 68 h 115"/>
                  <a:gd name="T72" fmla="*/ 68 w 147"/>
                  <a:gd name="T73" fmla="*/ 65 h 115"/>
                  <a:gd name="T74" fmla="*/ 66 w 147"/>
                  <a:gd name="T75" fmla="*/ 63 h 115"/>
                  <a:gd name="T76" fmla="*/ 64 w 147"/>
                  <a:gd name="T77" fmla="*/ 61 h 115"/>
                  <a:gd name="T78" fmla="*/ 61 w 147"/>
                  <a:gd name="T79" fmla="*/ 60 h 115"/>
                  <a:gd name="T80" fmla="*/ 53 w 147"/>
                  <a:gd name="T81" fmla="*/ 59 h 115"/>
                  <a:gd name="T82" fmla="*/ 32 w 147"/>
                  <a:gd name="T83" fmla="*/ 59 h 115"/>
                  <a:gd name="T84" fmla="*/ 32 w 147"/>
                  <a:gd name="T85" fmla="*/ 91 h 115"/>
                  <a:gd name="T86" fmla="*/ 53 w 147"/>
                  <a:gd name="T87" fmla="*/ 91 h 115"/>
                  <a:gd name="T88" fmla="*/ 53 w 147"/>
                  <a:gd name="T89" fmla="*/ 91 h 115"/>
                  <a:gd name="T90" fmla="*/ 56 w 147"/>
                  <a:gd name="T91" fmla="*/ 91 h 115"/>
                  <a:gd name="T92" fmla="*/ 60 w 147"/>
                  <a:gd name="T93" fmla="*/ 90 h 115"/>
                  <a:gd name="T94" fmla="*/ 63 w 147"/>
                  <a:gd name="T95" fmla="*/ 88 h 115"/>
                  <a:gd name="T96" fmla="*/ 66 w 147"/>
                  <a:gd name="T97" fmla="*/ 86 h 115"/>
                  <a:gd name="T98" fmla="*/ 66 w 147"/>
                  <a:gd name="T99" fmla="*/ 86 h 115"/>
                  <a:gd name="T100" fmla="*/ 115 w 147"/>
                  <a:gd name="T101" fmla="*/ 0 h 115"/>
                  <a:gd name="T102" fmla="*/ 147 w 147"/>
                  <a:gd name="T103" fmla="*/ 0 h 115"/>
                  <a:gd name="T104" fmla="*/ 147 w 147"/>
                  <a:gd name="T105" fmla="*/ 115 h 115"/>
                  <a:gd name="T106" fmla="*/ 115 w 147"/>
                  <a:gd name="T107" fmla="*/ 115 h 115"/>
                  <a:gd name="T108" fmla="*/ 115 w 147"/>
                  <a:gd name="T109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47" h="115">
                    <a:moveTo>
                      <a:pt x="91" y="46"/>
                    </a:moveTo>
                    <a:lnTo>
                      <a:pt x="91" y="46"/>
                    </a:lnTo>
                    <a:lnTo>
                      <a:pt x="97" y="51"/>
                    </a:lnTo>
                    <a:lnTo>
                      <a:pt x="100" y="58"/>
                    </a:lnTo>
                    <a:lnTo>
                      <a:pt x="103" y="66"/>
                    </a:lnTo>
                    <a:lnTo>
                      <a:pt x="103" y="73"/>
                    </a:lnTo>
                    <a:lnTo>
                      <a:pt x="103" y="73"/>
                    </a:lnTo>
                    <a:lnTo>
                      <a:pt x="102" y="82"/>
                    </a:lnTo>
                    <a:lnTo>
                      <a:pt x="100" y="90"/>
                    </a:lnTo>
                    <a:lnTo>
                      <a:pt x="96" y="97"/>
                    </a:lnTo>
                    <a:lnTo>
                      <a:pt x="90" y="104"/>
                    </a:lnTo>
                    <a:lnTo>
                      <a:pt x="90" y="104"/>
                    </a:lnTo>
                    <a:lnTo>
                      <a:pt x="82" y="109"/>
                    </a:lnTo>
                    <a:lnTo>
                      <a:pt x="73" y="113"/>
                    </a:lnTo>
                    <a:lnTo>
                      <a:pt x="64" y="115"/>
                    </a:lnTo>
                    <a:lnTo>
                      <a:pt x="55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2" y="0"/>
                    </a:lnTo>
                    <a:lnTo>
                      <a:pt x="32" y="36"/>
                    </a:lnTo>
                    <a:lnTo>
                      <a:pt x="59" y="36"/>
                    </a:lnTo>
                    <a:lnTo>
                      <a:pt x="59" y="36"/>
                    </a:lnTo>
                    <a:lnTo>
                      <a:pt x="68" y="37"/>
                    </a:lnTo>
                    <a:lnTo>
                      <a:pt x="76" y="38"/>
                    </a:lnTo>
                    <a:lnTo>
                      <a:pt x="84" y="41"/>
                    </a:lnTo>
                    <a:lnTo>
                      <a:pt x="91" y="46"/>
                    </a:lnTo>
                    <a:lnTo>
                      <a:pt x="91" y="46"/>
                    </a:lnTo>
                    <a:close/>
                    <a:moveTo>
                      <a:pt x="66" y="86"/>
                    </a:moveTo>
                    <a:lnTo>
                      <a:pt x="66" y="86"/>
                    </a:lnTo>
                    <a:lnTo>
                      <a:pt x="68" y="84"/>
                    </a:lnTo>
                    <a:lnTo>
                      <a:pt x="69" y="81"/>
                    </a:lnTo>
                    <a:lnTo>
                      <a:pt x="70" y="77"/>
                    </a:lnTo>
                    <a:lnTo>
                      <a:pt x="71" y="74"/>
                    </a:lnTo>
                    <a:lnTo>
                      <a:pt x="71" y="74"/>
                    </a:lnTo>
                    <a:lnTo>
                      <a:pt x="70" y="71"/>
                    </a:lnTo>
                    <a:lnTo>
                      <a:pt x="70" y="68"/>
                    </a:lnTo>
                    <a:lnTo>
                      <a:pt x="68" y="65"/>
                    </a:lnTo>
                    <a:lnTo>
                      <a:pt x="66" y="63"/>
                    </a:lnTo>
                    <a:lnTo>
                      <a:pt x="64" y="61"/>
                    </a:lnTo>
                    <a:lnTo>
                      <a:pt x="61" y="60"/>
                    </a:lnTo>
                    <a:lnTo>
                      <a:pt x="53" y="59"/>
                    </a:lnTo>
                    <a:lnTo>
                      <a:pt x="32" y="59"/>
                    </a:lnTo>
                    <a:lnTo>
                      <a:pt x="32" y="91"/>
                    </a:lnTo>
                    <a:lnTo>
                      <a:pt x="53" y="91"/>
                    </a:lnTo>
                    <a:lnTo>
                      <a:pt x="53" y="91"/>
                    </a:lnTo>
                    <a:lnTo>
                      <a:pt x="56" y="91"/>
                    </a:lnTo>
                    <a:lnTo>
                      <a:pt x="60" y="90"/>
                    </a:lnTo>
                    <a:lnTo>
                      <a:pt x="63" y="88"/>
                    </a:lnTo>
                    <a:lnTo>
                      <a:pt x="66" y="86"/>
                    </a:lnTo>
                    <a:lnTo>
                      <a:pt x="66" y="86"/>
                    </a:lnTo>
                    <a:close/>
                    <a:moveTo>
                      <a:pt x="115" y="0"/>
                    </a:moveTo>
                    <a:lnTo>
                      <a:pt x="147" y="0"/>
                    </a:lnTo>
                    <a:lnTo>
                      <a:pt x="147" y="115"/>
                    </a:lnTo>
                    <a:lnTo>
                      <a:pt x="115" y="115"/>
                    </a:lnTo>
                    <a:lnTo>
                      <a:pt x="11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16">
                <a:extLst>
                  <a:ext uri="{FF2B5EF4-FFF2-40B4-BE49-F238E27FC236}">
                    <a16:creationId xmlns:a16="http://schemas.microsoft.com/office/drawing/2014/main" id="{9576B762-476B-43A1-8F0E-20F1E4951A1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344154" y="1535113"/>
                <a:ext cx="85725" cy="90487"/>
              </a:xfrm>
              <a:custGeom>
                <a:avLst/>
                <a:gdLst>
                  <a:gd name="T0" fmla="*/ 109 w 109"/>
                  <a:gd name="T1" fmla="*/ 0 h 115"/>
                  <a:gd name="T2" fmla="*/ 109 w 109"/>
                  <a:gd name="T3" fmla="*/ 115 h 115"/>
                  <a:gd name="T4" fmla="*/ 77 w 109"/>
                  <a:gd name="T5" fmla="*/ 115 h 115"/>
                  <a:gd name="T6" fmla="*/ 77 w 109"/>
                  <a:gd name="T7" fmla="*/ 71 h 115"/>
                  <a:gd name="T8" fmla="*/ 32 w 109"/>
                  <a:gd name="T9" fmla="*/ 71 h 115"/>
                  <a:gd name="T10" fmla="*/ 32 w 109"/>
                  <a:gd name="T11" fmla="*/ 115 h 115"/>
                  <a:gd name="T12" fmla="*/ 0 w 109"/>
                  <a:gd name="T13" fmla="*/ 115 h 115"/>
                  <a:gd name="T14" fmla="*/ 0 w 109"/>
                  <a:gd name="T15" fmla="*/ 0 h 115"/>
                  <a:gd name="T16" fmla="*/ 32 w 109"/>
                  <a:gd name="T17" fmla="*/ 0 h 115"/>
                  <a:gd name="T18" fmla="*/ 32 w 109"/>
                  <a:gd name="T19" fmla="*/ 43 h 115"/>
                  <a:gd name="T20" fmla="*/ 77 w 109"/>
                  <a:gd name="T21" fmla="*/ 43 h 115"/>
                  <a:gd name="T22" fmla="*/ 77 w 109"/>
                  <a:gd name="T23" fmla="*/ 0 h 115"/>
                  <a:gd name="T24" fmla="*/ 109 w 109"/>
                  <a:gd name="T25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9" h="115">
                    <a:moveTo>
                      <a:pt x="109" y="0"/>
                    </a:moveTo>
                    <a:lnTo>
                      <a:pt x="109" y="115"/>
                    </a:lnTo>
                    <a:lnTo>
                      <a:pt x="77" y="115"/>
                    </a:lnTo>
                    <a:lnTo>
                      <a:pt x="77" y="71"/>
                    </a:lnTo>
                    <a:lnTo>
                      <a:pt x="32" y="71"/>
                    </a:lnTo>
                    <a:lnTo>
                      <a:pt x="3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2" y="0"/>
                    </a:lnTo>
                    <a:lnTo>
                      <a:pt x="32" y="43"/>
                    </a:lnTo>
                    <a:lnTo>
                      <a:pt x="77" y="43"/>
                    </a:lnTo>
                    <a:lnTo>
                      <a:pt x="77" y="0"/>
                    </a:lnTo>
                    <a:lnTo>
                      <a:pt x="109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17">
                <a:extLst>
                  <a:ext uri="{FF2B5EF4-FFF2-40B4-BE49-F238E27FC236}">
                    <a16:creationId xmlns:a16="http://schemas.microsoft.com/office/drawing/2014/main" id="{DF33D78F-03C2-42D1-989D-E7C7D134B7D7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447341" y="1533525"/>
                <a:ext cx="101600" cy="95250"/>
              </a:xfrm>
              <a:custGeom>
                <a:avLst/>
                <a:gdLst>
                  <a:gd name="T0" fmla="*/ 31 w 128"/>
                  <a:gd name="T1" fmla="*/ 112 h 120"/>
                  <a:gd name="T2" fmla="*/ 21 w 128"/>
                  <a:gd name="T3" fmla="*/ 105 h 120"/>
                  <a:gd name="T4" fmla="*/ 6 w 128"/>
                  <a:gd name="T5" fmla="*/ 88 h 120"/>
                  <a:gd name="T6" fmla="*/ 0 w 128"/>
                  <a:gd name="T7" fmla="*/ 67 h 120"/>
                  <a:gd name="T8" fmla="*/ 2 w 128"/>
                  <a:gd name="T9" fmla="*/ 43 h 120"/>
                  <a:gd name="T10" fmla="*/ 6 w 128"/>
                  <a:gd name="T11" fmla="*/ 32 h 120"/>
                  <a:gd name="T12" fmla="*/ 11 w 128"/>
                  <a:gd name="T13" fmla="*/ 25 h 120"/>
                  <a:gd name="T14" fmla="*/ 23 w 128"/>
                  <a:gd name="T15" fmla="*/ 12 h 120"/>
                  <a:gd name="T16" fmla="*/ 31 w 128"/>
                  <a:gd name="T17" fmla="*/ 8 h 120"/>
                  <a:gd name="T18" fmla="*/ 46 w 128"/>
                  <a:gd name="T19" fmla="*/ 2 h 120"/>
                  <a:gd name="T20" fmla="*/ 64 w 128"/>
                  <a:gd name="T21" fmla="*/ 0 h 120"/>
                  <a:gd name="T22" fmla="*/ 81 w 128"/>
                  <a:gd name="T23" fmla="*/ 2 h 120"/>
                  <a:gd name="T24" fmla="*/ 97 w 128"/>
                  <a:gd name="T25" fmla="*/ 8 h 120"/>
                  <a:gd name="T26" fmla="*/ 102 w 128"/>
                  <a:gd name="T27" fmla="*/ 11 h 120"/>
                  <a:gd name="T28" fmla="*/ 115 w 128"/>
                  <a:gd name="T29" fmla="*/ 22 h 120"/>
                  <a:gd name="T30" fmla="*/ 125 w 128"/>
                  <a:gd name="T31" fmla="*/ 42 h 120"/>
                  <a:gd name="T32" fmla="*/ 128 w 128"/>
                  <a:gd name="T33" fmla="*/ 65 h 120"/>
                  <a:gd name="T34" fmla="*/ 124 w 128"/>
                  <a:gd name="T35" fmla="*/ 82 h 120"/>
                  <a:gd name="T36" fmla="*/ 121 w 128"/>
                  <a:gd name="T37" fmla="*/ 87 h 120"/>
                  <a:gd name="T38" fmla="*/ 111 w 128"/>
                  <a:gd name="T39" fmla="*/ 101 h 120"/>
                  <a:gd name="T40" fmla="*/ 97 w 128"/>
                  <a:gd name="T41" fmla="*/ 112 h 120"/>
                  <a:gd name="T42" fmla="*/ 89 w 128"/>
                  <a:gd name="T43" fmla="*/ 115 h 120"/>
                  <a:gd name="T44" fmla="*/ 72 w 128"/>
                  <a:gd name="T45" fmla="*/ 119 h 120"/>
                  <a:gd name="T46" fmla="*/ 55 w 128"/>
                  <a:gd name="T47" fmla="*/ 119 h 120"/>
                  <a:gd name="T48" fmla="*/ 38 w 128"/>
                  <a:gd name="T49" fmla="*/ 115 h 120"/>
                  <a:gd name="T50" fmla="*/ 31 w 128"/>
                  <a:gd name="T51" fmla="*/ 112 h 120"/>
                  <a:gd name="T52" fmla="*/ 80 w 128"/>
                  <a:gd name="T53" fmla="*/ 89 h 120"/>
                  <a:gd name="T54" fmla="*/ 91 w 128"/>
                  <a:gd name="T55" fmla="*/ 77 h 120"/>
                  <a:gd name="T56" fmla="*/ 94 w 128"/>
                  <a:gd name="T57" fmla="*/ 69 h 120"/>
                  <a:gd name="T58" fmla="*/ 94 w 128"/>
                  <a:gd name="T59" fmla="*/ 52 h 120"/>
                  <a:gd name="T60" fmla="*/ 91 w 128"/>
                  <a:gd name="T61" fmla="*/ 42 h 120"/>
                  <a:gd name="T62" fmla="*/ 80 w 128"/>
                  <a:gd name="T63" fmla="*/ 31 h 120"/>
                  <a:gd name="T64" fmla="*/ 72 w 128"/>
                  <a:gd name="T65" fmla="*/ 28 h 120"/>
                  <a:gd name="T66" fmla="*/ 55 w 128"/>
                  <a:gd name="T67" fmla="*/ 28 h 120"/>
                  <a:gd name="T68" fmla="*/ 47 w 128"/>
                  <a:gd name="T69" fmla="*/ 31 h 120"/>
                  <a:gd name="T70" fmla="*/ 36 w 128"/>
                  <a:gd name="T71" fmla="*/ 42 h 120"/>
                  <a:gd name="T72" fmla="*/ 33 w 128"/>
                  <a:gd name="T73" fmla="*/ 52 h 120"/>
                  <a:gd name="T74" fmla="*/ 33 w 128"/>
                  <a:gd name="T75" fmla="*/ 69 h 120"/>
                  <a:gd name="T76" fmla="*/ 36 w 128"/>
                  <a:gd name="T77" fmla="*/ 77 h 120"/>
                  <a:gd name="T78" fmla="*/ 47 w 128"/>
                  <a:gd name="T79" fmla="*/ 89 h 120"/>
                  <a:gd name="T80" fmla="*/ 55 w 128"/>
                  <a:gd name="T81" fmla="*/ 92 h 120"/>
                  <a:gd name="T82" fmla="*/ 72 w 128"/>
                  <a:gd name="T83" fmla="*/ 92 h 120"/>
                  <a:gd name="T84" fmla="*/ 80 w 128"/>
                  <a:gd name="T85" fmla="*/ 89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28" h="120">
                    <a:moveTo>
                      <a:pt x="31" y="112"/>
                    </a:moveTo>
                    <a:lnTo>
                      <a:pt x="31" y="112"/>
                    </a:lnTo>
                    <a:lnTo>
                      <a:pt x="25" y="109"/>
                    </a:lnTo>
                    <a:lnTo>
                      <a:pt x="21" y="105"/>
                    </a:lnTo>
                    <a:lnTo>
                      <a:pt x="13" y="97"/>
                    </a:lnTo>
                    <a:lnTo>
                      <a:pt x="6" y="88"/>
                    </a:lnTo>
                    <a:lnTo>
                      <a:pt x="2" y="78"/>
                    </a:lnTo>
                    <a:lnTo>
                      <a:pt x="0" y="67"/>
                    </a:lnTo>
                    <a:lnTo>
                      <a:pt x="0" y="55"/>
                    </a:lnTo>
                    <a:lnTo>
                      <a:pt x="2" y="43"/>
                    </a:lnTo>
                    <a:lnTo>
                      <a:pt x="4" y="38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11" y="25"/>
                    </a:lnTo>
                    <a:lnTo>
                      <a:pt x="16" y="18"/>
                    </a:lnTo>
                    <a:lnTo>
                      <a:pt x="23" y="12"/>
                    </a:lnTo>
                    <a:lnTo>
                      <a:pt x="31" y="8"/>
                    </a:lnTo>
                    <a:lnTo>
                      <a:pt x="31" y="8"/>
                    </a:lnTo>
                    <a:lnTo>
                      <a:pt x="38" y="4"/>
                    </a:lnTo>
                    <a:lnTo>
                      <a:pt x="46" y="2"/>
                    </a:lnTo>
                    <a:lnTo>
                      <a:pt x="55" y="0"/>
                    </a:lnTo>
                    <a:lnTo>
                      <a:pt x="64" y="0"/>
                    </a:lnTo>
                    <a:lnTo>
                      <a:pt x="72" y="0"/>
                    </a:lnTo>
                    <a:lnTo>
                      <a:pt x="81" y="2"/>
                    </a:lnTo>
                    <a:lnTo>
                      <a:pt x="89" y="4"/>
                    </a:lnTo>
                    <a:lnTo>
                      <a:pt x="97" y="8"/>
                    </a:lnTo>
                    <a:lnTo>
                      <a:pt x="97" y="8"/>
                    </a:lnTo>
                    <a:lnTo>
                      <a:pt x="102" y="11"/>
                    </a:lnTo>
                    <a:lnTo>
                      <a:pt x="106" y="14"/>
                    </a:lnTo>
                    <a:lnTo>
                      <a:pt x="115" y="22"/>
                    </a:lnTo>
                    <a:lnTo>
                      <a:pt x="121" y="32"/>
                    </a:lnTo>
                    <a:lnTo>
                      <a:pt x="125" y="42"/>
                    </a:lnTo>
                    <a:lnTo>
                      <a:pt x="127" y="54"/>
                    </a:lnTo>
                    <a:lnTo>
                      <a:pt x="128" y="65"/>
                    </a:lnTo>
                    <a:lnTo>
                      <a:pt x="126" y="76"/>
                    </a:lnTo>
                    <a:lnTo>
                      <a:pt x="124" y="82"/>
                    </a:lnTo>
                    <a:lnTo>
                      <a:pt x="121" y="87"/>
                    </a:lnTo>
                    <a:lnTo>
                      <a:pt x="121" y="87"/>
                    </a:lnTo>
                    <a:lnTo>
                      <a:pt x="116" y="95"/>
                    </a:lnTo>
                    <a:lnTo>
                      <a:pt x="111" y="101"/>
                    </a:lnTo>
                    <a:lnTo>
                      <a:pt x="104" y="107"/>
                    </a:lnTo>
                    <a:lnTo>
                      <a:pt x="97" y="112"/>
                    </a:lnTo>
                    <a:lnTo>
                      <a:pt x="97" y="112"/>
                    </a:lnTo>
                    <a:lnTo>
                      <a:pt x="89" y="115"/>
                    </a:lnTo>
                    <a:lnTo>
                      <a:pt x="81" y="118"/>
                    </a:lnTo>
                    <a:lnTo>
                      <a:pt x="72" y="119"/>
                    </a:lnTo>
                    <a:lnTo>
                      <a:pt x="64" y="120"/>
                    </a:lnTo>
                    <a:lnTo>
                      <a:pt x="55" y="119"/>
                    </a:lnTo>
                    <a:lnTo>
                      <a:pt x="46" y="118"/>
                    </a:lnTo>
                    <a:lnTo>
                      <a:pt x="38" y="115"/>
                    </a:lnTo>
                    <a:lnTo>
                      <a:pt x="31" y="112"/>
                    </a:lnTo>
                    <a:lnTo>
                      <a:pt x="31" y="112"/>
                    </a:lnTo>
                    <a:close/>
                    <a:moveTo>
                      <a:pt x="80" y="89"/>
                    </a:moveTo>
                    <a:lnTo>
                      <a:pt x="80" y="89"/>
                    </a:lnTo>
                    <a:lnTo>
                      <a:pt x="86" y="84"/>
                    </a:lnTo>
                    <a:lnTo>
                      <a:pt x="91" y="77"/>
                    </a:lnTo>
                    <a:lnTo>
                      <a:pt x="91" y="77"/>
                    </a:lnTo>
                    <a:lnTo>
                      <a:pt x="94" y="69"/>
                    </a:lnTo>
                    <a:lnTo>
                      <a:pt x="95" y="60"/>
                    </a:lnTo>
                    <a:lnTo>
                      <a:pt x="94" y="52"/>
                    </a:lnTo>
                    <a:lnTo>
                      <a:pt x="91" y="42"/>
                    </a:lnTo>
                    <a:lnTo>
                      <a:pt x="91" y="42"/>
                    </a:lnTo>
                    <a:lnTo>
                      <a:pt x="86" y="36"/>
                    </a:lnTo>
                    <a:lnTo>
                      <a:pt x="80" y="31"/>
                    </a:lnTo>
                    <a:lnTo>
                      <a:pt x="80" y="31"/>
                    </a:lnTo>
                    <a:lnTo>
                      <a:pt x="72" y="28"/>
                    </a:lnTo>
                    <a:lnTo>
                      <a:pt x="64" y="27"/>
                    </a:lnTo>
                    <a:lnTo>
                      <a:pt x="55" y="28"/>
                    </a:lnTo>
                    <a:lnTo>
                      <a:pt x="47" y="31"/>
                    </a:lnTo>
                    <a:lnTo>
                      <a:pt x="47" y="31"/>
                    </a:lnTo>
                    <a:lnTo>
                      <a:pt x="41" y="36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3" y="52"/>
                    </a:lnTo>
                    <a:lnTo>
                      <a:pt x="32" y="60"/>
                    </a:lnTo>
                    <a:lnTo>
                      <a:pt x="33" y="69"/>
                    </a:lnTo>
                    <a:lnTo>
                      <a:pt x="36" y="77"/>
                    </a:lnTo>
                    <a:lnTo>
                      <a:pt x="36" y="77"/>
                    </a:lnTo>
                    <a:lnTo>
                      <a:pt x="41" y="84"/>
                    </a:lnTo>
                    <a:lnTo>
                      <a:pt x="47" y="89"/>
                    </a:lnTo>
                    <a:lnTo>
                      <a:pt x="47" y="89"/>
                    </a:lnTo>
                    <a:lnTo>
                      <a:pt x="55" y="92"/>
                    </a:lnTo>
                    <a:lnTo>
                      <a:pt x="64" y="93"/>
                    </a:lnTo>
                    <a:lnTo>
                      <a:pt x="72" y="92"/>
                    </a:lnTo>
                    <a:lnTo>
                      <a:pt x="80" y="89"/>
                    </a:lnTo>
                    <a:lnTo>
                      <a:pt x="80" y="8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18">
                <a:extLst>
                  <a:ext uri="{FF2B5EF4-FFF2-40B4-BE49-F238E27FC236}">
                    <a16:creationId xmlns:a16="http://schemas.microsoft.com/office/drawing/2014/main" id="{6DC9112F-A497-440D-9952-F6BC55CC9298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564816" y="1535113"/>
                <a:ext cx="84138" cy="90487"/>
              </a:xfrm>
              <a:custGeom>
                <a:avLst/>
                <a:gdLst>
                  <a:gd name="T0" fmla="*/ 99 w 105"/>
                  <a:gd name="T1" fmla="*/ 66 h 115"/>
                  <a:gd name="T2" fmla="*/ 103 w 105"/>
                  <a:gd name="T3" fmla="*/ 74 h 115"/>
                  <a:gd name="T4" fmla="*/ 105 w 105"/>
                  <a:gd name="T5" fmla="*/ 83 h 115"/>
                  <a:gd name="T6" fmla="*/ 104 w 105"/>
                  <a:gd name="T7" fmla="*/ 90 h 115"/>
                  <a:gd name="T8" fmla="*/ 98 w 105"/>
                  <a:gd name="T9" fmla="*/ 102 h 115"/>
                  <a:gd name="T10" fmla="*/ 93 w 105"/>
                  <a:gd name="T11" fmla="*/ 107 h 115"/>
                  <a:gd name="T12" fmla="*/ 77 w 105"/>
                  <a:gd name="T13" fmla="*/ 114 h 115"/>
                  <a:gd name="T14" fmla="*/ 59 w 105"/>
                  <a:gd name="T15" fmla="*/ 115 h 115"/>
                  <a:gd name="T16" fmla="*/ 0 w 105"/>
                  <a:gd name="T17" fmla="*/ 0 h 115"/>
                  <a:gd name="T18" fmla="*/ 56 w 105"/>
                  <a:gd name="T19" fmla="*/ 0 h 115"/>
                  <a:gd name="T20" fmla="*/ 73 w 105"/>
                  <a:gd name="T21" fmla="*/ 2 h 115"/>
                  <a:gd name="T22" fmla="*/ 88 w 105"/>
                  <a:gd name="T23" fmla="*/ 8 h 115"/>
                  <a:gd name="T24" fmla="*/ 93 w 105"/>
                  <a:gd name="T25" fmla="*/ 12 h 115"/>
                  <a:gd name="T26" fmla="*/ 99 w 105"/>
                  <a:gd name="T27" fmla="*/ 24 h 115"/>
                  <a:gd name="T28" fmla="*/ 99 w 105"/>
                  <a:gd name="T29" fmla="*/ 30 h 115"/>
                  <a:gd name="T30" fmla="*/ 95 w 105"/>
                  <a:gd name="T31" fmla="*/ 45 h 115"/>
                  <a:gd name="T32" fmla="*/ 90 w 105"/>
                  <a:gd name="T33" fmla="*/ 52 h 115"/>
                  <a:gd name="T34" fmla="*/ 84 w 105"/>
                  <a:gd name="T35" fmla="*/ 56 h 115"/>
                  <a:gd name="T36" fmla="*/ 92 w 105"/>
                  <a:gd name="T37" fmla="*/ 60 h 115"/>
                  <a:gd name="T38" fmla="*/ 99 w 105"/>
                  <a:gd name="T39" fmla="*/ 66 h 115"/>
                  <a:gd name="T40" fmla="*/ 32 w 105"/>
                  <a:gd name="T41" fmla="*/ 46 h 115"/>
                  <a:gd name="T42" fmla="*/ 53 w 105"/>
                  <a:gd name="T43" fmla="*/ 46 h 115"/>
                  <a:gd name="T44" fmla="*/ 63 w 105"/>
                  <a:gd name="T45" fmla="*/ 43 h 115"/>
                  <a:gd name="T46" fmla="*/ 67 w 105"/>
                  <a:gd name="T47" fmla="*/ 35 h 115"/>
                  <a:gd name="T48" fmla="*/ 66 w 105"/>
                  <a:gd name="T49" fmla="*/ 30 h 115"/>
                  <a:gd name="T50" fmla="*/ 59 w 105"/>
                  <a:gd name="T51" fmla="*/ 24 h 115"/>
                  <a:gd name="T52" fmla="*/ 32 w 105"/>
                  <a:gd name="T53" fmla="*/ 23 h 115"/>
                  <a:gd name="T54" fmla="*/ 72 w 105"/>
                  <a:gd name="T55" fmla="*/ 80 h 115"/>
                  <a:gd name="T56" fmla="*/ 71 w 105"/>
                  <a:gd name="T57" fmla="*/ 75 h 115"/>
                  <a:gd name="T58" fmla="*/ 64 w 105"/>
                  <a:gd name="T59" fmla="*/ 69 h 115"/>
                  <a:gd name="T60" fmla="*/ 32 w 105"/>
                  <a:gd name="T61" fmla="*/ 69 h 115"/>
                  <a:gd name="T62" fmla="*/ 58 w 105"/>
                  <a:gd name="T63" fmla="*/ 92 h 115"/>
                  <a:gd name="T64" fmla="*/ 64 w 105"/>
                  <a:gd name="T65" fmla="*/ 91 h 115"/>
                  <a:gd name="T66" fmla="*/ 71 w 105"/>
                  <a:gd name="T67" fmla="*/ 85 h 115"/>
                  <a:gd name="T68" fmla="*/ 72 w 105"/>
                  <a:gd name="T69" fmla="*/ 8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5" h="115">
                    <a:moveTo>
                      <a:pt x="99" y="66"/>
                    </a:moveTo>
                    <a:lnTo>
                      <a:pt x="99" y="66"/>
                    </a:lnTo>
                    <a:lnTo>
                      <a:pt x="102" y="70"/>
                    </a:lnTo>
                    <a:lnTo>
                      <a:pt x="103" y="74"/>
                    </a:lnTo>
                    <a:lnTo>
                      <a:pt x="104" y="78"/>
                    </a:lnTo>
                    <a:lnTo>
                      <a:pt x="105" y="83"/>
                    </a:lnTo>
                    <a:lnTo>
                      <a:pt x="105" y="83"/>
                    </a:lnTo>
                    <a:lnTo>
                      <a:pt x="104" y="90"/>
                    </a:lnTo>
                    <a:lnTo>
                      <a:pt x="102" y="96"/>
                    </a:lnTo>
                    <a:lnTo>
                      <a:pt x="98" y="102"/>
                    </a:lnTo>
                    <a:lnTo>
                      <a:pt x="93" y="107"/>
                    </a:lnTo>
                    <a:lnTo>
                      <a:pt x="93" y="107"/>
                    </a:lnTo>
                    <a:lnTo>
                      <a:pt x="85" y="111"/>
                    </a:lnTo>
                    <a:lnTo>
                      <a:pt x="77" y="114"/>
                    </a:lnTo>
                    <a:lnTo>
                      <a:pt x="68" y="115"/>
                    </a:lnTo>
                    <a:lnTo>
                      <a:pt x="59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5" y="1"/>
                    </a:lnTo>
                    <a:lnTo>
                      <a:pt x="73" y="2"/>
                    </a:lnTo>
                    <a:lnTo>
                      <a:pt x="81" y="4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93" y="12"/>
                    </a:lnTo>
                    <a:lnTo>
                      <a:pt x="97" y="18"/>
                    </a:lnTo>
                    <a:lnTo>
                      <a:pt x="99" y="24"/>
                    </a:lnTo>
                    <a:lnTo>
                      <a:pt x="99" y="30"/>
                    </a:lnTo>
                    <a:lnTo>
                      <a:pt x="99" y="30"/>
                    </a:lnTo>
                    <a:lnTo>
                      <a:pt x="98" y="38"/>
                    </a:lnTo>
                    <a:lnTo>
                      <a:pt x="95" y="45"/>
                    </a:lnTo>
                    <a:lnTo>
                      <a:pt x="95" y="45"/>
                    </a:lnTo>
                    <a:lnTo>
                      <a:pt x="90" y="52"/>
                    </a:lnTo>
                    <a:lnTo>
                      <a:pt x="84" y="56"/>
                    </a:lnTo>
                    <a:lnTo>
                      <a:pt x="84" y="56"/>
                    </a:lnTo>
                    <a:lnTo>
                      <a:pt x="88" y="57"/>
                    </a:lnTo>
                    <a:lnTo>
                      <a:pt x="92" y="60"/>
                    </a:lnTo>
                    <a:lnTo>
                      <a:pt x="96" y="62"/>
                    </a:lnTo>
                    <a:lnTo>
                      <a:pt x="99" y="66"/>
                    </a:lnTo>
                    <a:lnTo>
                      <a:pt x="99" y="66"/>
                    </a:lnTo>
                    <a:close/>
                    <a:moveTo>
                      <a:pt x="32" y="46"/>
                    </a:moveTo>
                    <a:lnTo>
                      <a:pt x="53" y="46"/>
                    </a:lnTo>
                    <a:lnTo>
                      <a:pt x="53" y="46"/>
                    </a:lnTo>
                    <a:lnTo>
                      <a:pt x="59" y="45"/>
                    </a:lnTo>
                    <a:lnTo>
                      <a:pt x="63" y="43"/>
                    </a:lnTo>
                    <a:lnTo>
                      <a:pt x="66" y="40"/>
                    </a:lnTo>
                    <a:lnTo>
                      <a:pt x="67" y="35"/>
                    </a:lnTo>
                    <a:lnTo>
                      <a:pt x="67" y="35"/>
                    </a:lnTo>
                    <a:lnTo>
                      <a:pt x="66" y="30"/>
                    </a:lnTo>
                    <a:lnTo>
                      <a:pt x="63" y="26"/>
                    </a:lnTo>
                    <a:lnTo>
                      <a:pt x="59" y="24"/>
                    </a:lnTo>
                    <a:lnTo>
                      <a:pt x="53" y="23"/>
                    </a:lnTo>
                    <a:lnTo>
                      <a:pt x="32" y="23"/>
                    </a:lnTo>
                    <a:lnTo>
                      <a:pt x="32" y="46"/>
                    </a:lnTo>
                    <a:close/>
                    <a:moveTo>
                      <a:pt x="72" y="80"/>
                    </a:moveTo>
                    <a:lnTo>
                      <a:pt x="72" y="80"/>
                    </a:lnTo>
                    <a:lnTo>
                      <a:pt x="71" y="75"/>
                    </a:lnTo>
                    <a:lnTo>
                      <a:pt x="69" y="72"/>
                    </a:lnTo>
                    <a:lnTo>
                      <a:pt x="64" y="69"/>
                    </a:lnTo>
                    <a:lnTo>
                      <a:pt x="58" y="69"/>
                    </a:lnTo>
                    <a:lnTo>
                      <a:pt x="32" y="69"/>
                    </a:lnTo>
                    <a:lnTo>
                      <a:pt x="32" y="92"/>
                    </a:lnTo>
                    <a:lnTo>
                      <a:pt x="58" y="92"/>
                    </a:lnTo>
                    <a:lnTo>
                      <a:pt x="58" y="92"/>
                    </a:lnTo>
                    <a:lnTo>
                      <a:pt x="64" y="91"/>
                    </a:lnTo>
                    <a:lnTo>
                      <a:pt x="69" y="89"/>
                    </a:lnTo>
                    <a:lnTo>
                      <a:pt x="71" y="85"/>
                    </a:lnTo>
                    <a:lnTo>
                      <a:pt x="72" y="80"/>
                    </a:lnTo>
                    <a:lnTo>
                      <a:pt x="72" y="8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19">
                <a:extLst>
                  <a:ext uri="{FF2B5EF4-FFF2-40B4-BE49-F238E27FC236}">
                    <a16:creationId xmlns:a16="http://schemas.microsoft.com/office/drawing/2014/main" id="{07F03580-EB5C-488F-8791-FC3256EAD870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664829" y="1535113"/>
                <a:ext cx="115888" cy="90487"/>
              </a:xfrm>
              <a:custGeom>
                <a:avLst/>
                <a:gdLst>
                  <a:gd name="T0" fmla="*/ 92 w 147"/>
                  <a:gd name="T1" fmla="*/ 46 h 115"/>
                  <a:gd name="T2" fmla="*/ 92 w 147"/>
                  <a:gd name="T3" fmla="*/ 46 h 115"/>
                  <a:gd name="T4" fmla="*/ 97 w 147"/>
                  <a:gd name="T5" fmla="*/ 53 h 115"/>
                  <a:gd name="T6" fmla="*/ 101 w 147"/>
                  <a:gd name="T7" fmla="*/ 60 h 115"/>
                  <a:gd name="T8" fmla="*/ 103 w 147"/>
                  <a:gd name="T9" fmla="*/ 67 h 115"/>
                  <a:gd name="T10" fmla="*/ 103 w 147"/>
                  <a:gd name="T11" fmla="*/ 75 h 115"/>
                  <a:gd name="T12" fmla="*/ 103 w 147"/>
                  <a:gd name="T13" fmla="*/ 75 h 115"/>
                  <a:gd name="T14" fmla="*/ 103 w 147"/>
                  <a:gd name="T15" fmla="*/ 83 h 115"/>
                  <a:gd name="T16" fmla="*/ 100 w 147"/>
                  <a:gd name="T17" fmla="*/ 91 h 115"/>
                  <a:gd name="T18" fmla="*/ 96 w 147"/>
                  <a:gd name="T19" fmla="*/ 99 h 115"/>
                  <a:gd name="T20" fmla="*/ 90 w 147"/>
                  <a:gd name="T21" fmla="*/ 105 h 115"/>
                  <a:gd name="T22" fmla="*/ 90 w 147"/>
                  <a:gd name="T23" fmla="*/ 105 h 115"/>
                  <a:gd name="T24" fmla="*/ 82 w 147"/>
                  <a:gd name="T25" fmla="*/ 110 h 115"/>
                  <a:gd name="T26" fmla="*/ 74 w 147"/>
                  <a:gd name="T27" fmla="*/ 113 h 115"/>
                  <a:gd name="T28" fmla="*/ 65 w 147"/>
                  <a:gd name="T29" fmla="*/ 115 h 115"/>
                  <a:gd name="T30" fmla="*/ 55 w 147"/>
                  <a:gd name="T31" fmla="*/ 115 h 115"/>
                  <a:gd name="T32" fmla="*/ 0 w 147"/>
                  <a:gd name="T33" fmla="*/ 115 h 115"/>
                  <a:gd name="T34" fmla="*/ 0 w 147"/>
                  <a:gd name="T35" fmla="*/ 1 h 115"/>
                  <a:gd name="T36" fmla="*/ 32 w 147"/>
                  <a:gd name="T37" fmla="*/ 1 h 115"/>
                  <a:gd name="T38" fmla="*/ 32 w 147"/>
                  <a:gd name="T39" fmla="*/ 37 h 115"/>
                  <a:gd name="T40" fmla="*/ 59 w 147"/>
                  <a:gd name="T41" fmla="*/ 37 h 115"/>
                  <a:gd name="T42" fmla="*/ 59 w 147"/>
                  <a:gd name="T43" fmla="*/ 37 h 115"/>
                  <a:gd name="T44" fmla="*/ 68 w 147"/>
                  <a:gd name="T45" fmla="*/ 37 h 115"/>
                  <a:gd name="T46" fmla="*/ 76 w 147"/>
                  <a:gd name="T47" fmla="*/ 39 h 115"/>
                  <a:gd name="T48" fmla="*/ 84 w 147"/>
                  <a:gd name="T49" fmla="*/ 42 h 115"/>
                  <a:gd name="T50" fmla="*/ 92 w 147"/>
                  <a:gd name="T51" fmla="*/ 46 h 115"/>
                  <a:gd name="T52" fmla="*/ 92 w 147"/>
                  <a:gd name="T53" fmla="*/ 46 h 115"/>
                  <a:gd name="T54" fmla="*/ 66 w 147"/>
                  <a:gd name="T55" fmla="*/ 88 h 115"/>
                  <a:gd name="T56" fmla="*/ 66 w 147"/>
                  <a:gd name="T57" fmla="*/ 88 h 115"/>
                  <a:gd name="T58" fmla="*/ 68 w 147"/>
                  <a:gd name="T59" fmla="*/ 85 h 115"/>
                  <a:gd name="T60" fmla="*/ 70 w 147"/>
                  <a:gd name="T61" fmla="*/ 82 h 115"/>
                  <a:gd name="T62" fmla="*/ 71 w 147"/>
                  <a:gd name="T63" fmla="*/ 79 h 115"/>
                  <a:gd name="T64" fmla="*/ 71 w 147"/>
                  <a:gd name="T65" fmla="*/ 76 h 115"/>
                  <a:gd name="T66" fmla="*/ 71 w 147"/>
                  <a:gd name="T67" fmla="*/ 76 h 115"/>
                  <a:gd name="T68" fmla="*/ 71 w 147"/>
                  <a:gd name="T69" fmla="*/ 72 h 115"/>
                  <a:gd name="T70" fmla="*/ 70 w 147"/>
                  <a:gd name="T71" fmla="*/ 69 h 115"/>
                  <a:gd name="T72" fmla="*/ 68 w 147"/>
                  <a:gd name="T73" fmla="*/ 67 h 115"/>
                  <a:gd name="T74" fmla="*/ 66 w 147"/>
                  <a:gd name="T75" fmla="*/ 64 h 115"/>
                  <a:gd name="T76" fmla="*/ 64 w 147"/>
                  <a:gd name="T77" fmla="*/ 63 h 115"/>
                  <a:gd name="T78" fmla="*/ 61 w 147"/>
                  <a:gd name="T79" fmla="*/ 62 h 115"/>
                  <a:gd name="T80" fmla="*/ 53 w 147"/>
                  <a:gd name="T81" fmla="*/ 61 h 115"/>
                  <a:gd name="T82" fmla="*/ 32 w 147"/>
                  <a:gd name="T83" fmla="*/ 61 h 115"/>
                  <a:gd name="T84" fmla="*/ 32 w 147"/>
                  <a:gd name="T85" fmla="*/ 92 h 115"/>
                  <a:gd name="T86" fmla="*/ 53 w 147"/>
                  <a:gd name="T87" fmla="*/ 92 h 115"/>
                  <a:gd name="T88" fmla="*/ 53 w 147"/>
                  <a:gd name="T89" fmla="*/ 92 h 115"/>
                  <a:gd name="T90" fmla="*/ 57 w 147"/>
                  <a:gd name="T91" fmla="*/ 92 h 115"/>
                  <a:gd name="T92" fmla="*/ 60 w 147"/>
                  <a:gd name="T93" fmla="*/ 91 h 115"/>
                  <a:gd name="T94" fmla="*/ 63 w 147"/>
                  <a:gd name="T95" fmla="*/ 90 h 115"/>
                  <a:gd name="T96" fmla="*/ 66 w 147"/>
                  <a:gd name="T97" fmla="*/ 88 h 115"/>
                  <a:gd name="T98" fmla="*/ 66 w 147"/>
                  <a:gd name="T99" fmla="*/ 88 h 115"/>
                  <a:gd name="T100" fmla="*/ 116 w 147"/>
                  <a:gd name="T101" fmla="*/ 0 h 115"/>
                  <a:gd name="T102" fmla="*/ 147 w 147"/>
                  <a:gd name="T103" fmla="*/ 0 h 115"/>
                  <a:gd name="T104" fmla="*/ 147 w 147"/>
                  <a:gd name="T105" fmla="*/ 115 h 115"/>
                  <a:gd name="T106" fmla="*/ 116 w 147"/>
                  <a:gd name="T107" fmla="*/ 115 h 115"/>
                  <a:gd name="T108" fmla="*/ 116 w 147"/>
                  <a:gd name="T109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47" h="115">
                    <a:moveTo>
                      <a:pt x="92" y="46"/>
                    </a:moveTo>
                    <a:lnTo>
                      <a:pt x="92" y="46"/>
                    </a:lnTo>
                    <a:lnTo>
                      <a:pt x="97" y="53"/>
                    </a:lnTo>
                    <a:lnTo>
                      <a:pt x="101" y="60"/>
                    </a:lnTo>
                    <a:lnTo>
                      <a:pt x="103" y="67"/>
                    </a:lnTo>
                    <a:lnTo>
                      <a:pt x="103" y="75"/>
                    </a:lnTo>
                    <a:lnTo>
                      <a:pt x="103" y="75"/>
                    </a:lnTo>
                    <a:lnTo>
                      <a:pt x="103" y="83"/>
                    </a:lnTo>
                    <a:lnTo>
                      <a:pt x="100" y="91"/>
                    </a:lnTo>
                    <a:lnTo>
                      <a:pt x="96" y="99"/>
                    </a:lnTo>
                    <a:lnTo>
                      <a:pt x="90" y="105"/>
                    </a:lnTo>
                    <a:lnTo>
                      <a:pt x="90" y="105"/>
                    </a:lnTo>
                    <a:lnTo>
                      <a:pt x="82" y="110"/>
                    </a:lnTo>
                    <a:lnTo>
                      <a:pt x="74" y="113"/>
                    </a:lnTo>
                    <a:lnTo>
                      <a:pt x="65" y="115"/>
                    </a:lnTo>
                    <a:lnTo>
                      <a:pt x="55" y="115"/>
                    </a:lnTo>
                    <a:lnTo>
                      <a:pt x="0" y="115"/>
                    </a:lnTo>
                    <a:lnTo>
                      <a:pt x="0" y="1"/>
                    </a:lnTo>
                    <a:lnTo>
                      <a:pt x="32" y="1"/>
                    </a:lnTo>
                    <a:lnTo>
                      <a:pt x="32" y="37"/>
                    </a:lnTo>
                    <a:lnTo>
                      <a:pt x="59" y="37"/>
                    </a:lnTo>
                    <a:lnTo>
                      <a:pt x="59" y="37"/>
                    </a:lnTo>
                    <a:lnTo>
                      <a:pt x="68" y="37"/>
                    </a:lnTo>
                    <a:lnTo>
                      <a:pt x="76" y="39"/>
                    </a:lnTo>
                    <a:lnTo>
                      <a:pt x="84" y="42"/>
                    </a:lnTo>
                    <a:lnTo>
                      <a:pt x="92" y="46"/>
                    </a:lnTo>
                    <a:lnTo>
                      <a:pt x="92" y="46"/>
                    </a:lnTo>
                    <a:close/>
                    <a:moveTo>
                      <a:pt x="66" y="88"/>
                    </a:moveTo>
                    <a:lnTo>
                      <a:pt x="66" y="88"/>
                    </a:lnTo>
                    <a:lnTo>
                      <a:pt x="68" y="85"/>
                    </a:lnTo>
                    <a:lnTo>
                      <a:pt x="70" y="82"/>
                    </a:lnTo>
                    <a:lnTo>
                      <a:pt x="71" y="79"/>
                    </a:lnTo>
                    <a:lnTo>
                      <a:pt x="71" y="76"/>
                    </a:lnTo>
                    <a:lnTo>
                      <a:pt x="71" y="76"/>
                    </a:lnTo>
                    <a:lnTo>
                      <a:pt x="71" y="72"/>
                    </a:lnTo>
                    <a:lnTo>
                      <a:pt x="70" y="69"/>
                    </a:lnTo>
                    <a:lnTo>
                      <a:pt x="68" y="67"/>
                    </a:lnTo>
                    <a:lnTo>
                      <a:pt x="66" y="64"/>
                    </a:lnTo>
                    <a:lnTo>
                      <a:pt x="64" y="63"/>
                    </a:lnTo>
                    <a:lnTo>
                      <a:pt x="61" y="62"/>
                    </a:lnTo>
                    <a:lnTo>
                      <a:pt x="53" y="61"/>
                    </a:lnTo>
                    <a:lnTo>
                      <a:pt x="32" y="61"/>
                    </a:lnTo>
                    <a:lnTo>
                      <a:pt x="32" y="92"/>
                    </a:lnTo>
                    <a:lnTo>
                      <a:pt x="53" y="92"/>
                    </a:lnTo>
                    <a:lnTo>
                      <a:pt x="53" y="92"/>
                    </a:lnTo>
                    <a:lnTo>
                      <a:pt x="57" y="92"/>
                    </a:lnTo>
                    <a:lnTo>
                      <a:pt x="60" y="91"/>
                    </a:lnTo>
                    <a:lnTo>
                      <a:pt x="63" y="90"/>
                    </a:lnTo>
                    <a:lnTo>
                      <a:pt x="66" y="88"/>
                    </a:lnTo>
                    <a:lnTo>
                      <a:pt x="66" y="88"/>
                    </a:lnTo>
                    <a:close/>
                    <a:moveTo>
                      <a:pt x="116" y="0"/>
                    </a:moveTo>
                    <a:lnTo>
                      <a:pt x="147" y="0"/>
                    </a:lnTo>
                    <a:lnTo>
                      <a:pt x="147" y="115"/>
                    </a:lnTo>
                    <a:lnTo>
                      <a:pt x="116" y="115"/>
                    </a:lnTo>
                    <a:lnTo>
                      <a:pt x="116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20">
                <a:extLst>
                  <a:ext uri="{FF2B5EF4-FFF2-40B4-BE49-F238E27FC236}">
                    <a16:creationId xmlns:a16="http://schemas.microsoft.com/office/drawing/2014/main" id="{ADC1BFF3-E610-4370-B395-9265D1577E0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802941" y="1535113"/>
                <a:ext cx="74613" cy="90487"/>
              </a:xfrm>
              <a:custGeom>
                <a:avLst/>
                <a:gdLst>
                  <a:gd name="T0" fmla="*/ 92 w 92"/>
                  <a:gd name="T1" fmla="*/ 90 h 115"/>
                  <a:gd name="T2" fmla="*/ 92 w 92"/>
                  <a:gd name="T3" fmla="*/ 115 h 115"/>
                  <a:gd name="T4" fmla="*/ 0 w 92"/>
                  <a:gd name="T5" fmla="*/ 115 h 115"/>
                  <a:gd name="T6" fmla="*/ 0 w 92"/>
                  <a:gd name="T7" fmla="*/ 0 h 115"/>
                  <a:gd name="T8" fmla="*/ 90 w 92"/>
                  <a:gd name="T9" fmla="*/ 0 h 115"/>
                  <a:gd name="T10" fmla="*/ 90 w 92"/>
                  <a:gd name="T11" fmla="*/ 25 h 115"/>
                  <a:gd name="T12" fmla="*/ 32 w 92"/>
                  <a:gd name="T13" fmla="*/ 25 h 115"/>
                  <a:gd name="T14" fmla="*/ 32 w 92"/>
                  <a:gd name="T15" fmla="*/ 44 h 115"/>
                  <a:gd name="T16" fmla="*/ 83 w 92"/>
                  <a:gd name="T17" fmla="*/ 44 h 115"/>
                  <a:gd name="T18" fmla="*/ 83 w 92"/>
                  <a:gd name="T19" fmla="*/ 69 h 115"/>
                  <a:gd name="T20" fmla="*/ 32 w 92"/>
                  <a:gd name="T21" fmla="*/ 69 h 115"/>
                  <a:gd name="T22" fmla="*/ 32 w 92"/>
                  <a:gd name="T23" fmla="*/ 90 h 115"/>
                  <a:gd name="T24" fmla="*/ 92 w 92"/>
                  <a:gd name="T25" fmla="*/ 9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2" h="115">
                    <a:moveTo>
                      <a:pt x="92" y="90"/>
                    </a:moveTo>
                    <a:lnTo>
                      <a:pt x="9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25"/>
                    </a:lnTo>
                    <a:lnTo>
                      <a:pt x="32" y="25"/>
                    </a:lnTo>
                    <a:lnTo>
                      <a:pt x="32" y="44"/>
                    </a:lnTo>
                    <a:lnTo>
                      <a:pt x="83" y="44"/>
                    </a:lnTo>
                    <a:lnTo>
                      <a:pt x="83" y="69"/>
                    </a:lnTo>
                    <a:lnTo>
                      <a:pt x="32" y="69"/>
                    </a:lnTo>
                    <a:lnTo>
                      <a:pt x="32" y="90"/>
                    </a:lnTo>
                    <a:lnTo>
                      <a:pt x="92" y="9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21">
                <a:extLst>
                  <a:ext uri="{FF2B5EF4-FFF2-40B4-BE49-F238E27FC236}">
                    <a16:creationId xmlns:a16="http://schemas.microsoft.com/office/drawing/2014/main" id="{ABEF5D7B-70D6-482E-974B-3F693010EE67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934704" y="1535113"/>
                <a:ext cx="82550" cy="90487"/>
              </a:xfrm>
              <a:custGeom>
                <a:avLst/>
                <a:gdLst>
                  <a:gd name="T0" fmla="*/ 79 w 104"/>
                  <a:gd name="T1" fmla="*/ 5 h 115"/>
                  <a:gd name="T2" fmla="*/ 79 w 104"/>
                  <a:gd name="T3" fmla="*/ 5 h 115"/>
                  <a:gd name="T4" fmla="*/ 85 w 104"/>
                  <a:gd name="T5" fmla="*/ 8 h 115"/>
                  <a:gd name="T6" fmla="*/ 90 w 104"/>
                  <a:gd name="T7" fmla="*/ 12 h 115"/>
                  <a:gd name="T8" fmla="*/ 94 w 104"/>
                  <a:gd name="T9" fmla="*/ 16 h 115"/>
                  <a:gd name="T10" fmla="*/ 98 w 104"/>
                  <a:gd name="T11" fmla="*/ 20 h 115"/>
                  <a:gd name="T12" fmla="*/ 98 w 104"/>
                  <a:gd name="T13" fmla="*/ 20 h 115"/>
                  <a:gd name="T14" fmla="*/ 101 w 104"/>
                  <a:gd name="T15" fmla="*/ 27 h 115"/>
                  <a:gd name="T16" fmla="*/ 104 w 104"/>
                  <a:gd name="T17" fmla="*/ 35 h 115"/>
                  <a:gd name="T18" fmla="*/ 104 w 104"/>
                  <a:gd name="T19" fmla="*/ 43 h 115"/>
                  <a:gd name="T20" fmla="*/ 104 w 104"/>
                  <a:gd name="T21" fmla="*/ 51 h 115"/>
                  <a:gd name="T22" fmla="*/ 102 w 104"/>
                  <a:gd name="T23" fmla="*/ 59 h 115"/>
                  <a:gd name="T24" fmla="*/ 98 w 104"/>
                  <a:gd name="T25" fmla="*/ 66 h 115"/>
                  <a:gd name="T26" fmla="*/ 93 w 104"/>
                  <a:gd name="T27" fmla="*/ 72 h 115"/>
                  <a:gd name="T28" fmla="*/ 87 w 104"/>
                  <a:gd name="T29" fmla="*/ 77 h 115"/>
                  <a:gd name="T30" fmla="*/ 87 w 104"/>
                  <a:gd name="T31" fmla="*/ 77 h 115"/>
                  <a:gd name="T32" fmla="*/ 79 w 104"/>
                  <a:gd name="T33" fmla="*/ 81 h 115"/>
                  <a:gd name="T34" fmla="*/ 79 w 104"/>
                  <a:gd name="T35" fmla="*/ 81 h 115"/>
                  <a:gd name="T36" fmla="*/ 72 w 104"/>
                  <a:gd name="T37" fmla="*/ 83 h 115"/>
                  <a:gd name="T38" fmla="*/ 66 w 104"/>
                  <a:gd name="T39" fmla="*/ 85 h 115"/>
                  <a:gd name="T40" fmla="*/ 59 w 104"/>
                  <a:gd name="T41" fmla="*/ 85 h 115"/>
                  <a:gd name="T42" fmla="*/ 52 w 104"/>
                  <a:gd name="T43" fmla="*/ 86 h 115"/>
                  <a:gd name="T44" fmla="*/ 32 w 104"/>
                  <a:gd name="T45" fmla="*/ 86 h 115"/>
                  <a:gd name="T46" fmla="*/ 32 w 104"/>
                  <a:gd name="T47" fmla="*/ 115 h 115"/>
                  <a:gd name="T48" fmla="*/ 0 w 104"/>
                  <a:gd name="T49" fmla="*/ 115 h 115"/>
                  <a:gd name="T50" fmla="*/ 0 w 104"/>
                  <a:gd name="T51" fmla="*/ 0 h 115"/>
                  <a:gd name="T52" fmla="*/ 52 w 104"/>
                  <a:gd name="T53" fmla="*/ 0 h 115"/>
                  <a:gd name="T54" fmla="*/ 52 w 104"/>
                  <a:gd name="T55" fmla="*/ 0 h 115"/>
                  <a:gd name="T56" fmla="*/ 59 w 104"/>
                  <a:gd name="T57" fmla="*/ 1 h 115"/>
                  <a:gd name="T58" fmla="*/ 66 w 104"/>
                  <a:gd name="T59" fmla="*/ 2 h 115"/>
                  <a:gd name="T60" fmla="*/ 73 w 104"/>
                  <a:gd name="T61" fmla="*/ 3 h 115"/>
                  <a:gd name="T62" fmla="*/ 79 w 104"/>
                  <a:gd name="T63" fmla="*/ 5 h 115"/>
                  <a:gd name="T64" fmla="*/ 79 w 104"/>
                  <a:gd name="T65" fmla="*/ 5 h 115"/>
                  <a:gd name="T66" fmla="*/ 65 w 104"/>
                  <a:gd name="T67" fmla="*/ 56 h 115"/>
                  <a:gd name="T68" fmla="*/ 65 w 104"/>
                  <a:gd name="T69" fmla="*/ 56 h 115"/>
                  <a:gd name="T70" fmla="*/ 67 w 104"/>
                  <a:gd name="T71" fmla="*/ 53 h 115"/>
                  <a:gd name="T72" fmla="*/ 69 w 104"/>
                  <a:gd name="T73" fmla="*/ 50 h 115"/>
                  <a:gd name="T74" fmla="*/ 70 w 104"/>
                  <a:gd name="T75" fmla="*/ 46 h 115"/>
                  <a:gd name="T76" fmla="*/ 70 w 104"/>
                  <a:gd name="T77" fmla="*/ 43 h 115"/>
                  <a:gd name="T78" fmla="*/ 70 w 104"/>
                  <a:gd name="T79" fmla="*/ 43 h 115"/>
                  <a:gd name="T80" fmla="*/ 70 w 104"/>
                  <a:gd name="T81" fmla="*/ 39 h 115"/>
                  <a:gd name="T82" fmla="*/ 69 w 104"/>
                  <a:gd name="T83" fmla="*/ 36 h 115"/>
                  <a:gd name="T84" fmla="*/ 67 w 104"/>
                  <a:gd name="T85" fmla="*/ 33 h 115"/>
                  <a:gd name="T86" fmla="*/ 65 w 104"/>
                  <a:gd name="T87" fmla="*/ 30 h 115"/>
                  <a:gd name="T88" fmla="*/ 65 w 104"/>
                  <a:gd name="T89" fmla="*/ 30 h 115"/>
                  <a:gd name="T90" fmla="*/ 62 w 104"/>
                  <a:gd name="T91" fmla="*/ 28 h 115"/>
                  <a:gd name="T92" fmla="*/ 58 w 104"/>
                  <a:gd name="T93" fmla="*/ 27 h 115"/>
                  <a:gd name="T94" fmla="*/ 54 w 104"/>
                  <a:gd name="T95" fmla="*/ 26 h 115"/>
                  <a:gd name="T96" fmla="*/ 50 w 104"/>
                  <a:gd name="T97" fmla="*/ 26 h 115"/>
                  <a:gd name="T98" fmla="*/ 32 w 104"/>
                  <a:gd name="T99" fmla="*/ 26 h 115"/>
                  <a:gd name="T100" fmla="*/ 32 w 104"/>
                  <a:gd name="T101" fmla="*/ 60 h 115"/>
                  <a:gd name="T102" fmla="*/ 50 w 104"/>
                  <a:gd name="T103" fmla="*/ 60 h 115"/>
                  <a:gd name="T104" fmla="*/ 50 w 104"/>
                  <a:gd name="T105" fmla="*/ 60 h 115"/>
                  <a:gd name="T106" fmla="*/ 54 w 104"/>
                  <a:gd name="T107" fmla="*/ 60 h 115"/>
                  <a:gd name="T108" fmla="*/ 58 w 104"/>
                  <a:gd name="T109" fmla="*/ 59 h 115"/>
                  <a:gd name="T110" fmla="*/ 62 w 104"/>
                  <a:gd name="T111" fmla="*/ 58 h 115"/>
                  <a:gd name="T112" fmla="*/ 65 w 104"/>
                  <a:gd name="T113" fmla="*/ 56 h 115"/>
                  <a:gd name="T114" fmla="*/ 65 w 104"/>
                  <a:gd name="T115" fmla="*/ 56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04" h="115">
                    <a:moveTo>
                      <a:pt x="79" y="5"/>
                    </a:moveTo>
                    <a:lnTo>
                      <a:pt x="79" y="5"/>
                    </a:lnTo>
                    <a:lnTo>
                      <a:pt x="85" y="8"/>
                    </a:lnTo>
                    <a:lnTo>
                      <a:pt x="90" y="12"/>
                    </a:lnTo>
                    <a:lnTo>
                      <a:pt x="94" y="16"/>
                    </a:lnTo>
                    <a:lnTo>
                      <a:pt x="98" y="20"/>
                    </a:lnTo>
                    <a:lnTo>
                      <a:pt x="98" y="20"/>
                    </a:lnTo>
                    <a:lnTo>
                      <a:pt x="101" y="27"/>
                    </a:lnTo>
                    <a:lnTo>
                      <a:pt x="104" y="35"/>
                    </a:lnTo>
                    <a:lnTo>
                      <a:pt x="104" y="43"/>
                    </a:lnTo>
                    <a:lnTo>
                      <a:pt x="104" y="51"/>
                    </a:lnTo>
                    <a:lnTo>
                      <a:pt x="102" y="59"/>
                    </a:lnTo>
                    <a:lnTo>
                      <a:pt x="98" y="66"/>
                    </a:lnTo>
                    <a:lnTo>
                      <a:pt x="93" y="72"/>
                    </a:lnTo>
                    <a:lnTo>
                      <a:pt x="87" y="77"/>
                    </a:lnTo>
                    <a:lnTo>
                      <a:pt x="87" y="77"/>
                    </a:lnTo>
                    <a:lnTo>
                      <a:pt x="79" y="81"/>
                    </a:lnTo>
                    <a:lnTo>
                      <a:pt x="79" y="81"/>
                    </a:lnTo>
                    <a:lnTo>
                      <a:pt x="72" y="83"/>
                    </a:lnTo>
                    <a:lnTo>
                      <a:pt x="66" y="85"/>
                    </a:lnTo>
                    <a:lnTo>
                      <a:pt x="59" y="85"/>
                    </a:lnTo>
                    <a:lnTo>
                      <a:pt x="52" y="86"/>
                    </a:lnTo>
                    <a:lnTo>
                      <a:pt x="32" y="86"/>
                    </a:lnTo>
                    <a:lnTo>
                      <a:pt x="3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52" y="0"/>
                    </a:lnTo>
                    <a:lnTo>
                      <a:pt x="52" y="0"/>
                    </a:lnTo>
                    <a:lnTo>
                      <a:pt x="59" y="1"/>
                    </a:lnTo>
                    <a:lnTo>
                      <a:pt x="66" y="2"/>
                    </a:lnTo>
                    <a:lnTo>
                      <a:pt x="73" y="3"/>
                    </a:lnTo>
                    <a:lnTo>
                      <a:pt x="79" y="5"/>
                    </a:lnTo>
                    <a:lnTo>
                      <a:pt x="79" y="5"/>
                    </a:lnTo>
                    <a:close/>
                    <a:moveTo>
                      <a:pt x="65" y="56"/>
                    </a:moveTo>
                    <a:lnTo>
                      <a:pt x="65" y="56"/>
                    </a:lnTo>
                    <a:lnTo>
                      <a:pt x="67" y="53"/>
                    </a:lnTo>
                    <a:lnTo>
                      <a:pt x="69" y="50"/>
                    </a:lnTo>
                    <a:lnTo>
                      <a:pt x="70" y="46"/>
                    </a:lnTo>
                    <a:lnTo>
                      <a:pt x="70" y="43"/>
                    </a:lnTo>
                    <a:lnTo>
                      <a:pt x="70" y="43"/>
                    </a:lnTo>
                    <a:lnTo>
                      <a:pt x="70" y="39"/>
                    </a:lnTo>
                    <a:lnTo>
                      <a:pt x="69" y="36"/>
                    </a:lnTo>
                    <a:lnTo>
                      <a:pt x="67" y="33"/>
                    </a:lnTo>
                    <a:lnTo>
                      <a:pt x="65" y="30"/>
                    </a:lnTo>
                    <a:lnTo>
                      <a:pt x="65" y="30"/>
                    </a:lnTo>
                    <a:lnTo>
                      <a:pt x="62" y="28"/>
                    </a:lnTo>
                    <a:lnTo>
                      <a:pt x="58" y="27"/>
                    </a:lnTo>
                    <a:lnTo>
                      <a:pt x="54" y="26"/>
                    </a:lnTo>
                    <a:lnTo>
                      <a:pt x="50" y="26"/>
                    </a:lnTo>
                    <a:lnTo>
                      <a:pt x="32" y="26"/>
                    </a:lnTo>
                    <a:lnTo>
                      <a:pt x="32" y="60"/>
                    </a:lnTo>
                    <a:lnTo>
                      <a:pt x="50" y="60"/>
                    </a:lnTo>
                    <a:lnTo>
                      <a:pt x="50" y="60"/>
                    </a:lnTo>
                    <a:lnTo>
                      <a:pt x="54" y="60"/>
                    </a:lnTo>
                    <a:lnTo>
                      <a:pt x="58" y="59"/>
                    </a:lnTo>
                    <a:lnTo>
                      <a:pt x="62" y="58"/>
                    </a:lnTo>
                    <a:lnTo>
                      <a:pt x="65" y="56"/>
                    </a:lnTo>
                    <a:lnTo>
                      <a:pt x="65" y="5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22">
                <a:extLst>
                  <a:ext uri="{FF2B5EF4-FFF2-40B4-BE49-F238E27FC236}">
                    <a16:creationId xmlns:a16="http://schemas.microsoft.com/office/drawing/2014/main" id="{39478858-7369-47AB-96B0-57B70A4D484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029954" y="1535113"/>
                <a:ext cx="74613" cy="90487"/>
              </a:xfrm>
              <a:custGeom>
                <a:avLst/>
                <a:gdLst>
                  <a:gd name="T0" fmla="*/ 93 w 93"/>
                  <a:gd name="T1" fmla="*/ 90 h 115"/>
                  <a:gd name="T2" fmla="*/ 93 w 93"/>
                  <a:gd name="T3" fmla="*/ 115 h 115"/>
                  <a:gd name="T4" fmla="*/ 0 w 93"/>
                  <a:gd name="T5" fmla="*/ 115 h 115"/>
                  <a:gd name="T6" fmla="*/ 0 w 93"/>
                  <a:gd name="T7" fmla="*/ 0 h 115"/>
                  <a:gd name="T8" fmla="*/ 91 w 93"/>
                  <a:gd name="T9" fmla="*/ 0 h 115"/>
                  <a:gd name="T10" fmla="*/ 91 w 93"/>
                  <a:gd name="T11" fmla="*/ 25 h 115"/>
                  <a:gd name="T12" fmla="*/ 32 w 93"/>
                  <a:gd name="T13" fmla="*/ 25 h 115"/>
                  <a:gd name="T14" fmla="*/ 32 w 93"/>
                  <a:gd name="T15" fmla="*/ 44 h 115"/>
                  <a:gd name="T16" fmla="*/ 83 w 93"/>
                  <a:gd name="T17" fmla="*/ 44 h 115"/>
                  <a:gd name="T18" fmla="*/ 83 w 93"/>
                  <a:gd name="T19" fmla="*/ 69 h 115"/>
                  <a:gd name="T20" fmla="*/ 32 w 93"/>
                  <a:gd name="T21" fmla="*/ 69 h 115"/>
                  <a:gd name="T22" fmla="*/ 32 w 93"/>
                  <a:gd name="T23" fmla="*/ 90 h 115"/>
                  <a:gd name="T24" fmla="*/ 93 w 93"/>
                  <a:gd name="T25" fmla="*/ 9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3" h="115">
                    <a:moveTo>
                      <a:pt x="93" y="90"/>
                    </a:moveTo>
                    <a:lnTo>
                      <a:pt x="93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91" y="0"/>
                    </a:lnTo>
                    <a:lnTo>
                      <a:pt x="91" y="25"/>
                    </a:lnTo>
                    <a:lnTo>
                      <a:pt x="32" y="25"/>
                    </a:lnTo>
                    <a:lnTo>
                      <a:pt x="32" y="44"/>
                    </a:lnTo>
                    <a:lnTo>
                      <a:pt x="83" y="44"/>
                    </a:lnTo>
                    <a:lnTo>
                      <a:pt x="83" y="69"/>
                    </a:lnTo>
                    <a:lnTo>
                      <a:pt x="32" y="69"/>
                    </a:lnTo>
                    <a:lnTo>
                      <a:pt x="32" y="90"/>
                    </a:lnTo>
                    <a:lnTo>
                      <a:pt x="93" y="9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23">
                <a:extLst>
                  <a:ext uri="{FF2B5EF4-FFF2-40B4-BE49-F238E27FC236}">
                    <a16:creationId xmlns:a16="http://schemas.microsoft.com/office/drawing/2014/main" id="{F5EDF915-4F23-4F94-80E0-814737431CC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122029" y="1535113"/>
                <a:ext cx="122238" cy="90487"/>
              </a:xfrm>
              <a:custGeom>
                <a:avLst/>
                <a:gdLst>
                  <a:gd name="T0" fmla="*/ 155 w 155"/>
                  <a:gd name="T1" fmla="*/ 0 h 115"/>
                  <a:gd name="T2" fmla="*/ 155 w 155"/>
                  <a:gd name="T3" fmla="*/ 115 h 115"/>
                  <a:gd name="T4" fmla="*/ 0 w 155"/>
                  <a:gd name="T5" fmla="*/ 115 h 115"/>
                  <a:gd name="T6" fmla="*/ 0 w 155"/>
                  <a:gd name="T7" fmla="*/ 0 h 115"/>
                  <a:gd name="T8" fmla="*/ 31 w 155"/>
                  <a:gd name="T9" fmla="*/ 0 h 115"/>
                  <a:gd name="T10" fmla="*/ 31 w 155"/>
                  <a:gd name="T11" fmla="*/ 90 h 115"/>
                  <a:gd name="T12" fmla="*/ 61 w 155"/>
                  <a:gd name="T13" fmla="*/ 90 h 115"/>
                  <a:gd name="T14" fmla="*/ 61 w 155"/>
                  <a:gd name="T15" fmla="*/ 0 h 115"/>
                  <a:gd name="T16" fmla="*/ 93 w 155"/>
                  <a:gd name="T17" fmla="*/ 0 h 115"/>
                  <a:gd name="T18" fmla="*/ 93 w 155"/>
                  <a:gd name="T19" fmla="*/ 90 h 115"/>
                  <a:gd name="T20" fmla="*/ 123 w 155"/>
                  <a:gd name="T21" fmla="*/ 90 h 115"/>
                  <a:gd name="T22" fmla="*/ 123 w 155"/>
                  <a:gd name="T23" fmla="*/ 0 h 115"/>
                  <a:gd name="T24" fmla="*/ 155 w 155"/>
                  <a:gd name="T25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5" h="115">
                    <a:moveTo>
                      <a:pt x="155" y="0"/>
                    </a:moveTo>
                    <a:lnTo>
                      <a:pt x="155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1" y="0"/>
                    </a:lnTo>
                    <a:lnTo>
                      <a:pt x="31" y="90"/>
                    </a:lnTo>
                    <a:lnTo>
                      <a:pt x="61" y="90"/>
                    </a:lnTo>
                    <a:lnTo>
                      <a:pt x="61" y="0"/>
                    </a:lnTo>
                    <a:lnTo>
                      <a:pt x="93" y="0"/>
                    </a:lnTo>
                    <a:lnTo>
                      <a:pt x="93" y="90"/>
                    </a:lnTo>
                    <a:lnTo>
                      <a:pt x="123" y="90"/>
                    </a:lnTo>
                    <a:lnTo>
                      <a:pt x="123" y="0"/>
                    </a:lnTo>
                    <a:lnTo>
                      <a:pt x="15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24">
                <a:extLst>
                  <a:ext uri="{FF2B5EF4-FFF2-40B4-BE49-F238E27FC236}">
                    <a16:creationId xmlns:a16="http://schemas.microsoft.com/office/drawing/2014/main" id="{FA51EF72-D097-4B5D-9BF5-C6C96BA65B0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268079" y="1535113"/>
                <a:ext cx="71438" cy="90487"/>
              </a:xfrm>
              <a:custGeom>
                <a:avLst/>
                <a:gdLst>
                  <a:gd name="T0" fmla="*/ 92 w 92"/>
                  <a:gd name="T1" fmla="*/ 90 h 115"/>
                  <a:gd name="T2" fmla="*/ 92 w 92"/>
                  <a:gd name="T3" fmla="*/ 115 h 115"/>
                  <a:gd name="T4" fmla="*/ 0 w 92"/>
                  <a:gd name="T5" fmla="*/ 115 h 115"/>
                  <a:gd name="T6" fmla="*/ 0 w 92"/>
                  <a:gd name="T7" fmla="*/ 0 h 115"/>
                  <a:gd name="T8" fmla="*/ 90 w 92"/>
                  <a:gd name="T9" fmla="*/ 0 h 115"/>
                  <a:gd name="T10" fmla="*/ 90 w 92"/>
                  <a:gd name="T11" fmla="*/ 25 h 115"/>
                  <a:gd name="T12" fmla="*/ 32 w 92"/>
                  <a:gd name="T13" fmla="*/ 25 h 115"/>
                  <a:gd name="T14" fmla="*/ 32 w 92"/>
                  <a:gd name="T15" fmla="*/ 44 h 115"/>
                  <a:gd name="T16" fmla="*/ 83 w 92"/>
                  <a:gd name="T17" fmla="*/ 44 h 115"/>
                  <a:gd name="T18" fmla="*/ 83 w 92"/>
                  <a:gd name="T19" fmla="*/ 69 h 115"/>
                  <a:gd name="T20" fmla="*/ 32 w 92"/>
                  <a:gd name="T21" fmla="*/ 69 h 115"/>
                  <a:gd name="T22" fmla="*/ 32 w 92"/>
                  <a:gd name="T23" fmla="*/ 90 h 115"/>
                  <a:gd name="T24" fmla="*/ 92 w 92"/>
                  <a:gd name="T25" fmla="*/ 9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2" h="115">
                    <a:moveTo>
                      <a:pt x="92" y="90"/>
                    </a:moveTo>
                    <a:lnTo>
                      <a:pt x="9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25"/>
                    </a:lnTo>
                    <a:lnTo>
                      <a:pt x="32" y="25"/>
                    </a:lnTo>
                    <a:lnTo>
                      <a:pt x="32" y="44"/>
                    </a:lnTo>
                    <a:lnTo>
                      <a:pt x="83" y="44"/>
                    </a:lnTo>
                    <a:lnTo>
                      <a:pt x="83" y="69"/>
                    </a:lnTo>
                    <a:lnTo>
                      <a:pt x="32" y="69"/>
                    </a:lnTo>
                    <a:lnTo>
                      <a:pt x="32" y="90"/>
                    </a:lnTo>
                    <a:lnTo>
                      <a:pt x="92" y="9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25">
                <a:extLst>
                  <a:ext uri="{FF2B5EF4-FFF2-40B4-BE49-F238E27FC236}">
                    <a16:creationId xmlns:a16="http://schemas.microsoft.com/office/drawing/2014/main" id="{BF69BCAE-B8B2-4AA1-B797-1A032D6287D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358566" y="1535113"/>
                <a:ext cx="85725" cy="90487"/>
              </a:xfrm>
              <a:custGeom>
                <a:avLst/>
                <a:gdLst>
                  <a:gd name="T0" fmla="*/ 109 w 109"/>
                  <a:gd name="T1" fmla="*/ 0 h 115"/>
                  <a:gd name="T2" fmla="*/ 109 w 109"/>
                  <a:gd name="T3" fmla="*/ 115 h 115"/>
                  <a:gd name="T4" fmla="*/ 77 w 109"/>
                  <a:gd name="T5" fmla="*/ 115 h 115"/>
                  <a:gd name="T6" fmla="*/ 77 w 109"/>
                  <a:gd name="T7" fmla="*/ 71 h 115"/>
                  <a:gd name="T8" fmla="*/ 32 w 109"/>
                  <a:gd name="T9" fmla="*/ 71 h 115"/>
                  <a:gd name="T10" fmla="*/ 32 w 109"/>
                  <a:gd name="T11" fmla="*/ 115 h 115"/>
                  <a:gd name="T12" fmla="*/ 0 w 109"/>
                  <a:gd name="T13" fmla="*/ 115 h 115"/>
                  <a:gd name="T14" fmla="*/ 0 w 109"/>
                  <a:gd name="T15" fmla="*/ 0 h 115"/>
                  <a:gd name="T16" fmla="*/ 32 w 109"/>
                  <a:gd name="T17" fmla="*/ 0 h 115"/>
                  <a:gd name="T18" fmla="*/ 32 w 109"/>
                  <a:gd name="T19" fmla="*/ 43 h 115"/>
                  <a:gd name="T20" fmla="*/ 77 w 109"/>
                  <a:gd name="T21" fmla="*/ 43 h 115"/>
                  <a:gd name="T22" fmla="*/ 77 w 109"/>
                  <a:gd name="T23" fmla="*/ 0 h 115"/>
                  <a:gd name="T24" fmla="*/ 109 w 109"/>
                  <a:gd name="T25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9" h="115">
                    <a:moveTo>
                      <a:pt x="109" y="0"/>
                    </a:moveTo>
                    <a:lnTo>
                      <a:pt x="109" y="115"/>
                    </a:lnTo>
                    <a:lnTo>
                      <a:pt x="77" y="115"/>
                    </a:lnTo>
                    <a:lnTo>
                      <a:pt x="77" y="71"/>
                    </a:lnTo>
                    <a:lnTo>
                      <a:pt x="32" y="71"/>
                    </a:lnTo>
                    <a:lnTo>
                      <a:pt x="3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2" y="0"/>
                    </a:lnTo>
                    <a:lnTo>
                      <a:pt x="32" y="43"/>
                    </a:lnTo>
                    <a:lnTo>
                      <a:pt x="77" y="43"/>
                    </a:lnTo>
                    <a:lnTo>
                      <a:pt x="77" y="0"/>
                    </a:lnTo>
                    <a:lnTo>
                      <a:pt x="109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26">
                <a:extLst>
                  <a:ext uri="{FF2B5EF4-FFF2-40B4-BE49-F238E27FC236}">
                    <a16:creationId xmlns:a16="http://schemas.microsoft.com/office/drawing/2014/main" id="{B65D0282-FD05-4A7B-9A41-3403905612E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466516" y="1535113"/>
                <a:ext cx="87313" cy="90487"/>
              </a:xfrm>
              <a:custGeom>
                <a:avLst/>
                <a:gdLst>
                  <a:gd name="T0" fmla="*/ 0 w 110"/>
                  <a:gd name="T1" fmla="*/ 0 h 115"/>
                  <a:gd name="T2" fmla="*/ 32 w 110"/>
                  <a:gd name="T3" fmla="*/ 0 h 115"/>
                  <a:gd name="T4" fmla="*/ 32 w 110"/>
                  <a:gd name="T5" fmla="*/ 68 h 115"/>
                  <a:gd name="T6" fmla="*/ 80 w 110"/>
                  <a:gd name="T7" fmla="*/ 0 h 115"/>
                  <a:gd name="T8" fmla="*/ 110 w 110"/>
                  <a:gd name="T9" fmla="*/ 0 h 115"/>
                  <a:gd name="T10" fmla="*/ 110 w 110"/>
                  <a:gd name="T11" fmla="*/ 115 h 115"/>
                  <a:gd name="T12" fmla="*/ 78 w 110"/>
                  <a:gd name="T13" fmla="*/ 115 h 115"/>
                  <a:gd name="T14" fmla="*/ 78 w 110"/>
                  <a:gd name="T15" fmla="*/ 48 h 115"/>
                  <a:gd name="T16" fmla="*/ 30 w 110"/>
                  <a:gd name="T17" fmla="*/ 115 h 115"/>
                  <a:gd name="T18" fmla="*/ 0 w 110"/>
                  <a:gd name="T19" fmla="*/ 115 h 115"/>
                  <a:gd name="T20" fmla="*/ 0 w 110"/>
                  <a:gd name="T21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0" h="115">
                    <a:moveTo>
                      <a:pt x="0" y="0"/>
                    </a:moveTo>
                    <a:lnTo>
                      <a:pt x="32" y="0"/>
                    </a:lnTo>
                    <a:lnTo>
                      <a:pt x="32" y="68"/>
                    </a:lnTo>
                    <a:lnTo>
                      <a:pt x="80" y="0"/>
                    </a:lnTo>
                    <a:lnTo>
                      <a:pt x="110" y="0"/>
                    </a:lnTo>
                    <a:lnTo>
                      <a:pt x="110" y="115"/>
                    </a:lnTo>
                    <a:lnTo>
                      <a:pt x="78" y="115"/>
                    </a:lnTo>
                    <a:lnTo>
                      <a:pt x="78" y="48"/>
                    </a:lnTo>
                    <a:lnTo>
                      <a:pt x="30" y="115"/>
                    </a:lnTo>
                    <a:lnTo>
                      <a:pt x="0" y="11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27">
                <a:extLst>
                  <a:ext uri="{FF2B5EF4-FFF2-40B4-BE49-F238E27FC236}">
                    <a16:creationId xmlns:a16="http://schemas.microsoft.com/office/drawing/2014/main" id="{450CD06E-8794-42F0-9F78-F84FA2FE316D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1571291" y="1535113"/>
                <a:ext cx="80963" cy="90487"/>
              </a:xfrm>
              <a:custGeom>
                <a:avLst/>
                <a:gdLst>
                  <a:gd name="T0" fmla="*/ 103 w 103"/>
                  <a:gd name="T1" fmla="*/ 0 h 115"/>
                  <a:gd name="T2" fmla="*/ 103 w 103"/>
                  <a:gd name="T3" fmla="*/ 115 h 115"/>
                  <a:gd name="T4" fmla="*/ 71 w 103"/>
                  <a:gd name="T5" fmla="*/ 115 h 115"/>
                  <a:gd name="T6" fmla="*/ 71 w 103"/>
                  <a:gd name="T7" fmla="*/ 87 h 115"/>
                  <a:gd name="T8" fmla="*/ 54 w 103"/>
                  <a:gd name="T9" fmla="*/ 87 h 115"/>
                  <a:gd name="T10" fmla="*/ 34 w 103"/>
                  <a:gd name="T11" fmla="*/ 115 h 115"/>
                  <a:gd name="T12" fmla="*/ 0 w 103"/>
                  <a:gd name="T13" fmla="*/ 115 h 115"/>
                  <a:gd name="T14" fmla="*/ 23 w 103"/>
                  <a:gd name="T15" fmla="*/ 82 h 115"/>
                  <a:gd name="T16" fmla="*/ 23 w 103"/>
                  <a:gd name="T17" fmla="*/ 82 h 115"/>
                  <a:gd name="T18" fmla="*/ 18 w 103"/>
                  <a:gd name="T19" fmla="*/ 79 h 115"/>
                  <a:gd name="T20" fmla="*/ 13 w 103"/>
                  <a:gd name="T21" fmla="*/ 76 h 115"/>
                  <a:gd name="T22" fmla="*/ 9 w 103"/>
                  <a:gd name="T23" fmla="*/ 72 h 115"/>
                  <a:gd name="T24" fmla="*/ 6 w 103"/>
                  <a:gd name="T25" fmla="*/ 67 h 115"/>
                  <a:gd name="T26" fmla="*/ 6 w 103"/>
                  <a:gd name="T27" fmla="*/ 67 h 115"/>
                  <a:gd name="T28" fmla="*/ 3 w 103"/>
                  <a:gd name="T29" fmla="*/ 62 h 115"/>
                  <a:gd name="T30" fmla="*/ 1 w 103"/>
                  <a:gd name="T31" fmla="*/ 57 h 115"/>
                  <a:gd name="T32" fmla="*/ 0 w 103"/>
                  <a:gd name="T33" fmla="*/ 51 h 115"/>
                  <a:gd name="T34" fmla="*/ 0 w 103"/>
                  <a:gd name="T35" fmla="*/ 44 h 115"/>
                  <a:gd name="T36" fmla="*/ 0 w 103"/>
                  <a:gd name="T37" fmla="*/ 44 h 115"/>
                  <a:gd name="T38" fmla="*/ 0 w 103"/>
                  <a:gd name="T39" fmla="*/ 38 h 115"/>
                  <a:gd name="T40" fmla="*/ 1 w 103"/>
                  <a:gd name="T41" fmla="*/ 32 h 115"/>
                  <a:gd name="T42" fmla="*/ 3 w 103"/>
                  <a:gd name="T43" fmla="*/ 26 h 115"/>
                  <a:gd name="T44" fmla="*/ 6 w 103"/>
                  <a:gd name="T45" fmla="*/ 21 h 115"/>
                  <a:gd name="T46" fmla="*/ 6 w 103"/>
                  <a:gd name="T47" fmla="*/ 21 h 115"/>
                  <a:gd name="T48" fmla="*/ 10 w 103"/>
                  <a:gd name="T49" fmla="*/ 16 h 115"/>
                  <a:gd name="T50" fmla="*/ 14 w 103"/>
                  <a:gd name="T51" fmla="*/ 12 h 115"/>
                  <a:gd name="T52" fmla="*/ 19 w 103"/>
                  <a:gd name="T53" fmla="*/ 8 h 115"/>
                  <a:gd name="T54" fmla="*/ 24 w 103"/>
                  <a:gd name="T55" fmla="*/ 6 h 115"/>
                  <a:gd name="T56" fmla="*/ 24 w 103"/>
                  <a:gd name="T57" fmla="*/ 6 h 115"/>
                  <a:gd name="T58" fmla="*/ 30 w 103"/>
                  <a:gd name="T59" fmla="*/ 3 h 115"/>
                  <a:gd name="T60" fmla="*/ 37 w 103"/>
                  <a:gd name="T61" fmla="*/ 2 h 115"/>
                  <a:gd name="T62" fmla="*/ 45 w 103"/>
                  <a:gd name="T63" fmla="*/ 1 h 115"/>
                  <a:gd name="T64" fmla="*/ 52 w 103"/>
                  <a:gd name="T65" fmla="*/ 1 h 115"/>
                  <a:gd name="T66" fmla="*/ 103 w 103"/>
                  <a:gd name="T67" fmla="*/ 0 h 115"/>
                  <a:gd name="T68" fmla="*/ 32 w 103"/>
                  <a:gd name="T69" fmla="*/ 43 h 115"/>
                  <a:gd name="T70" fmla="*/ 32 w 103"/>
                  <a:gd name="T71" fmla="*/ 43 h 115"/>
                  <a:gd name="T72" fmla="*/ 33 w 103"/>
                  <a:gd name="T73" fmla="*/ 48 h 115"/>
                  <a:gd name="T74" fmla="*/ 34 w 103"/>
                  <a:gd name="T75" fmla="*/ 51 h 115"/>
                  <a:gd name="T76" fmla="*/ 35 w 103"/>
                  <a:gd name="T77" fmla="*/ 54 h 115"/>
                  <a:gd name="T78" fmla="*/ 37 w 103"/>
                  <a:gd name="T79" fmla="*/ 57 h 115"/>
                  <a:gd name="T80" fmla="*/ 37 w 103"/>
                  <a:gd name="T81" fmla="*/ 57 h 115"/>
                  <a:gd name="T82" fmla="*/ 42 w 103"/>
                  <a:gd name="T83" fmla="*/ 59 h 115"/>
                  <a:gd name="T84" fmla="*/ 45 w 103"/>
                  <a:gd name="T85" fmla="*/ 61 h 115"/>
                  <a:gd name="T86" fmla="*/ 49 w 103"/>
                  <a:gd name="T87" fmla="*/ 62 h 115"/>
                  <a:gd name="T88" fmla="*/ 52 w 103"/>
                  <a:gd name="T89" fmla="*/ 62 h 115"/>
                  <a:gd name="T90" fmla="*/ 72 w 103"/>
                  <a:gd name="T91" fmla="*/ 62 h 115"/>
                  <a:gd name="T92" fmla="*/ 72 w 103"/>
                  <a:gd name="T93" fmla="*/ 26 h 115"/>
                  <a:gd name="T94" fmla="*/ 53 w 103"/>
                  <a:gd name="T95" fmla="*/ 26 h 115"/>
                  <a:gd name="T96" fmla="*/ 53 w 103"/>
                  <a:gd name="T97" fmla="*/ 26 h 115"/>
                  <a:gd name="T98" fmla="*/ 48 w 103"/>
                  <a:gd name="T99" fmla="*/ 26 h 115"/>
                  <a:gd name="T100" fmla="*/ 44 w 103"/>
                  <a:gd name="T101" fmla="*/ 27 h 115"/>
                  <a:gd name="T102" fmla="*/ 41 w 103"/>
                  <a:gd name="T103" fmla="*/ 28 h 115"/>
                  <a:gd name="T104" fmla="*/ 37 w 103"/>
                  <a:gd name="T105" fmla="*/ 30 h 115"/>
                  <a:gd name="T106" fmla="*/ 35 w 103"/>
                  <a:gd name="T107" fmla="*/ 32 h 115"/>
                  <a:gd name="T108" fmla="*/ 34 w 103"/>
                  <a:gd name="T109" fmla="*/ 35 h 115"/>
                  <a:gd name="T110" fmla="*/ 33 w 103"/>
                  <a:gd name="T111" fmla="*/ 39 h 115"/>
                  <a:gd name="T112" fmla="*/ 32 w 103"/>
                  <a:gd name="T113" fmla="*/ 43 h 115"/>
                  <a:gd name="T114" fmla="*/ 32 w 103"/>
                  <a:gd name="T115" fmla="*/ 43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03" h="115">
                    <a:moveTo>
                      <a:pt x="103" y="0"/>
                    </a:moveTo>
                    <a:lnTo>
                      <a:pt x="103" y="115"/>
                    </a:lnTo>
                    <a:lnTo>
                      <a:pt x="71" y="115"/>
                    </a:lnTo>
                    <a:lnTo>
                      <a:pt x="71" y="87"/>
                    </a:lnTo>
                    <a:lnTo>
                      <a:pt x="54" y="87"/>
                    </a:lnTo>
                    <a:lnTo>
                      <a:pt x="34" y="115"/>
                    </a:lnTo>
                    <a:lnTo>
                      <a:pt x="0" y="115"/>
                    </a:lnTo>
                    <a:lnTo>
                      <a:pt x="23" y="82"/>
                    </a:lnTo>
                    <a:lnTo>
                      <a:pt x="23" y="82"/>
                    </a:lnTo>
                    <a:lnTo>
                      <a:pt x="18" y="79"/>
                    </a:lnTo>
                    <a:lnTo>
                      <a:pt x="13" y="76"/>
                    </a:lnTo>
                    <a:lnTo>
                      <a:pt x="9" y="72"/>
                    </a:lnTo>
                    <a:lnTo>
                      <a:pt x="6" y="67"/>
                    </a:lnTo>
                    <a:lnTo>
                      <a:pt x="6" y="67"/>
                    </a:lnTo>
                    <a:lnTo>
                      <a:pt x="3" y="62"/>
                    </a:lnTo>
                    <a:lnTo>
                      <a:pt x="1" y="57"/>
                    </a:lnTo>
                    <a:lnTo>
                      <a:pt x="0" y="51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38"/>
                    </a:lnTo>
                    <a:lnTo>
                      <a:pt x="1" y="32"/>
                    </a:lnTo>
                    <a:lnTo>
                      <a:pt x="3" y="26"/>
                    </a:lnTo>
                    <a:lnTo>
                      <a:pt x="6" y="21"/>
                    </a:lnTo>
                    <a:lnTo>
                      <a:pt x="6" y="21"/>
                    </a:lnTo>
                    <a:lnTo>
                      <a:pt x="10" y="16"/>
                    </a:lnTo>
                    <a:lnTo>
                      <a:pt x="14" y="12"/>
                    </a:lnTo>
                    <a:lnTo>
                      <a:pt x="19" y="8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30" y="3"/>
                    </a:lnTo>
                    <a:lnTo>
                      <a:pt x="37" y="2"/>
                    </a:lnTo>
                    <a:lnTo>
                      <a:pt x="45" y="1"/>
                    </a:lnTo>
                    <a:lnTo>
                      <a:pt x="52" y="1"/>
                    </a:lnTo>
                    <a:lnTo>
                      <a:pt x="103" y="0"/>
                    </a:lnTo>
                    <a:close/>
                    <a:moveTo>
                      <a:pt x="32" y="43"/>
                    </a:moveTo>
                    <a:lnTo>
                      <a:pt x="32" y="43"/>
                    </a:lnTo>
                    <a:lnTo>
                      <a:pt x="33" y="48"/>
                    </a:lnTo>
                    <a:lnTo>
                      <a:pt x="34" y="51"/>
                    </a:lnTo>
                    <a:lnTo>
                      <a:pt x="35" y="54"/>
                    </a:lnTo>
                    <a:lnTo>
                      <a:pt x="37" y="57"/>
                    </a:lnTo>
                    <a:lnTo>
                      <a:pt x="37" y="57"/>
                    </a:lnTo>
                    <a:lnTo>
                      <a:pt x="42" y="59"/>
                    </a:lnTo>
                    <a:lnTo>
                      <a:pt x="45" y="61"/>
                    </a:lnTo>
                    <a:lnTo>
                      <a:pt x="49" y="62"/>
                    </a:lnTo>
                    <a:lnTo>
                      <a:pt x="52" y="62"/>
                    </a:lnTo>
                    <a:lnTo>
                      <a:pt x="72" y="62"/>
                    </a:lnTo>
                    <a:lnTo>
                      <a:pt x="72" y="26"/>
                    </a:lnTo>
                    <a:lnTo>
                      <a:pt x="53" y="26"/>
                    </a:lnTo>
                    <a:lnTo>
                      <a:pt x="53" y="26"/>
                    </a:lnTo>
                    <a:lnTo>
                      <a:pt x="48" y="26"/>
                    </a:lnTo>
                    <a:lnTo>
                      <a:pt x="44" y="27"/>
                    </a:lnTo>
                    <a:lnTo>
                      <a:pt x="41" y="28"/>
                    </a:lnTo>
                    <a:lnTo>
                      <a:pt x="37" y="30"/>
                    </a:lnTo>
                    <a:lnTo>
                      <a:pt x="35" y="32"/>
                    </a:lnTo>
                    <a:lnTo>
                      <a:pt x="34" y="35"/>
                    </a:lnTo>
                    <a:lnTo>
                      <a:pt x="33" y="39"/>
                    </a:lnTo>
                    <a:lnTo>
                      <a:pt x="32" y="43"/>
                    </a:lnTo>
                    <a:lnTo>
                      <a:pt x="32" y="4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2948CCF4-A5B7-49EF-946A-5B3E36CA19B1}"/>
                </a:ext>
              </a:extLst>
            </p:cNvPr>
            <p:cNvGrpSpPr/>
            <p:nvPr userDrawn="1"/>
          </p:nvGrpSpPr>
          <p:grpSpPr>
            <a:xfrm>
              <a:off x="10332720" y="658368"/>
              <a:ext cx="670092" cy="617763"/>
              <a:chOff x="10301291" y="611188"/>
              <a:chExt cx="731838" cy="674687"/>
            </a:xfrm>
          </p:grpSpPr>
          <p:sp>
            <p:nvSpPr>
              <p:cNvPr id="39" name="Freeform 28">
                <a:extLst>
                  <a:ext uri="{FF2B5EF4-FFF2-40B4-BE49-F238E27FC236}">
                    <a16:creationId xmlns:a16="http://schemas.microsoft.com/office/drawing/2014/main" id="{CBA17C24-89CE-4950-9266-D1652EAC3EB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301291" y="611188"/>
                <a:ext cx="731838" cy="674687"/>
              </a:xfrm>
              <a:custGeom>
                <a:avLst/>
                <a:gdLst>
                  <a:gd name="T0" fmla="*/ 922 w 922"/>
                  <a:gd name="T1" fmla="*/ 0 h 850"/>
                  <a:gd name="T2" fmla="*/ 922 w 922"/>
                  <a:gd name="T3" fmla="*/ 850 h 850"/>
                  <a:gd name="T4" fmla="*/ 0 w 922"/>
                  <a:gd name="T5" fmla="*/ 850 h 850"/>
                  <a:gd name="T6" fmla="*/ 922 w 922"/>
                  <a:gd name="T7" fmla="*/ 0 h 8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22" h="850">
                    <a:moveTo>
                      <a:pt x="922" y="0"/>
                    </a:moveTo>
                    <a:lnTo>
                      <a:pt x="922" y="850"/>
                    </a:lnTo>
                    <a:lnTo>
                      <a:pt x="0" y="850"/>
                    </a:lnTo>
                    <a:lnTo>
                      <a:pt x="922" y="0"/>
                    </a:lnTo>
                    <a:close/>
                  </a:path>
                </a:pathLst>
              </a:custGeom>
              <a:solidFill>
                <a:srgbClr val="46AC4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Freeform 29">
                <a:extLst>
                  <a:ext uri="{FF2B5EF4-FFF2-40B4-BE49-F238E27FC236}">
                    <a16:creationId xmlns:a16="http://schemas.microsoft.com/office/drawing/2014/main" id="{08D0F138-E8A9-4157-A0F4-5063238F354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877554" y="611188"/>
                <a:ext cx="155575" cy="674687"/>
              </a:xfrm>
              <a:custGeom>
                <a:avLst/>
                <a:gdLst>
                  <a:gd name="T0" fmla="*/ 196 w 196"/>
                  <a:gd name="T1" fmla="*/ 0 h 850"/>
                  <a:gd name="T2" fmla="*/ 196 w 196"/>
                  <a:gd name="T3" fmla="*/ 850 h 850"/>
                  <a:gd name="T4" fmla="*/ 0 w 196"/>
                  <a:gd name="T5" fmla="*/ 850 h 850"/>
                  <a:gd name="T6" fmla="*/ 0 w 196"/>
                  <a:gd name="T7" fmla="*/ 181 h 850"/>
                  <a:gd name="T8" fmla="*/ 196 w 196"/>
                  <a:gd name="T9" fmla="*/ 0 h 8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6" h="850">
                    <a:moveTo>
                      <a:pt x="196" y="0"/>
                    </a:moveTo>
                    <a:lnTo>
                      <a:pt x="196" y="850"/>
                    </a:lnTo>
                    <a:lnTo>
                      <a:pt x="0" y="850"/>
                    </a:lnTo>
                    <a:lnTo>
                      <a:pt x="0" y="181"/>
                    </a:lnTo>
                    <a:lnTo>
                      <a:pt x="196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30">
                <a:extLst>
                  <a:ext uri="{FF2B5EF4-FFF2-40B4-BE49-F238E27FC236}">
                    <a16:creationId xmlns:a16="http://schemas.microsoft.com/office/drawing/2014/main" id="{A722BD01-E2C1-420B-B3E8-C9128A7A293F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301291" y="625475"/>
                <a:ext cx="493713" cy="660400"/>
              </a:xfrm>
              <a:custGeom>
                <a:avLst/>
                <a:gdLst>
                  <a:gd name="T0" fmla="*/ 339 w 622"/>
                  <a:gd name="T1" fmla="*/ 302 h 833"/>
                  <a:gd name="T2" fmla="*/ 366 w 622"/>
                  <a:gd name="T3" fmla="*/ 303 h 833"/>
                  <a:gd name="T4" fmla="*/ 419 w 622"/>
                  <a:gd name="T5" fmla="*/ 309 h 833"/>
                  <a:gd name="T6" fmla="*/ 447 w 622"/>
                  <a:gd name="T7" fmla="*/ 315 h 833"/>
                  <a:gd name="T8" fmla="*/ 493 w 622"/>
                  <a:gd name="T9" fmla="*/ 332 h 833"/>
                  <a:gd name="T10" fmla="*/ 536 w 622"/>
                  <a:gd name="T11" fmla="*/ 358 h 833"/>
                  <a:gd name="T12" fmla="*/ 546 w 622"/>
                  <a:gd name="T13" fmla="*/ 366 h 833"/>
                  <a:gd name="T14" fmla="*/ 564 w 622"/>
                  <a:gd name="T15" fmla="*/ 383 h 833"/>
                  <a:gd name="T16" fmla="*/ 580 w 622"/>
                  <a:gd name="T17" fmla="*/ 404 h 833"/>
                  <a:gd name="T18" fmla="*/ 594 w 622"/>
                  <a:gd name="T19" fmla="*/ 428 h 833"/>
                  <a:gd name="T20" fmla="*/ 600 w 622"/>
                  <a:gd name="T21" fmla="*/ 440 h 833"/>
                  <a:gd name="T22" fmla="*/ 609 w 622"/>
                  <a:gd name="T23" fmla="*/ 468 h 833"/>
                  <a:gd name="T24" fmla="*/ 616 w 622"/>
                  <a:gd name="T25" fmla="*/ 500 h 833"/>
                  <a:gd name="T26" fmla="*/ 620 w 622"/>
                  <a:gd name="T27" fmla="*/ 532 h 833"/>
                  <a:gd name="T28" fmla="*/ 622 w 622"/>
                  <a:gd name="T29" fmla="*/ 568 h 833"/>
                  <a:gd name="T30" fmla="*/ 621 w 622"/>
                  <a:gd name="T31" fmla="*/ 586 h 833"/>
                  <a:gd name="T32" fmla="*/ 619 w 622"/>
                  <a:gd name="T33" fmla="*/ 620 h 833"/>
                  <a:gd name="T34" fmla="*/ 613 w 622"/>
                  <a:gd name="T35" fmla="*/ 653 h 833"/>
                  <a:gd name="T36" fmla="*/ 605 w 622"/>
                  <a:gd name="T37" fmla="*/ 682 h 833"/>
                  <a:gd name="T38" fmla="*/ 600 w 622"/>
                  <a:gd name="T39" fmla="*/ 695 h 833"/>
                  <a:gd name="T40" fmla="*/ 587 w 622"/>
                  <a:gd name="T41" fmla="*/ 720 h 833"/>
                  <a:gd name="T42" fmla="*/ 573 w 622"/>
                  <a:gd name="T43" fmla="*/ 742 h 833"/>
                  <a:gd name="T44" fmla="*/ 555 w 622"/>
                  <a:gd name="T45" fmla="*/ 761 h 833"/>
                  <a:gd name="T46" fmla="*/ 536 w 622"/>
                  <a:gd name="T47" fmla="*/ 779 h 833"/>
                  <a:gd name="T48" fmla="*/ 515 w 622"/>
                  <a:gd name="T49" fmla="*/ 792 h 833"/>
                  <a:gd name="T50" fmla="*/ 470 w 622"/>
                  <a:gd name="T51" fmla="*/ 813 h 833"/>
                  <a:gd name="T52" fmla="*/ 447 w 622"/>
                  <a:gd name="T53" fmla="*/ 820 h 833"/>
                  <a:gd name="T54" fmla="*/ 392 w 622"/>
                  <a:gd name="T55" fmla="*/ 830 h 833"/>
                  <a:gd name="T56" fmla="*/ 338 w 622"/>
                  <a:gd name="T57" fmla="*/ 833 h 833"/>
                  <a:gd name="T58" fmla="*/ 0 w 622"/>
                  <a:gd name="T59" fmla="*/ 0 h 833"/>
                  <a:gd name="T60" fmla="*/ 558 w 622"/>
                  <a:gd name="T61" fmla="*/ 187 h 833"/>
                  <a:gd name="T62" fmla="*/ 187 w 622"/>
                  <a:gd name="T63" fmla="*/ 302 h 833"/>
                  <a:gd name="T64" fmla="*/ 338 w 622"/>
                  <a:gd name="T65" fmla="*/ 661 h 833"/>
                  <a:gd name="T66" fmla="*/ 349 w 622"/>
                  <a:gd name="T67" fmla="*/ 660 h 833"/>
                  <a:gd name="T68" fmla="*/ 368 w 622"/>
                  <a:gd name="T69" fmla="*/ 658 h 833"/>
                  <a:gd name="T70" fmla="*/ 384 w 622"/>
                  <a:gd name="T71" fmla="*/ 652 h 833"/>
                  <a:gd name="T72" fmla="*/ 397 w 622"/>
                  <a:gd name="T73" fmla="*/ 644 h 833"/>
                  <a:gd name="T74" fmla="*/ 408 w 622"/>
                  <a:gd name="T75" fmla="*/ 634 h 833"/>
                  <a:gd name="T76" fmla="*/ 416 w 622"/>
                  <a:gd name="T77" fmla="*/ 620 h 833"/>
                  <a:gd name="T78" fmla="*/ 422 w 622"/>
                  <a:gd name="T79" fmla="*/ 604 h 833"/>
                  <a:gd name="T80" fmla="*/ 424 w 622"/>
                  <a:gd name="T81" fmla="*/ 586 h 833"/>
                  <a:gd name="T82" fmla="*/ 425 w 622"/>
                  <a:gd name="T83" fmla="*/ 575 h 833"/>
                  <a:gd name="T84" fmla="*/ 423 w 622"/>
                  <a:gd name="T85" fmla="*/ 556 h 833"/>
                  <a:gd name="T86" fmla="*/ 419 w 622"/>
                  <a:gd name="T87" fmla="*/ 539 h 833"/>
                  <a:gd name="T88" fmla="*/ 413 w 622"/>
                  <a:gd name="T89" fmla="*/ 524 h 833"/>
                  <a:gd name="T90" fmla="*/ 403 w 622"/>
                  <a:gd name="T91" fmla="*/ 512 h 833"/>
                  <a:gd name="T92" fmla="*/ 391 w 622"/>
                  <a:gd name="T93" fmla="*/ 503 h 833"/>
                  <a:gd name="T94" fmla="*/ 376 w 622"/>
                  <a:gd name="T95" fmla="*/ 497 h 833"/>
                  <a:gd name="T96" fmla="*/ 358 w 622"/>
                  <a:gd name="T97" fmla="*/ 493 h 833"/>
                  <a:gd name="T98" fmla="*/ 338 w 622"/>
                  <a:gd name="T99" fmla="*/ 491 h 833"/>
                  <a:gd name="T100" fmla="*/ 187 w 622"/>
                  <a:gd name="T101" fmla="*/ 661 h 8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622" h="833">
                    <a:moveTo>
                      <a:pt x="187" y="302"/>
                    </a:moveTo>
                    <a:lnTo>
                      <a:pt x="339" y="302"/>
                    </a:lnTo>
                    <a:lnTo>
                      <a:pt x="339" y="302"/>
                    </a:lnTo>
                    <a:lnTo>
                      <a:pt x="366" y="303"/>
                    </a:lnTo>
                    <a:lnTo>
                      <a:pt x="393" y="305"/>
                    </a:lnTo>
                    <a:lnTo>
                      <a:pt x="419" y="309"/>
                    </a:lnTo>
                    <a:lnTo>
                      <a:pt x="447" y="315"/>
                    </a:lnTo>
                    <a:lnTo>
                      <a:pt x="447" y="315"/>
                    </a:lnTo>
                    <a:lnTo>
                      <a:pt x="471" y="323"/>
                    </a:lnTo>
                    <a:lnTo>
                      <a:pt x="493" y="332"/>
                    </a:lnTo>
                    <a:lnTo>
                      <a:pt x="515" y="345"/>
                    </a:lnTo>
                    <a:lnTo>
                      <a:pt x="536" y="358"/>
                    </a:lnTo>
                    <a:lnTo>
                      <a:pt x="536" y="358"/>
                    </a:lnTo>
                    <a:lnTo>
                      <a:pt x="546" y="366"/>
                    </a:lnTo>
                    <a:lnTo>
                      <a:pt x="555" y="374"/>
                    </a:lnTo>
                    <a:lnTo>
                      <a:pt x="564" y="383"/>
                    </a:lnTo>
                    <a:lnTo>
                      <a:pt x="573" y="393"/>
                    </a:lnTo>
                    <a:lnTo>
                      <a:pt x="580" y="404"/>
                    </a:lnTo>
                    <a:lnTo>
                      <a:pt x="587" y="415"/>
                    </a:lnTo>
                    <a:lnTo>
                      <a:pt x="594" y="428"/>
                    </a:lnTo>
                    <a:lnTo>
                      <a:pt x="600" y="440"/>
                    </a:lnTo>
                    <a:lnTo>
                      <a:pt x="600" y="440"/>
                    </a:lnTo>
                    <a:lnTo>
                      <a:pt x="605" y="454"/>
                    </a:lnTo>
                    <a:lnTo>
                      <a:pt x="609" y="468"/>
                    </a:lnTo>
                    <a:lnTo>
                      <a:pt x="613" y="484"/>
                    </a:lnTo>
                    <a:lnTo>
                      <a:pt x="616" y="500"/>
                    </a:lnTo>
                    <a:lnTo>
                      <a:pt x="619" y="516"/>
                    </a:lnTo>
                    <a:lnTo>
                      <a:pt x="620" y="532"/>
                    </a:lnTo>
                    <a:lnTo>
                      <a:pt x="621" y="550"/>
                    </a:lnTo>
                    <a:lnTo>
                      <a:pt x="622" y="568"/>
                    </a:lnTo>
                    <a:lnTo>
                      <a:pt x="622" y="568"/>
                    </a:lnTo>
                    <a:lnTo>
                      <a:pt x="621" y="586"/>
                    </a:lnTo>
                    <a:lnTo>
                      <a:pt x="620" y="603"/>
                    </a:lnTo>
                    <a:lnTo>
                      <a:pt x="619" y="620"/>
                    </a:lnTo>
                    <a:lnTo>
                      <a:pt x="616" y="637"/>
                    </a:lnTo>
                    <a:lnTo>
                      <a:pt x="613" y="653"/>
                    </a:lnTo>
                    <a:lnTo>
                      <a:pt x="609" y="668"/>
                    </a:lnTo>
                    <a:lnTo>
                      <a:pt x="605" y="682"/>
                    </a:lnTo>
                    <a:lnTo>
                      <a:pt x="600" y="695"/>
                    </a:lnTo>
                    <a:lnTo>
                      <a:pt x="600" y="695"/>
                    </a:lnTo>
                    <a:lnTo>
                      <a:pt x="594" y="708"/>
                    </a:lnTo>
                    <a:lnTo>
                      <a:pt x="587" y="720"/>
                    </a:lnTo>
                    <a:lnTo>
                      <a:pt x="580" y="732"/>
                    </a:lnTo>
                    <a:lnTo>
                      <a:pt x="573" y="742"/>
                    </a:lnTo>
                    <a:lnTo>
                      <a:pt x="564" y="752"/>
                    </a:lnTo>
                    <a:lnTo>
                      <a:pt x="555" y="761"/>
                    </a:lnTo>
                    <a:lnTo>
                      <a:pt x="546" y="771"/>
                    </a:lnTo>
                    <a:lnTo>
                      <a:pt x="536" y="779"/>
                    </a:lnTo>
                    <a:lnTo>
                      <a:pt x="536" y="779"/>
                    </a:lnTo>
                    <a:lnTo>
                      <a:pt x="515" y="792"/>
                    </a:lnTo>
                    <a:lnTo>
                      <a:pt x="493" y="804"/>
                    </a:lnTo>
                    <a:lnTo>
                      <a:pt x="470" y="813"/>
                    </a:lnTo>
                    <a:lnTo>
                      <a:pt x="447" y="820"/>
                    </a:lnTo>
                    <a:lnTo>
                      <a:pt x="447" y="820"/>
                    </a:lnTo>
                    <a:lnTo>
                      <a:pt x="419" y="826"/>
                    </a:lnTo>
                    <a:lnTo>
                      <a:pt x="392" y="830"/>
                    </a:lnTo>
                    <a:lnTo>
                      <a:pt x="365" y="833"/>
                    </a:lnTo>
                    <a:lnTo>
                      <a:pt x="338" y="833"/>
                    </a:lnTo>
                    <a:lnTo>
                      <a:pt x="0" y="833"/>
                    </a:lnTo>
                    <a:lnTo>
                      <a:pt x="0" y="0"/>
                    </a:lnTo>
                    <a:lnTo>
                      <a:pt x="558" y="0"/>
                    </a:lnTo>
                    <a:lnTo>
                      <a:pt x="558" y="187"/>
                    </a:lnTo>
                    <a:lnTo>
                      <a:pt x="187" y="187"/>
                    </a:lnTo>
                    <a:lnTo>
                      <a:pt x="187" y="302"/>
                    </a:lnTo>
                    <a:close/>
                    <a:moveTo>
                      <a:pt x="187" y="661"/>
                    </a:moveTo>
                    <a:lnTo>
                      <a:pt x="338" y="661"/>
                    </a:lnTo>
                    <a:lnTo>
                      <a:pt x="338" y="661"/>
                    </a:lnTo>
                    <a:lnTo>
                      <a:pt x="349" y="660"/>
                    </a:lnTo>
                    <a:lnTo>
                      <a:pt x="358" y="659"/>
                    </a:lnTo>
                    <a:lnTo>
                      <a:pt x="368" y="658"/>
                    </a:lnTo>
                    <a:lnTo>
                      <a:pt x="376" y="655"/>
                    </a:lnTo>
                    <a:lnTo>
                      <a:pt x="384" y="652"/>
                    </a:lnTo>
                    <a:lnTo>
                      <a:pt x="391" y="649"/>
                    </a:lnTo>
                    <a:lnTo>
                      <a:pt x="397" y="644"/>
                    </a:lnTo>
                    <a:lnTo>
                      <a:pt x="403" y="640"/>
                    </a:lnTo>
                    <a:lnTo>
                      <a:pt x="408" y="634"/>
                    </a:lnTo>
                    <a:lnTo>
                      <a:pt x="413" y="628"/>
                    </a:lnTo>
                    <a:lnTo>
                      <a:pt x="416" y="620"/>
                    </a:lnTo>
                    <a:lnTo>
                      <a:pt x="419" y="612"/>
                    </a:lnTo>
                    <a:lnTo>
                      <a:pt x="422" y="604"/>
                    </a:lnTo>
                    <a:lnTo>
                      <a:pt x="423" y="595"/>
                    </a:lnTo>
                    <a:lnTo>
                      <a:pt x="424" y="586"/>
                    </a:lnTo>
                    <a:lnTo>
                      <a:pt x="425" y="575"/>
                    </a:lnTo>
                    <a:lnTo>
                      <a:pt x="425" y="575"/>
                    </a:lnTo>
                    <a:lnTo>
                      <a:pt x="424" y="565"/>
                    </a:lnTo>
                    <a:lnTo>
                      <a:pt x="423" y="556"/>
                    </a:lnTo>
                    <a:lnTo>
                      <a:pt x="422" y="547"/>
                    </a:lnTo>
                    <a:lnTo>
                      <a:pt x="419" y="539"/>
                    </a:lnTo>
                    <a:lnTo>
                      <a:pt x="416" y="531"/>
                    </a:lnTo>
                    <a:lnTo>
                      <a:pt x="413" y="524"/>
                    </a:lnTo>
                    <a:lnTo>
                      <a:pt x="408" y="518"/>
                    </a:lnTo>
                    <a:lnTo>
                      <a:pt x="403" y="512"/>
                    </a:lnTo>
                    <a:lnTo>
                      <a:pt x="397" y="507"/>
                    </a:lnTo>
                    <a:lnTo>
                      <a:pt x="391" y="503"/>
                    </a:lnTo>
                    <a:lnTo>
                      <a:pt x="384" y="500"/>
                    </a:lnTo>
                    <a:lnTo>
                      <a:pt x="376" y="497"/>
                    </a:lnTo>
                    <a:lnTo>
                      <a:pt x="368" y="494"/>
                    </a:lnTo>
                    <a:lnTo>
                      <a:pt x="358" y="493"/>
                    </a:lnTo>
                    <a:lnTo>
                      <a:pt x="349" y="492"/>
                    </a:lnTo>
                    <a:lnTo>
                      <a:pt x="338" y="491"/>
                    </a:lnTo>
                    <a:lnTo>
                      <a:pt x="187" y="491"/>
                    </a:lnTo>
                    <a:lnTo>
                      <a:pt x="187" y="66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97212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De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close up of some leaves&#10;&#10;Description automatically generated with low confidence">
            <a:extLst>
              <a:ext uri="{FF2B5EF4-FFF2-40B4-BE49-F238E27FC236}">
                <a16:creationId xmlns:a16="http://schemas.microsoft.com/office/drawing/2014/main" id="{C4C020CD-E029-E7E9-D529-CABEA6B281F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4114" y="2360140"/>
            <a:ext cx="4897886" cy="4497859"/>
          </a:xfrm>
          <a:prstGeom prst="rect">
            <a:avLst/>
          </a:prstGeom>
        </p:spPr>
      </p:pic>
      <p:grpSp>
        <p:nvGrpSpPr>
          <p:cNvPr id="34" name="Group 33">
            <a:extLst>
              <a:ext uri="{FF2B5EF4-FFF2-40B4-BE49-F238E27FC236}">
                <a16:creationId xmlns:a16="http://schemas.microsoft.com/office/drawing/2014/main" id="{8B906B2A-6ADB-42E4-B691-25519AAC4CC6}"/>
              </a:ext>
            </a:extLst>
          </p:cNvPr>
          <p:cNvGrpSpPr/>
          <p:nvPr userDrawn="1"/>
        </p:nvGrpSpPr>
        <p:grpSpPr>
          <a:xfrm>
            <a:off x="10346853" y="658368"/>
            <a:ext cx="1319534" cy="970407"/>
            <a:chOff x="10332720" y="658368"/>
            <a:chExt cx="1319534" cy="970407"/>
          </a:xfrm>
        </p:grpSpPr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FD917A4-7549-4150-A825-E02146682B69}"/>
                </a:ext>
              </a:extLst>
            </p:cNvPr>
            <p:cNvGrpSpPr/>
            <p:nvPr userDrawn="1"/>
          </p:nvGrpSpPr>
          <p:grpSpPr>
            <a:xfrm>
              <a:off x="10344154" y="1376363"/>
              <a:ext cx="1308100" cy="252412"/>
              <a:chOff x="10344154" y="1376363"/>
              <a:chExt cx="1308100" cy="252412"/>
            </a:xfrm>
          </p:grpSpPr>
          <p:sp>
            <p:nvSpPr>
              <p:cNvPr id="71" name="Freeform 5">
                <a:extLst>
                  <a:ext uri="{FF2B5EF4-FFF2-40B4-BE49-F238E27FC236}">
                    <a16:creationId xmlns:a16="http://schemas.microsoft.com/office/drawing/2014/main" id="{8E5F3AF8-90B8-4F9F-BCE8-04B220BEBA4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344154" y="1379538"/>
                <a:ext cx="85725" cy="90487"/>
              </a:xfrm>
              <a:custGeom>
                <a:avLst/>
                <a:gdLst>
                  <a:gd name="T0" fmla="*/ 109 w 109"/>
                  <a:gd name="T1" fmla="*/ 0 h 115"/>
                  <a:gd name="T2" fmla="*/ 109 w 109"/>
                  <a:gd name="T3" fmla="*/ 115 h 115"/>
                  <a:gd name="T4" fmla="*/ 77 w 109"/>
                  <a:gd name="T5" fmla="*/ 115 h 115"/>
                  <a:gd name="T6" fmla="*/ 77 w 109"/>
                  <a:gd name="T7" fmla="*/ 69 h 115"/>
                  <a:gd name="T8" fmla="*/ 32 w 109"/>
                  <a:gd name="T9" fmla="*/ 69 h 115"/>
                  <a:gd name="T10" fmla="*/ 32 w 109"/>
                  <a:gd name="T11" fmla="*/ 115 h 115"/>
                  <a:gd name="T12" fmla="*/ 0 w 109"/>
                  <a:gd name="T13" fmla="*/ 115 h 115"/>
                  <a:gd name="T14" fmla="*/ 0 w 109"/>
                  <a:gd name="T15" fmla="*/ 0 h 115"/>
                  <a:gd name="T16" fmla="*/ 32 w 109"/>
                  <a:gd name="T17" fmla="*/ 0 h 115"/>
                  <a:gd name="T18" fmla="*/ 32 w 109"/>
                  <a:gd name="T19" fmla="*/ 43 h 115"/>
                  <a:gd name="T20" fmla="*/ 77 w 109"/>
                  <a:gd name="T21" fmla="*/ 43 h 115"/>
                  <a:gd name="T22" fmla="*/ 77 w 109"/>
                  <a:gd name="T23" fmla="*/ 0 h 115"/>
                  <a:gd name="T24" fmla="*/ 109 w 109"/>
                  <a:gd name="T25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9" h="115">
                    <a:moveTo>
                      <a:pt x="109" y="0"/>
                    </a:moveTo>
                    <a:lnTo>
                      <a:pt x="109" y="115"/>
                    </a:lnTo>
                    <a:lnTo>
                      <a:pt x="77" y="115"/>
                    </a:lnTo>
                    <a:lnTo>
                      <a:pt x="77" y="69"/>
                    </a:lnTo>
                    <a:lnTo>
                      <a:pt x="32" y="69"/>
                    </a:lnTo>
                    <a:lnTo>
                      <a:pt x="3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2" y="0"/>
                    </a:lnTo>
                    <a:lnTo>
                      <a:pt x="32" y="43"/>
                    </a:lnTo>
                    <a:lnTo>
                      <a:pt x="77" y="43"/>
                    </a:lnTo>
                    <a:lnTo>
                      <a:pt x="77" y="0"/>
                    </a:lnTo>
                    <a:lnTo>
                      <a:pt x="109" y="0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6">
                <a:extLst>
                  <a:ext uri="{FF2B5EF4-FFF2-40B4-BE49-F238E27FC236}">
                    <a16:creationId xmlns:a16="http://schemas.microsoft.com/office/drawing/2014/main" id="{E47E5154-D73E-450F-B6C0-00D4E826EF86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447341" y="1377950"/>
                <a:ext cx="101600" cy="93662"/>
              </a:xfrm>
              <a:custGeom>
                <a:avLst/>
                <a:gdLst>
                  <a:gd name="T0" fmla="*/ 31 w 128"/>
                  <a:gd name="T1" fmla="*/ 112 h 119"/>
                  <a:gd name="T2" fmla="*/ 21 w 128"/>
                  <a:gd name="T3" fmla="*/ 105 h 119"/>
                  <a:gd name="T4" fmla="*/ 6 w 128"/>
                  <a:gd name="T5" fmla="*/ 87 h 119"/>
                  <a:gd name="T6" fmla="*/ 0 w 128"/>
                  <a:gd name="T7" fmla="*/ 65 h 119"/>
                  <a:gd name="T8" fmla="*/ 2 w 128"/>
                  <a:gd name="T9" fmla="*/ 43 h 119"/>
                  <a:gd name="T10" fmla="*/ 6 w 128"/>
                  <a:gd name="T11" fmla="*/ 32 h 119"/>
                  <a:gd name="T12" fmla="*/ 11 w 128"/>
                  <a:gd name="T13" fmla="*/ 24 h 119"/>
                  <a:gd name="T14" fmla="*/ 23 w 128"/>
                  <a:gd name="T15" fmla="*/ 12 h 119"/>
                  <a:gd name="T16" fmla="*/ 31 w 128"/>
                  <a:gd name="T17" fmla="*/ 7 h 119"/>
                  <a:gd name="T18" fmla="*/ 46 w 128"/>
                  <a:gd name="T19" fmla="*/ 2 h 119"/>
                  <a:gd name="T20" fmla="*/ 64 w 128"/>
                  <a:gd name="T21" fmla="*/ 0 h 119"/>
                  <a:gd name="T22" fmla="*/ 81 w 128"/>
                  <a:gd name="T23" fmla="*/ 2 h 119"/>
                  <a:gd name="T24" fmla="*/ 97 w 128"/>
                  <a:gd name="T25" fmla="*/ 7 h 119"/>
                  <a:gd name="T26" fmla="*/ 102 w 128"/>
                  <a:gd name="T27" fmla="*/ 10 h 119"/>
                  <a:gd name="T28" fmla="*/ 115 w 128"/>
                  <a:gd name="T29" fmla="*/ 22 h 119"/>
                  <a:gd name="T30" fmla="*/ 125 w 128"/>
                  <a:gd name="T31" fmla="*/ 42 h 119"/>
                  <a:gd name="T32" fmla="*/ 128 w 128"/>
                  <a:gd name="T33" fmla="*/ 64 h 119"/>
                  <a:gd name="T34" fmla="*/ 124 w 128"/>
                  <a:gd name="T35" fmla="*/ 81 h 119"/>
                  <a:gd name="T36" fmla="*/ 121 w 128"/>
                  <a:gd name="T37" fmla="*/ 86 h 119"/>
                  <a:gd name="T38" fmla="*/ 111 w 128"/>
                  <a:gd name="T39" fmla="*/ 100 h 119"/>
                  <a:gd name="T40" fmla="*/ 97 w 128"/>
                  <a:gd name="T41" fmla="*/ 112 h 119"/>
                  <a:gd name="T42" fmla="*/ 89 w 128"/>
                  <a:gd name="T43" fmla="*/ 115 h 119"/>
                  <a:gd name="T44" fmla="*/ 72 w 128"/>
                  <a:gd name="T45" fmla="*/ 119 h 119"/>
                  <a:gd name="T46" fmla="*/ 55 w 128"/>
                  <a:gd name="T47" fmla="*/ 119 h 119"/>
                  <a:gd name="T48" fmla="*/ 38 w 128"/>
                  <a:gd name="T49" fmla="*/ 115 h 119"/>
                  <a:gd name="T50" fmla="*/ 31 w 128"/>
                  <a:gd name="T51" fmla="*/ 112 h 119"/>
                  <a:gd name="T52" fmla="*/ 80 w 128"/>
                  <a:gd name="T53" fmla="*/ 87 h 119"/>
                  <a:gd name="T54" fmla="*/ 91 w 128"/>
                  <a:gd name="T55" fmla="*/ 76 h 119"/>
                  <a:gd name="T56" fmla="*/ 94 w 128"/>
                  <a:gd name="T57" fmla="*/ 68 h 119"/>
                  <a:gd name="T58" fmla="*/ 94 w 128"/>
                  <a:gd name="T59" fmla="*/ 50 h 119"/>
                  <a:gd name="T60" fmla="*/ 91 w 128"/>
                  <a:gd name="T61" fmla="*/ 42 h 119"/>
                  <a:gd name="T62" fmla="*/ 80 w 128"/>
                  <a:gd name="T63" fmla="*/ 30 h 119"/>
                  <a:gd name="T64" fmla="*/ 72 w 128"/>
                  <a:gd name="T65" fmla="*/ 27 h 119"/>
                  <a:gd name="T66" fmla="*/ 55 w 128"/>
                  <a:gd name="T67" fmla="*/ 27 h 119"/>
                  <a:gd name="T68" fmla="*/ 47 w 128"/>
                  <a:gd name="T69" fmla="*/ 30 h 119"/>
                  <a:gd name="T70" fmla="*/ 36 w 128"/>
                  <a:gd name="T71" fmla="*/ 42 h 119"/>
                  <a:gd name="T72" fmla="*/ 33 w 128"/>
                  <a:gd name="T73" fmla="*/ 50 h 119"/>
                  <a:gd name="T74" fmla="*/ 33 w 128"/>
                  <a:gd name="T75" fmla="*/ 68 h 119"/>
                  <a:gd name="T76" fmla="*/ 36 w 128"/>
                  <a:gd name="T77" fmla="*/ 76 h 119"/>
                  <a:gd name="T78" fmla="*/ 47 w 128"/>
                  <a:gd name="T79" fmla="*/ 87 h 119"/>
                  <a:gd name="T80" fmla="*/ 55 w 128"/>
                  <a:gd name="T81" fmla="*/ 90 h 119"/>
                  <a:gd name="T82" fmla="*/ 72 w 128"/>
                  <a:gd name="T83" fmla="*/ 90 h 119"/>
                  <a:gd name="T84" fmla="*/ 80 w 128"/>
                  <a:gd name="T85" fmla="*/ 87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28" h="119">
                    <a:moveTo>
                      <a:pt x="31" y="112"/>
                    </a:moveTo>
                    <a:lnTo>
                      <a:pt x="31" y="112"/>
                    </a:lnTo>
                    <a:lnTo>
                      <a:pt x="25" y="109"/>
                    </a:lnTo>
                    <a:lnTo>
                      <a:pt x="21" y="105"/>
                    </a:lnTo>
                    <a:lnTo>
                      <a:pt x="13" y="96"/>
                    </a:lnTo>
                    <a:lnTo>
                      <a:pt x="6" y="87"/>
                    </a:lnTo>
                    <a:lnTo>
                      <a:pt x="2" y="76"/>
                    </a:lnTo>
                    <a:lnTo>
                      <a:pt x="0" y="65"/>
                    </a:lnTo>
                    <a:lnTo>
                      <a:pt x="0" y="54"/>
                    </a:lnTo>
                    <a:lnTo>
                      <a:pt x="2" y="43"/>
                    </a:lnTo>
                    <a:lnTo>
                      <a:pt x="4" y="37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11" y="24"/>
                    </a:lnTo>
                    <a:lnTo>
                      <a:pt x="16" y="18"/>
                    </a:lnTo>
                    <a:lnTo>
                      <a:pt x="23" y="12"/>
                    </a:lnTo>
                    <a:lnTo>
                      <a:pt x="31" y="7"/>
                    </a:lnTo>
                    <a:lnTo>
                      <a:pt x="31" y="7"/>
                    </a:lnTo>
                    <a:lnTo>
                      <a:pt x="38" y="4"/>
                    </a:lnTo>
                    <a:lnTo>
                      <a:pt x="46" y="2"/>
                    </a:lnTo>
                    <a:lnTo>
                      <a:pt x="55" y="0"/>
                    </a:lnTo>
                    <a:lnTo>
                      <a:pt x="64" y="0"/>
                    </a:lnTo>
                    <a:lnTo>
                      <a:pt x="72" y="0"/>
                    </a:lnTo>
                    <a:lnTo>
                      <a:pt x="81" y="2"/>
                    </a:lnTo>
                    <a:lnTo>
                      <a:pt x="89" y="4"/>
                    </a:lnTo>
                    <a:lnTo>
                      <a:pt x="97" y="7"/>
                    </a:lnTo>
                    <a:lnTo>
                      <a:pt x="97" y="7"/>
                    </a:lnTo>
                    <a:lnTo>
                      <a:pt x="102" y="10"/>
                    </a:lnTo>
                    <a:lnTo>
                      <a:pt x="106" y="14"/>
                    </a:lnTo>
                    <a:lnTo>
                      <a:pt x="115" y="22"/>
                    </a:lnTo>
                    <a:lnTo>
                      <a:pt x="121" y="31"/>
                    </a:lnTo>
                    <a:lnTo>
                      <a:pt x="125" y="42"/>
                    </a:lnTo>
                    <a:lnTo>
                      <a:pt x="127" y="53"/>
                    </a:lnTo>
                    <a:lnTo>
                      <a:pt x="128" y="64"/>
                    </a:lnTo>
                    <a:lnTo>
                      <a:pt x="125" y="75"/>
                    </a:lnTo>
                    <a:lnTo>
                      <a:pt x="124" y="81"/>
                    </a:lnTo>
                    <a:lnTo>
                      <a:pt x="121" y="86"/>
                    </a:lnTo>
                    <a:lnTo>
                      <a:pt x="121" y="86"/>
                    </a:lnTo>
                    <a:lnTo>
                      <a:pt x="116" y="94"/>
                    </a:lnTo>
                    <a:lnTo>
                      <a:pt x="111" y="100"/>
                    </a:lnTo>
                    <a:lnTo>
                      <a:pt x="104" y="107"/>
                    </a:lnTo>
                    <a:lnTo>
                      <a:pt x="97" y="112"/>
                    </a:lnTo>
                    <a:lnTo>
                      <a:pt x="97" y="112"/>
                    </a:lnTo>
                    <a:lnTo>
                      <a:pt x="89" y="115"/>
                    </a:lnTo>
                    <a:lnTo>
                      <a:pt x="81" y="117"/>
                    </a:lnTo>
                    <a:lnTo>
                      <a:pt x="72" y="119"/>
                    </a:lnTo>
                    <a:lnTo>
                      <a:pt x="64" y="119"/>
                    </a:lnTo>
                    <a:lnTo>
                      <a:pt x="55" y="119"/>
                    </a:lnTo>
                    <a:lnTo>
                      <a:pt x="46" y="117"/>
                    </a:lnTo>
                    <a:lnTo>
                      <a:pt x="38" y="115"/>
                    </a:lnTo>
                    <a:lnTo>
                      <a:pt x="31" y="112"/>
                    </a:lnTo>
                    <a:lnTo>
                      <a:pt x="31" y="112"/>
                    </a:lnTo>
                    <a:close/>
                    <a:moveTo>
                      <a:pt x="80" y="87"/>
                    </a:moveTo>
                    <a:lnTo>
                      <a:pt x="80" y="87"/>
                    </a:lnTo>
                    <a:lnTo>
                      <a:pt x="86" y="82"/>
                    </a:lnTo>
                    <a:lnTo>
                      <a:pt x="91" y="76"/>
                    </a:lnTo>
                    <a:lnTo>
                      <a:pt x="91" y="76"/>
                    </a:lnTo>
                    <a:lnTo>
                      <a:pt x="94" y="68"/>
                    </a:lnTo>
                    <a:lnTo>
                      <a:pt x="95" y="59"/>
                    </a:lnTo>
                    <a:lnTo>
                      <a:pt x="94" y="50"/>
                    </a:lnTo>
                    <a:lnTo>
                      <a:pt x="91" y="42"/>
                    </a:lnTo>
                    <a:lnTo>
                      <a:pt x="91" y="42"/>
                    </a:lnTo>
                    <a:lnTo>
                      <a:pt x="86" y="35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72" y="27"/>
                    </a:lnTo>
                    <a:lnTo>
                      <a:pt x="64" y="26"/>
                    </a:lnTo>
                    <a:lnTo>
                      <a:pt x="55" y="27"/>
                    </a:lnTo>
                    <a:lnTo>
                      <a:pt x="47" y="30"/>
                    </a:lnTo>
                    <a:lnTo>
                      <a:pt x="47" y="30"/>
                    </a:lnTo>
                    <a:lnTo>
                      <a:pt x="41" y="35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3" y="50"/>
                    </a:lnTo>
                    <a:lnTo>
                      <a:pt x="32" y="59"/>
                    </a:lnTo>
                    <a:lnTo>
                      <a:pt x="33" y="68"/>
                    </a:lnTo>
                    <a:lnTo>
                      <a:pt x="36" y="76"/>
                    </a:lnTo>
                    <a:lnTo>
                      <a:pt x="36" y="76"/>
                    </a:lnTo>
                    <a:lnTo>
                      <a:pt x="41" y="82"/>
                    </a:lnTo>
                    <a:lnTo>
                      <a:pt x="47" y="87"/>
                    </a:lnTo>
                    <a:lnTo>
                      <a:pt x="47" y="87"/>
                    </a:lnTo>
                    <a:lnTo>
                      <a:pt x="55" y="90"/>
                    </a:lnTo>
                    <a:lnTo>
                      <a:pt x="64" y="91"/>
                    </a:lnTo>
                    <a:lnTo>
                      <a:pt x="72" y="90"/>
                    </a:lnTo>
                    <a:lnTo>
                      <a:pt x="80" y="87"/>
                    </a:lnTo>
                    <a:lnTo>
                      <a:pt x="80" y="87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7">
                <a:extLst>
                  <a:ext uri="{FF2B5EF4-FFF2-40B4-BE49-F238E27FC236}">
                    <a16:creationId xmlns:a16="http://schemas.microsoft.com/office/drawing/2014/main" id="{9542929A-8F71-4706-8D07-0D33F5AF8740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564816" y="1379538"/>
                <a:ext cx="84138" cy="90487"/>
              </a:xfrm>
              <a:custGeom>
                <a:avLst/>
                <a:gdLst>
                  <a:gd name="T0" fmla="*/ 99 w 105"/>
                  <a:gd name="T1" fmla="*/ 64 h 115"/>
                  <a:gd name="T2" fmla="*/ 103 w 105"/>
                  <a:gd name="T3" fmla="*/ 72 h 115"/>
                  <a:gd name="T4" fmla="*/ 105 w 105"/>
                  <a:gd name="T5" fmla="*/ 81 h 115"/>
                  <a:gd name="T6" fmla="*/ 104 w 105"/>
                  <a:gd name="T7" fmla="*/ 88 h 115"/>
                  <a:gd name="T8" fmla="*/ 98 w 105"/>
                  <a:gd name="T9" fmla="*/ 101 h 115"/>
                  <a:gd name="T10" fmla="*/ 93 w 105"/>
                  <a:gd name="T11" fmla="*/ 106 h 115"/>
                  <a:gd name="T12" fmla="*/ 77 w 105"/>
                  <a:gd name="T13" fmla="*/ 113 h 115"/>
                  <a:gd name="T14" fmla="*/ 59 w 105"/>
                  <a:gd name="T15" fmla="*/ 115 h 115"/>
                  <a:gd name="T16" fmla="*/ 0 w 105"/>
                  <a:gd name="T17" fmla="*/ 0 h 115"/>
                  <a:gd name="T18" fmla="*/ 56 w 105"/>
                  <a:gd name="T19" fmla="*/ 0 h 115"/>
                  <a:gd name="T20" fmla="*/ 73 w 105"/>
                  <a:gd name="T21" fmla="*/ 2 h 115"/>
                  <a:gd name="T22" fmla="*/ 88 w 105"/>
                  <a:gd name="T23" fmla="*/ 8 h 115"/>
                  <a:gd name="T24" fmla="*/ 93 w 105"/>
                  <a:gd name="T25" fmla="*/ 12 h 115"/>
                  <a:gd name="T26" fmla="*/ 99 w 105"/>
                  <a:gd name="T27" fmla="*/ 23 h 115"/>
                  <a:gd name="T28" fmla="*/ 99 w 105"/>
                  <a:gd name="T29" fmla="*/ 30 h 115"/>
                  <a:gd name="T30" fmla="*/ 95 w 105"/>
                  <a:gd name="T31" fmla="*/ 45 h 115"/>
                  <a:gd name="T32" fmla="*/ 90 w 105"/>
                  <a:gd name="T33" fmla="*/ 50 h 115"/>
                  <a:gd name="T34" fmla="*/ 84 w 105"/>
                  <a:gd name="T35" fmla="*/ 54 h 115"/>
                  <a:gd name="T36" fmla="*/ 92 w 105"/>
                  <a:gd name="T37" fmla="*/ 58 h 115"/>
                  <a:gd name="T38" fmla="*/ 99 w 105"/>
                  <a:gd name="T39" fmla="*/ 64 h 115"/>
                  <a:gd name="T40" fmla="*/ 32 w 105"/>
                  <a:gd name="T41" fmla="*/ 46 h 115"/>
                  <a:gd name="T42" fmla="*/ 53 w 105"/>
                  <a:gd name="T43" fmla="*/ 46 h 115"/>
                  <a:gd name="T44" fmla="*/ 63 w 105"/>
                  <a:gd name="T45" fmla="*/ 43 h 115"/>
                  <a:gd name="T46" fmla="*/ 67 w 105"/>
                  <a:gd name="T47" fmla="*/ 34 h 115"/>
                  <a:gd name="T48" fmla="*/ 66 w 105"/>
                  <a:gd name="T49" fmla="*/ 29 h 115"/>
                  <a:gd name="T50" fmla="*/ 59 w 105"/>
                  <a:gd name="T51" fmla="*/ 24 h 115"/>
                  <a:gd name="T52" fmla="*/ 32 w 105"/>
                  <a:gd name="T53" fmla="*/ 23 h 115"/>
                  <a:gd name="T54" fmla="*/ 72 w 105"/>
                  <a:gd name="T55" fmla="*/ 79 h 115"/>
                  <a:gd name="T56" fmla="*/ 71 w 105"/>
                  <a:gd name="T57" fmla="*/ 74 h 115"/>
                  <a:gd name="T58" fmla="*/ 64 w 105"/>
                  <a:gd name="T59" fmla="*/ 68 h 115"/>
                  <a:gd name="T60" fmla="*/ 32 w 105"/>
                  <a:gd name="T61" fmla="*/ 67 h 115"/>
                  <a:gd name="T62" fmla="*/ 58 w 105"/>
                  <a:gd name="T63" fmla="*/ 91 h 115"/>
                  <a:gd name="T64" fmla="*/ 64 w 105"/>
                  <a:gd name="T65" fmla="*/ 90 h 115"/>
                  <a:gd name="T66" fmla="*/ 71 w 105"/>
                  <a:gd name="T67" fmla="*/ 84 h 115"/>
                  <a:gd name="T68" fmla="*/ 72 w 105"/>
                  <a:gd name="T69" fmla="*/ 79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5" h="115">
                    <a:moveTo>
                      <a:pt x="99" y="64"/>
                    </a:moveTo>
                    <a:lnTo>
                      <a:pt x="99" y="64"/>
                    </a:lnTo>
                    <a:lnTo>
                      <a:pt x="102" y="68"/>
                    </a:lnTo>
                    <a:lnTo>
                      <a:pt x="103" y="72"/>
                    </a:lnTo>
                    <a:lnTo>
                      <a:pt x="104" y="77"/>
                    </a:lnTo>
                    <a:lnTo>
                      <a:pt x="105" y="81"/>
                    </a:lnTo>
                    <a:lnTo>
                      <a:pt x="105" y="81"/>
                    </a:lnTo>
                    <a:lnTo>
                      <a:pt x="104" y="88"/>
                    </a:lnTo>
                    <a:lnTo>
                      <a:pt x="102" y="95"/>
                    </a:lnTo>
                    <a:lnTo>
                      <a:pt x="98" y="101"/>
                    </a:lnTo>
                    <a:lnTo>
                      <a:pt x="93" y="106"/>
                    </a:lnTo>
                    <a:lnTo>
                      <a:pt x="93" y="106"/>
                    </a:lnTo>
                    <a:lnTo>
                      <a:pt x="85" y="110"/>
                    </a:lnTo>
                    <a:lnTo>
                      <a:pt x="77" y="113"/>
                    </a:lnTo>
                    <a:lnTo>
                      <a:pt x="68" y="115"/>
                    </a:lnTo>
                    <a:lnTo>
                      <a:pt x="59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5" y="0"/>
                    </a:lnTo>
                    <a:lnTo>
                      <a:pt x="73" y="2"/>
                    </a:lnTo>
                    <a:lnTo>
                      <a:pt x="81" y="4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93" y="12"/>
                    </a:lnTo>
                    <a:lnTo>
                      <a:pt x="97" y="17"/>
                    </a:lnTo>
                    <a:lnTo>
                      <a:pt x="99" y="23"/>
                    </a:lnTo>
                    <a:lnTo>
                      <a:pt x="99" y="30"/>
                    </a:lnTo>
                    <a:lnTo>
                      <a:pt x="99" y="30"/>
                    </a:lnTo>
                    <a:lnTo>
                      <a:pt x="98" y="37"/>
                    </a:lnTo>
                    <a:lnTo>
                      <a:pt x="95" y="45"/>
                    </a:lnTo>
                    <a:lnTo>
                      <a:pt x="95" y="45"/>
                    </a:lnTo>
                    <a:lnTo>
                      <a:pt x="90" y="50"/>
                    </a:lnTo>
                    <a:lnTo>
                      <a:pt x="84" y="54"/>
                    </a:lnTo>
                    <a:lnTo>
                      <a:pt x="84" y="54"/>
                    </a:lnTo>
                    <a:lnTo>
                      <a:pt x="88" y="56"/>
                    </a:lnTo>
                    <a:lnTo>
                      <a:pt x="92" y="58"/>
                    </a:lnTo>
                    <a:lnTo>
                      <a:pt x="96" y="61"/>
                    </a:lnTo>
                    <a:lnTo>
                      <a:pt x="99" y="64"/>
                    </a:lnTo>
                    <a:lnTo>
                      <a:pt x="99" y="64"/>
                    </a:lnTo>
                    <a:close/>
                    <a:moveTo>
                      <a:pt x="32" y="46"/>
                    </a:moveTo>
                    <a:lnTo>
                      <a:pt x="53" y="46"/>
                    </a:lnTo>
                    <a:lnTo>
                      <a:pt x="53" y="46"/>
                    </a:lnTo>
                    <a:lnTo>
                      <a:pt x="59" y="45"/>
                    </a:lnTo>
                    <a:lnTo>
                      <a:pt x="63" y="43"/>
                    </a:lnTo>
                    <a:lnTo>
                      <a:pt x="66" y="39"/>
                    </a:lnTo>
                    <a:lnTo>
                      <a:pt x="67" y="34"/>
                    </a:lnTo>
                    <a:lnTo>
                      <a:pt x="67" y="34"/>
                    </a:lnTo>
                    <a:lnTo>
                      <a:pt x="66" y="29"/>
                    </a:lnTo>
                    <a:lnTo>
                      <a:pt x="63" y="26"/>
                    </a:lnTo>
                    <a:lnTo>
                      <a:pt x="59" y="24"/>
                    </a:lnTo>
                    <a:lnTo>
                      <a:pt x="53" y="23"/>
                    </a:lnTo>
                    <a:lnTo>
                      <a:pt x="32" y="23"/>
                    </a:lnTo>
                    <a:lnTo>
                      <a:pt x="32" y="46"/>
                    </a:lnTo>
                    <a:close/>
                    <a:moveTo>
                      <a:pt x="72" y="79"/>
                    </a:moveTo>
                    <a:lnTo>
                      <a:pt x="72" y="79"/>
                    </a:lnTo>
                    <a:lnTo>
                      <a:pt x="71" y="74"/>
                    </a:lnTo>
                    <a:lnTo>
                      <a:pt x="69" y="70"/>
                    </a:lnTo>
                    <a:lnTo>
                      <a:pt x="64" y="68"/>
                    </a:lnTo>
                    <a:lnTo>
                      <a:pt x="58" y="67"/>
                    </a:lnTo>
                    <a:lnTo>
                      <a:pt x="32" y="67"/>
                    </a:lnTo>
                    <a:lnTo>
                      <a:pt x="32" y="91"/>
                    </a:lnTo>
                    <a:lnTo>
                      <a:pt x="58" y="91"/>
                    </a:lnTo>
                    <a:lnTo>
                      <a:pt x="58" y="91"/>
                    </a:lnTo>
                    <a:lnTo>
                      <a:pt x="64" y="90"/>
                    </a:lnTo>
                    <a:lnTo>
                      <a:pt x="69" y="88"/>
                    </a:lnTo>
                    <a:lnTo>
                      <a:pt x="71" y="84"/>
                    </a:lnTo>
                    <a:lnTo>
                      <a:pt x="72" y="79"/>
                    </a:lnTo>
                    <a:lnTo>
                      <a:pt x="72" y="79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8">
                <a:extLst>
                  <a:ext uri="{FF2B5EF4-FFF2-40B4-BE49-F238E27FC236}">
                    <a16:creationId xmlns:a16="http://schemas.microsoft.com/office/drawing/2014/main" id="{0711FA31-B336-458B-AE50-EABC3FEF1986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664829" y="1379538"/>
                <a:ext cx="115888" cy="90487"/>
              </a:xfrm>
              <a:custGeom>
                <a:avLst/>
                <a:gdLst>
                  <a:gd name="T0" fmla="*/ 92 w 147"/>
                  <a:gd name="T1" fmla="*/ 46 h 115"/>
                  <a:gd name="T2" fmla="*/ 92 w 147"/>
                  <a:gd name="T3" fmla="*/ 46 h 115"/>
                  <a:gd name="T4" fmla="*/ 97 w 147"/>
                  <a:gd name="T5" fmla="*/ 51 h 115"/>
                  <a:gd name="T6" fmla="*/ 101 w 147"/>
                  <a:gd name="T7" fmla="*/ 58 h 115"/>
                  <a:gd name="T8" fmla="*/ 103 w 147"/>
                  <a:gd name="T9" fmla="*/ 66 h 115"/>
                  <a:gd name="T10" fmla="*/ 103 w 147"/>
                  <a:gd name="T11" fmla="*/ 73 h 115"/>
                  <a:gd name="T12" fmla="*/ 103 w 147"/>
                  <a:gd name="T13" fmla="*/ 73 h 115"/>
                  <a:gd name="T14" fmla="*/ 103 w 147"/>
                  <a:gd name="T15" fmla="*/ 82 h 115"/>
                  <a:gd name="T16" fmla="*/ 100 w 147"/>
                  <a:gd name="T17" fmla="*/ 90 h 115"/>
                  <a:gd name="T18" fmla="*/ 96 w 147"/>
                  <a:gd name="T19" fmla="*/ 97 h 115"/>
                  <a:gd name="T20" fmla="*/ 90 w 147"/>
                  <a:gd name="T21" fmla="*/ 104 h 115"/>
                  <a:gd name="T22" fmla="*/ 90 w 147"/>
                  <a:gd name="T23" fmla="*/ 104 h 115"/>
                  <a:gd name="T24" fmla="*/ 82 w 147"/>
                  <a:gd name="T25" fmla="*/ 109 h 115"/>
                  <a:gd name="T26" fmla="*/ 74 w 147"/>
                  <a:gd name="T27" fmla="*/ 113 h 115"/>
                  <a:gd name="T28" fmla="*/ 65 w 147"/>
                  <a:gd name="T29" fmla="*/ 115 h 115"/>
                  <a:gd name="T30" fmla="*/ 55 w 147"/>
                  <a:gd name="T31" fmla="*/ 115 h 115"/>
                  <a:gd name="T32" fmla="*/ 0 w 147"/>
                  <a:gd name="T33" fmla="*/ 115 h 115"/>
                  <a:gd name="T34" fmla="*/ 0 w 147"/>
                  <a:gd name="T35" fmla="*/ 0 h 115"/>
                  <a:gd name="T36" fmla="*/ 32 w 147"/>
                  <a:gd name="T37" fmla="*/ 0 h 115"/>
                  <a:gd name="T38" fmla="*/ 32 w 147"/>
                  <a:gd name="T39" fmla="*/ 36 h 115"/>
                  <a:gd name="T40" fmla="*/ 59 w 147"/>
                  <a:gd name="T41" fmla="*/ 36 h 115"/>
                  <a:gd name="T42" fmla="*/ 59 w 147"/>
                  <a:gd name="T43" fmla="*/ 36 h 115"/>
                  <a:gd name="T44" fmla="*/ 68 w 147"/>
                  <a:gd name="T45" fmla="*/ 37 h 115"/>
                  <a:gd name="T46" fmla="*/ 76 w 147"/>
                  <a:gd name="T47" fmla="*/ 38 h 115"/>
                  <a:gd name="T48" fmla="*/ 84 w 147"/>
                  <a:gd name="T49" fmla="*/ 41 h 115"/>
                  <a:gd name="T50" fmla="*/ 92 w 147"/>
                  <a:gd name="T51" fmla="*/ 46 h 115"/>
                  <a:gd name="T52" fmla="*/ 92 w 147"/>
                  <a:gd name="T53" fmla="*/ 46 h 115"/>
                  <a:gd name="T54" fmla="*/ 66 w 147"/>
                  <a:gd name="T55" fmla="*/ 86 h 115"/>
                  <a:gd name="T56" fmla="*/ 66 w 147"/>
                  <a:gd name="T57" fmla="*/ 86 h 115"/>
                  <a:gd name="T58" fmla="*/ 68 w 147"/>
                  <a:gd name="T59" fmla="*/ 84 h 115"/>
                  <a:gd name="T60" fmla="*/ 70 w 147"/>
                  <a:gd name="T61" fmla="*/ 81 h 115"/>
                  <a:gd name="T62" fmla="*/ 71 w 147"/>
                  <a:gd name="T63" fmla="*/ 77 h 115"/>
                  <a:gd name="T64" fmla="*/ 71 w 147"/>
                  <a:gd name="T65" fmla="*/ 74 h 115"/>
                  <a:gd name="T66" fmla="*/ 71 w 147"/>
                  <a:gd name="T67" fmla="*/ 74 h 115"/>
                  <a:gd name="T68" fmla="*/ 71 w 147"/>
                  <a:gd name="T69" fmla="*/ 71 h 115"/>
                  <a:gd name="T70" fmla="*/ 70 w 147"/>
                  <a:gd name="T71" fmla="*/ 68 h 115"/>
                  <a:gd name="T72" fmla="*/ 68 w 147"/>
                  <a:gd name="T73" fmla="*/ 65 h 115"/>
                  <a:gd name="T74" fmla="*/ 67 w 147"/>
                  <a:gd name="T75" fmla="*/ 63 h 115"/>
                  <a:gd name="T76" fmla="*/ 64 w 147"/>
                  <a:gd name="T77" fmla="*/ 61 h 115"/>
                  <a:gd name="T78" fmla="*/ 61 w 147"/>
                  <a:gd name="T79" fmla="*/ 60 h 115"/>
                  <a:gd name="T80" fmla="*/ 53 w 147"/>
                  <a:gd name="T81" fmla="*/ 59 h 115"/>
                  <a:gd name="T82" fmla="*/ 32 w 147"/>
                  <a:gd name="T83" fmla="*/ 59 h 115"/>
                  <a:gd name="T84" fmla="*/ 32 w 147"/>
                  <a:gd name="T85" fmla="*/ 91 h 115"/>
                  <a:gd name="T86" fmla="*/ 53 w 147"/>
                  <a:gd name="T87" fmla="*/ 91 h 115"/>
                  <a:gd name="T88" fmla="*/ 53 w 147"/>
                  <a:gd name="T89" fmla="*/ 91 h 115"/>
                  <a:gd name="T90" fmla="*/ 57 w 147"/>
                  <a:gd name="T91" fmla="*/ 91 h 115"/>
                  <a:gd name="T92" fmla="*/ 60 w 147"/>
                  <a:gd name="T93" fmla="*/ 90 h 115"/>
                  <a:gd name="T94" fmla="*/ 63 w 147"/>
                  <a:gd name="T95" fmla="*/ 88 h 115"/>
                  <a:gd name="T96" fmla="*/ 66 w 147"/>
                  <a:gd name="T97" fmla="*/ 86 h 115"/>
                  <a:gd name="T98" fmla="*/ 66 w 147"/>
                  <a:gd name="T99" fmla="*/ 86 h 115"/>
                  <a:gd name="T100" fmla="*/ 116 w 147"/>
                  <a:gd name="T101" fmla="*/ 0 h 115"/>
                  <a:gd name="T102" fmla="*/ 147 w 147"/>
                  <a:gd name="T103" fmla="*/ 0 h 115"/>
                  <a:gd name="T104" fmla="*/ 147 w 147"/>
                  <a:gd name="T105" fmla="*/ 115 h 115"/>
                  <a:gd name="T106" fmla="*/ 116 w 147"/>
                  <a:gd name="T107" fmla="*/ 115 h 115"/>
                  <a:gd name="T108" fmla="*/ 116 w 147"/>
                  <a:gd name="T109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47" h="115">
                    <a:moveTo>
                      <a:pt x="92" y="46"/>
                    </a:moveTo>
                    <a:lnTo>
                      <a:pt x="92" y="46"/>
                    </a:lnTo>
                    <a:lnTo>
                      <a:pt x="97" y="51"/>
                    </a:lnTo>
                    <a:lnTo>
                      <a:pt x="101" y="58"/>
                    </a:lnTo>
                    <a:lnTo>
                      <a:pt x="103" y="66"/>
                    </a:lnTo>
                    <a:lnTo>
                      <a:pt x="103" y="73"/>
                    </a:lnTo>
                    <a:lnTo>
                      <a:pt x="103" y="73"/>
                    </a:lnTo>
                    <a:lnTo>
                      <a:pt x="103" y="82"/>
                    </a:lnTo>
                    <a:lnTo>
                      <a:pt x="100" y="90"/>
                    </a:lnTo>
                    <a:lnTo>
                      <a:pt x="96" y="97"/>
                    </a:lnTo>
                    <a:lnTo>
                      <a:pt x="90" y="104"/>
                    </a:lnTo>
                    <a:lnTo>
                      <a:pt x="90" y="104"/>
                    </a:lnTo>
                    <a:lnTo>
                      <a:pt x="82" y="109"/>
                    </a:lnTo>
                    <a:lnTo>
                      <a:pt x="74" y="113"/>
                    </a:lnTo>
                    <a:lnTo>
                      <a:pt x="65" y="115"/>
                    </a:lnTo>
                    <a:lnTo>
                      <a:pt x="55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2" y="0"/>
                    </a:lnTo>
                    <a:lnTo>
                      <a:pt x="32" y="36"/>
                    </a:lnTo>
                    <a:lnTo>
                      <a:pt x="59" y="36"/>
                    </a:lnTo>
                    <a:lnTo>
                      <a:pt x="59" y="36"/>
                    </a:lnTo>
                    <a:lnTo>
                      <a:pt x="68" y="37"/>
                    </a:lnTo>
                    <a:lnTo>
                      <a:pt x="76" y="38"/>
                    </a:lnTo>
                    <a:lnTo>
                      <a:pt x="84" y="41"/>
                    </a:lnTo>
                    <a:lnTo>
                      <a:pt x="92" y="46"/>
                    </a:lnTo>
                    <a:lnTo>
                      <a:pt x="92" y="46"/>
                    </a:lnTo>
                    <a:close/>
                    <a:moveTo>
                      <a:pt x="66" y="86"/>
                    </a:moveTo>
                    <a:lnTo>
                      <a:pt x="66" y="86"/>
                    </a:lnTo>
                    <a:lnTo>
                      <a:pt x="68" y="84"/>
                    </a:lnTo>
                    <a:lnTo>
                      <a:pt x="70" y="81"/>
                    </a:lnTo>
                    <a:lnTo>
                      <a:pt x="71" y="77"/>
                    </a:lnTo>
                    <a:lnTo>
                      <a:pt x="71" y="74"/>
                    </a:lnTo>
                    <a:lnTo>
                      <a:pt x="71" y="74"/>
                    </a:lnTo>
                    <a:lnTo>
                      <a:pt x="71" y="71"/>
                    </a:lnTo>
                    <a:lnTo>
                      <a:pt x="70" y="68"/>
                    </a:lnTo>
                    <a:lnTo>
                      <a:pt x="68" y="65"/>
                    </a:lnTo>
                    <a:lnTo>
                      <a:pt x="67" y="63"/>
                    </a:lnTo>
                    <a:lnTo>
                      <a:pt x="64" y="61"/>
                    </a:lnTo>
                    <a:lnTo>
                      <a:pt x="61" y="60"/>
                    </a:lnTo>
                    <a:lnTo>
                      <a:pt x="53" y="59"/>
                    </a:lnTo>
                    <a:lnTo>
                      <a:pt x="32" y="59"/>
                    </a:lnTo>
                    <a:lnTo>
                      <a:pt x="32" y="91"/>
                    </a:lnTo>
                    <a:lnTo>
                      <a:pt x="53" y="91"/>
                    </a:lnTo>
                    <a:lnTo>
                      <a:pt x="53" y="91"/>
                    </a:lnTo>
                    <a:lnTo>
                      <a:pt x="57" y="91"/>
                    </a:lnTo>
                    <a:lnTo>
                      <a:pt x="60" y="90"/>
                    </a:lnTo>
                    <a:lnTo>
                      <a:pt x="63" y="88"/>
                    </a:lnTo>
                    <a:lnTo>
                      <a:pt x="66" y="86"/>
                    </a:lnTo>
                    <a:lnTo>
                      <a:pt x="66" y="86"/>
                    </a:lnTo>
                    <a:close/>
                    <a:moveTo>
                      <a:pt x="116" y="0"/>
                    </a:moveTo>
                    <a:lnTo>
                      <a:pt x="147" y="0"/>
                    </a:lnTo>
                    <a:lnTo>
                      <a:pt x="147" y="115"/>
                    </a:lnTo>
                    <a:lnTo>
                      <a:pt x="116" y="115"/>
                    </a:lnTo>
                    <a:lnTo>
                      <a:pt x="116" y="0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9">
                <a:extLst>
                  <a:ext uri="{FF2B5EF4-FFF2-40B4-BE49-F238E27FC236}">
                    <a16:creationId xmlns:a16="http://schemas.microsoft.com/office/drawing/2014/main" id="{D26950EE-728A-4C5B-988B-580316F0727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802941" y="1379538"/>
                <a:ext cx="74613" cy="90487"/>
              </a:xfrm>
              <a:custGeom>
                <a:avLst/>
                <a:gdLst>
                  <a:gd name="T0" fmla="*/ 92 w 92"/>
                  <a:gd name="T1" fmla="*/ 89 h 115"/>
                  <a:gd name="T2" fmla="*/ 92 w 92"/>
                  <a:gd name="T3" fmla="*/ 115 h 115"/>
                  <a:gd name="T4" fmla="*/ 0 w 92"/>
                  <a:gd name="T5" fmla="*/ 115 h 115"/>
                  <a:gd name="T6" fmla="*/ 0 w 92"/>
                  <a:gd name="T7" fmla="*/ 0 h 115"/>
                  <a:gd name="T8" fmla="*/ 90 w 92"/>
                  <a:gd name="T9" fmla="*/ 0 h 115"/>
                  <a:gd name="T10" fmla="*/ 90 w 92"/>
                  <a:gd name="T11" fmla="*/ 25 h 115"/>
                  <a:gd name="T12" fmla="*/ 32 w 92"/>
                  <a:gd name="T13" fmla="*/ 25 h 115"/>
                  <a:gd name="T14" fmla="*/ 32 w 92"/>
                  <a:gd name="T15" fmla="*/ 44 h 115"/>
                  <a:gd name="T16" fmla="*/ 83 w 92"/>
                  <a:gd name="T17" fmla="*/ 44 h 115"/>
                  <a:gd name="T18" fmla="*/ 83 w 92"/>
                  <a:gd name="T19" fmla="*/ 68 h 115"/>
                  <a:gd name="T20" fmla="*/ 32 w 92"/>
                  <a:gd name="T21" fmla="*/ 68 h 115"/>
                  <a:gd name="T22" fmla="*/ 32 w 92"/>
                  <a:gd name="T23" fmla="*/ 89 h 115"/>
                  <a:gd name="T24" fmla="*/ 92 w 92"/>
                  <a:gd name="T25" fmla="*/ 89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2" h="115">
                    <a:moveTo>
                      <a:pt x="92" y="89"/>
                    </a:moveTo>
                    <a:lnTo>
                      <a:pt x="9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25"/>
                    </a:lnTo>
                    <a:lnTo>
                      <a:pt x="32" y="25"/>
                    </a:lnTo>
                    <a:lnTo>
                      <a:pt x="32" y="44"/>
                    </a:lnTo>
                    <a:lnTo>
                      <a:pt x="83" y="44"/>
                    </a:lnTo>
                    <a:lnTo>
                      <a:pt x="83" y="68"/>
                    </a:lnTo>
                    <a:lnTo>
                      <a:pt x="32" y="68"/>
                    </a:lnTo>
                    <a:lnTo>
                      <a:pt x="32" y="89"/>
                    </a:lnTo>
                    <a:lnTo>
                      <a:pt x="92" y="89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10">
                <a:extLst>
                  <a:ext uri="{FF2B5EF4-FFF2-40B4-BE49-F238E27FC236}">
                    <a16:creationId xmlns:a16="http://schemas.microsoft.com/office/drawing/2014/main" id="{43374D1D-3F19-4AC1-A754-9E12D5571C50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934704" y="1379538"/>
                <a:ext cx="82550" cy="90487"/>
              </a:xfrm>
              <a:custGeom>
                <a:avLst/>
                <a:gdLst>
                  <a:gd name="T0" fmla="*/ 99 w 105"/>
                  <a:gd name="T1" fmla="*/ 64 h 115"/>
                  <a:gd name="T2" fmla="*/ 104 w 105"/>
                  <a:gd name="T3" fmla="*/ 72 h 115"/>
                  <a:gd name="T4" fmla="*/ 105 w 105"/>
                  <a:gd name="T5" fmla="*/ 81 h 115"/>
                  <a:gd name="T6" fmla="*/ 104 w 105"/>
                  <a:gd name="T7" fmla="*/ 88 h 115"/>
                  <a:gd name="T8" fmla="*/ 98 w 105"/>
                  <a:gd name="T9" fmla="*/ 101 h 115"/>
                  <a:gd name="T10" fmla="*/ 93 w 105"/>
                  <a:gd name="T11" fmla="*/ 106 h 115"/>
                  <a:gd name="T12" fmla="*/ 78 w 105"/>
                  <a:gd name="T13" fmla="*/ 113 h 115"/>
                  <a:gd name="T14" fmla="*/ 58 w 105"/>
                  <a:gd name="T15" fmla="*/ 115 h 115"/>
                  <a:gd name="T16" fmla="*/ 0 w 105"/>
                  <a:gd name="T17" fmla="*/ 0 h 115"/>
                  <a:gd name="T18" fmla="*/ 55 w 105"/>
                  <a:gd name="T19" fmla="*/ 0 h 115"/>
                  <a:gd name="T20" fmla="*/ 72 w 105"/>
                  <a:gd name="T21" fmla="*/ 2 h 115"/>
                  <a:gd name="T22" fmla="*/ 88 w 105"/>
                  <a:gd name="T23" fmla="*/ 8 h 115"/>
                  <a:gd name="T24" fmla="*/ 93 w 105"/>
                  <a:gd name="T25" fmla="*/ 12 h 115"/>
                  <a:gd name="T26" fmla="*/ 99 w 105"/>
                  <a:gd name="T27" fmla="*/ 23 h 115"/>
                  <a:gd name="T28" fmla="*/ 100 w 105"/>
                  <a:gd name="T29" fmla="*/ 30 h 115"/>
                  <a:gd name="T30" fmla="*/ 96 w 105"/>
                  <a:gd name="T31" fmla="*/ 45 h 115"/>
                  <a:gd name="T32" fmla="*/ 91 w 105"/>
                  <a:gd name="T33" fmla="*/ 50 h 115"/>
                  <a:gd name="T34" fmla="*/ 84 w 105"/>
                  <a:gd name="T35" fmla="*/ 54 h 115"/>
                  <a:gd name="T36" fmla="*/ 93 w 105"/>
                  <a:gd name="T37" fmla="*/ 58 h 115"/>
                  <a:gd name="T38" fmla="*/ 99 w 105"/>
                  <a:gd name="T39" fmla="*/ 64 h 115"/>
                  <a:gd name="T40" fmla="*/ 32 w 105"/>
                  <a:gd name="T41" fmla="*/ 46 h 115"/>
                  <a:gd name="T42" fmla="*/ 52 w 105"/>
                  <a:gd name="T43" fmla="*/ 46 h 115"/>
                  <a:gd name="T44" fmla="*/ 63 w 105"/>
                  <a:gd name="T45" fmla="*/ 43 h 115"/>
                  <a:gd name="T46" fmla="*/ 66 w 105"/>
                  <a:gd name="T47" fmla="*/ 34 h 115"/>
                  <a:gd name="T48" fmla="*/ 65 w 105"/>
                  <a:gd name="T49" fmla="*/ 29 h 115"/>
                  <a:gd name="T50" fmla="*/ 58 w 105"/>
                  <a:gd name="T51" fmla="*/ 24 h 115"/>
                  <a:gd name="T52" fmla="*/ 32 w 105"/>
                  <a:gd name="T53" fmla="*/ 23 h 115"/>
                  <a:gd name="T54" fmla="*/ 71 w 105"/>
                  <a:gd name="T55" fmla="*/ 79 h 115"/>
                  <a:gd name="T56" fmla="*/ 70 w 105"/>
                  <a:gd name="T57" fmla="*/ 74 h 115"/>
                  <a:gd name="T58" fmla="*/ 63 w 105"/>
                  <a:gd name="T59" fmla="*/ 68 h 115"/>
                  <a:gd name="T60" fmla="*/ 32 w 105"/>
                  <a:gd name="T61" fmla="*/ 67 h 115"/>
                  <a:gd name="T62" fmla="*/ 57 w 105"/>
                  <a:gd name="T63" fmla="*/ 91 h 115"/>
                  <a:gd name="T64" fmla="*/ 63 w 105"/>
                  <a:gd name="T65" fmla="*/ 90 h 115"/>
                  <a:gd name="T66" fmla="*/ 70 w 105"/>
                  <a:gd name="T67" fmla="*/ 84 h 115"/>
                  <a:gd name="T68" fmla="*/ 71 w 105"/>
                  <a:gd name="T69" fmla="*/ 79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5" h="115">
                    <a:moveTo>
                      <a:pt x="99" y="64"/>
                    </a:moveTo>
                    <a:lnTo>
                      <a:pt x="99" y="64"/>
                    </a:lnTo>
                    <a:lnTo>
                      <a:pt x="102" y="68"/>
                    </a:lnTo>
                    <a:lnTo>
                      <a:pt x="104" y="72"/>
                    </a:lnTo>
                    <a:lnTo>
                      <a:pt x="105" y="77"/>
                    </a:lnTo>
                    <a:lnTo>
                      <a:pt x="105" y="81"/>
                    </a:lnTo>
                    <a:lnTo>
                      <a:pt x="105" y="81"/>
                    </a:lnTo>
                    <a:lnTo>
                      <a:pt x="104" y="88"/>
                    </a:lnTo>
                    <a:lnTo>
                      <a:pt x="102" y="95"/>
                    </a:lnTo>
                    <a:lnTo>
                      <a:pt x="98" y="101"/>
                    </a:lnTo>
                    <a:lnTo>
                      <a:pt x="93" y="106"/>
                    </a:lnTo>
                    <a:lnTo>
                      <a:pt x="93" y="106"/>
                    </a:lnTo>
                    <a:lnTo>
                      <a:pt x="86" y="110"/>
                    </a:lnTo>
                    <a:lnTo>
                      <a:pt x="78" y="113"/>
                    </a:lnTo>
                    <a:lnTo>
                      <a:pt x="69" y="114"/>
                    </a:lnTo>
                    <a:lnTo>
                      <a:pt x="58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55" y="0"/>
                    </a:lnTo>
                    <a:lnTo>
                      <a:pt x="55" y="0"/>
                    </a:lnTo>
                    <a:lnTo>
                      <a:pt x="64" y="0"/>
                    </a:lnTo>
                    <a:lnTo>
                      <a:pt x="72" y="2"/>
                    </a:lnTo>
                    <a:lnTo>
                      <a:pt x="81" y="4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93" y="12"/>
                    </a:lnTo>
                    <a:lnTo>
                      <a:pt x="97" y="17"/>
                    </a:lnTo>
                    <a:lnTo>
                      <a:pt x="99" y="23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99" y="37"/>
                    </a:lnTo>
                    <a:lnTo>
                      <a:pt x="96" y="45"/>
                    </a:lnTo>
                    <a:lnTo>
                      <a:pt x="96" y="45"/>
                    </a:lnTo>
                    <a:lnTo>
                      <a:pt x="91" y="50"/>
                    </a:lnTo>
                    <a:lnTo>
                      <a:pt x="84" y="54"/>
                    </a:lnTo>
                    <a:lnTo>
                      <a:pt x="84" y="54"/>
                    </a:lnTo>
                    <a:lnTo>
                      <a:pt x="88" y="56"/>
                    </a:lnTo>
                    <a:lnTo>
                      <a:pt x="93" y="58"/>
                    </a:lnTo>
                    <a:lnTo>
                      <a:pt x="96" y="61"/>
                    </a:lnTo>
                    <a:lnTo>
                      <a:pt x="99" y="64"/>
                    </a:lnTo>
                    <a:lnTo>
                      <a:pt x="99" y="64"/>
                    </a:lnTo>
                    <a:close/>
                    <a:moveTo>
                      <a:pt x="32" y="46"/>
                    </a:moveTo>
                    <a:lnTo>
                      <a:pt x="52" y="46"/>
                    </a:lnTo>
                    <a:lnTo>
                      <a:pt x="52" y="46"/>
                    </a:lnTo>
                    <a:lnTo>
                      <a:pt x="58" y="45"/>
                    </a:lnTo>
                    <a:lnTo>
                      <a:pt x="63" y="43"/>
                    </a:lnTo>
                    <a:lnTo>
                      <a:pt x="65" y="39"/>
                    </a:lnTo>
                    <a:lnTo>
                      <a:pt x="66" y="34"/>
                    </a:lnTo>
                    <a:lnTo>
                      <a:pt x="66" y="34"/>
                    </a:lnTo>
                    <a:lnTo>
                      <a:pt x="65" y="29"/>
                    </a:lnTo>
                    <a:lnTo>
                      <a:pt x="63" y="26"/>
                    </a:lnTo>
                    <a:lnTo>
                      <a:pt x="58" y="24"/>
                    </a:lnTo>
                    <a:lnTo>
                      <a:pt x="52" y="23"/>
                    </a:lnTo>
                    <a:lnTo>
                      <a:pt x="32" y="23"/>
                    </a:lnTo>
                    <a:lnTo>
                      <a:pt x="32" y="46"/>
                    </a:lnTo>
                    <a:close/>
                    <a:moveTo>
                      <a:pt x="71" y="79"/>
                    </a:moveTo>
                    <a:lnTo>
                      <a:pt x="71" y="79"/>
                    </a:lnTo>
                    <a:lnTo>
                      <a:pt x="70" y="74"/>
                    </a:lnTo>
                    <a:lnTo>
                      <a:pt x="68" y="70"/>
                    </a:lnTo>
                    <a:lnTo>
                      <a:pt x="63" y="68"/>
                    </a:lnTo>
                    <a:lnTo>
                      <a:pt x="57" y="67"/>
                    </a:lnTo>
                    <a:lnTo>
                      <a:pt x="32" y="67"/>
                    </a:lnTo>
                    <a:lnTo>
                      <a:pt x="32" y="91"/>
                    </a:lnTo>
                    <a:lnTo>
                      <a:pt x="57" y="91"/>
                    </a:lnTo>
                    <a:lnTo>
                      <a:pt x="57" y="91"/>
                    </a:lnTo>
                    <a:lnTo>
                      <a:pt x="63" y="90"/>
                    </a:lnTo>
                    <a:lnTo>
                      <a:pt x="68" y="88"/>
                    </a:lnTo>
                    <a:lnTo>
                      <a:pt x="70" y="84"/>
                    </a:lnTo>
                    <a:lnTo>
                      <a:pt x="71" y="79"/>
                    </a:lnTo>
                    <a:lnTo>
                      <a:pt x="71" y="79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11">
                <a:extLst>
                  <a:ext uri="{FF2B5EF4-FFF2-40B4-BE49-F238E27FC236}">
                    <a16:creationId xmlns:a16="http://schemas.microsoft.com/office/drawing/2014/main" id="{3CF055AF-E48C-418E-A14E-AC7B083D36F3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1033129" y="1379538"/>
                <a:ext cx="119063" cy="90487"/>
              </a:xfrm>
              <a:custGeom>
                <a:avLst/>
                <a:gdLst>
                  <a:gd name="T0" fmla="*/ 92 w 148"/>
                  <a:gd name="T1" fmla="*/ 46 h 115"/>
                  <a:gd name="T2" fmla="*/ 92 w 148"/>
                  <a:gd name="T3" fmla="*/ 46 h 115"/>
                  <a:gd name="T4" fmla="*/ 97 w 148"/>
                  <a:gd name="T5" fmla="*/ 51 h 115"/>
                  <a:gd name="T6" fmla="*/ 101 w 148"/>
                  <a:gd name="T7" fmla="*/ 58 h 115"/>
                  <a:gd name="T8" fmla="*/ 103 w 148"/>
                  <a:gd name="T9" fmla="*/ 66 h 115"/>
                  <a:gd name="T10" fmla="*/ 103 w 148"/>
                  <a:gd name="T11" fmla="*/ 73 h 115"/>
                  <a:gd name="T12" fmla="*/ 103 w 148"/>
                  <a:gd name="T13" fmla="*/ 73 h 115"/>
                  <a:gd name="T14" fmla="*/ 103 w 148"/>
                  <a:gd name="T15" fmla="*/ 82 h 115"/>
                  <a:gd name="T16" fmla="*/ 100 w 148"/>
                  <a:gd name="T17" fmla="*/ 90 h 115"/>
                  <a:gd name="T18" fmla="*/ 96 w 148"/>
                  <a:gd name="T19" fmla="*/ 97 h 115"/>
                  <a:gd name="T20" fmla="*/ 91 w 148"/>
                  <a:gd name="T21" fmla="*/ 104 h 115"/>
                  <a:gd name="T22" fmla="*/ 91 w 148"/>
                  <a:gd name="T23" fmla="*/ 104 h 115"/>
                  <a:gd name="T24" fmla="*/ 83 w 148"/>
                  <a:gd name="T25" fmla="*/ 109 h 115"/>
                  <a:gd name="T26" fmla="*/ 73 w 148"/>
                  <a:gd name="T27" fmla="*/ 113 h 115"/>
                  <a:gd name="T28" fmla="*/ 64 w 148"/>
                  <a:gd name="T29" fmla="*/ 115 h 115"/>
                  <a:gd name="T30" fmla="*/ 54 w 148"/>
                  <a:gd name="T31" fmla="*/ 115 h 115"/>
                  <a:gd name="T32" fmla="*/ 0 w 148"/>
                  <a:gd name="T33" fmla="*/ 115 h 115"/>
                  <a:gd name="T34" fmla="*/ 0 w 148"/>
                  <a:gd name="T35" fmla="*/ 0 h 115"/>
                  <a:gd name="T36" fmla="*/ 32 w 148"/>
                  <a:gd name="T37" fmla="*/ 0 h 115"/>
                  <a:gd name="T38" fmla="*/ 32 w 148"/>
                  <a:gd name="T39" fmla="*/ 36 h 115"/>
                  <a:gd name="T40" fmla="*/ 59 w 148"/>
                  <a:gd name="T41" fmla="*/ 36 h 115"/>
                  <a:gd name="T42" fmla="*/ 59 w 148"/>
                  <a:gd name="T43" fmla="*/ 36 h 115"/>
                  <a:gd name="T44" fmla="*/ 67 w 148"/>
                  <a:gd name="T45" fmla="*/ 37 h 115"/>
                  <a:gd name="T46" fmla="*/ 76 w 148"/>
                  <a:gd name="T47" fmla="*/ 38 h 115"/>
                  <a:gd name="T48" fmla="*/ 85 w 148"/>
                  <a:gd name="T49" fmla="*/ 41 h 115"/>
                  <a:gd name="T50" fmla="*/ 92 w 148"/>
                  <a:gd name="T51" fmla="*/ 46 h 115"/>
                  <a:gd name="T52" fmla="*/ 92 w 148"/>
                  <a:gd name="T53" fmla="*/ 46 h 115"/>
                  <a:gd name="T54" fmla="*/ 65 w 148"/>
                  <a:gd name="T55" fmla="*/ 86 h 115"/>
                  <a:gd name="T56" fmla="*/ 65 w 148"/>
                  <a:gd name="T57" fmla="*/ 86 h 115"/>
                  <a:gd name="T58" fmla="*/ 67 w 148"/>
                  <a:gd name="T59" fmla="*/ 84 h 115"/>
                  <a:gd name="T60" fmla="*/ 69 w 148"/>
                  <a:gd name="T61" fmla="*/ 81 h 115"/>
                  <a:gd name="T62" fmla="*/ 70 w 148"/>
                  <a:gd name="T63" fmla="*/ 77 h 115"/>
                  <a:gd name="T64" fmla="*/ 70 w 148"/>
                  <a:gd name="T65" fmla="*/ 74 h 115"/>
                  <a:gd name="T66" fmla="*/ 70 w 148"/>
                  <a:gd name="T67" fmla="*/ 74 h 115"/>
                  <a:gd name="T68" fmla="*/ 70 w 148"/>
                  <a:gd name="T69" fmla="*/ 71 h 115"/>
                  <a:gd name="T70" fmla="*/ 69 w 148"/>
                  <a:gd name="T71" fmla="*/ 68 h 115"/>
                  <a:gd name="T72" fmla="*/ 68 w 148"/>
                  <a:gd name="T73" fmla="*/ 65 h 115"/>
                  <a:gd name="T74" fmla="*/ 66 w 148"/>
                  <a:gd name="T75" fmla="*/ 63 h 115"/>
                  <a:gd name="T76" fmla="*/ 63 w 148"/>
                  <a:gd name="T77" fmla="*/ 61 h 115"/>
                  <a:gd name="T78" fmla="*/ 60 w 148"/>
                  <a:gd name="T79" fmla="*/ 60 h 115"/>
                  <a:gd name="T80" fmla="*/ 52 w 148"/>
                  <a:gd name="T81" fmla="*/ 59 h 115"/>
                  <a:gd name="T82" fmla="*/ 33 w 148"/>
                  <a:gd name="T83" fmla="*/ 59 h 115"/>
                  <a:gd name="T84" fmla="*/ 33 w 148"/>
                  <a:gd name="T85" fmla="*/ 91 h 115"/>
                  <a:gd name="T86" fmla="*/ 52 w 148"/>
                  <a:gd name="T87" fmla="*/ 91 h 115"/>
                  <a:gd name="T88" fmla="*/ 52 w 148"/>
                  <a:gd name="T89" fmla="*/ 91 h 115"/>
                  <a:gd name="T90" fmla="*/ 56 w 148"/>
                  <a:gd name="T91" fmla="*/ 91 h 115"/>
                  <a:gd name="T92" fmla="*/ 59 w 148"/>
                  <a:gd name="T93" fmla="*/ 90 h 115"/>
                  <a:gd name="T94" fmla="*/ 62 w 148"/>
                  <a:gd name="T95" fmla="*/ 88 h 115"/>
                  <a:gd name="T96" fmla="*/ 65 w 148"/>
                  <a:gd name="T97" fmla="*/ 86 h 115"/>
                  <a:gd name="T98" fmla="*/ 65 w 148"/>
                  <a:gd name="T99" fmla="*/ 86 h 115"/>
                  <a:gd name="T100" fmla="*/ 116 w 148"/>
                  <a:gd name="T101" fmla="*/ 0 h 115"/>
                  <a:gd name="T102" fmla="*/ 148 w 148"/>
                  <a:gd name="T103" fmla="*/ 0 h 115"/>
                  <a:gd name="T104" fmla="*/ 148 w 148"/>
                  <a:gd name="T105" fmla="*/ 115 h 115"/>
                  <a:gd name="T106" fmla="*/ 116 w 148"/>
                  <a:gd name="T107" fmla="*/ 115 h 115"/>
                  <a:gd name="T108" fmla="*/ 116 w 148"/>
                  <a:gd name="T109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48" h="115">
                    <a:moveTo>
                      <a:pt x="92" y="46"/>
                    </a:moveTo>
                    <a:lnTo>
                      <a:pt x="92" y="46"/>
                    </a:lnTo>
                    <a:lnTo>
                      <a:pt x="97" y="51"/>
                    </a:lnTo>
                    <a:lnTo>
                      <a:pt x="101" y="58"/>
                    </a:lnTo>
                    <a:lnTo>
                      <a:pt x="103" y="66"/>
                    </a:lnTo>
                    <a:lnTo>
                      <a:pt x="103" y="73"/>
                    </a:lnTo>
                    <a:lnTo>
                      <a:pt x="103" y="73"/>
                    </a:lnTo>
                    <a:lnTo>
                      <a:pt x="103" y="82"/>
                    </a:lnTo>
                    <a:lnTo>
                      <a:pt x="100" y="90"/>
                    </a:lnTo>
                    <a:lnTo>
                      <a:pt x="96" y="97"/>
                    </a:lnTo>
                    <a:lnTo>
                      <a:pt x="91" y="104"/>
                    </a:lnTo>
                    <a:lnTo>
                      <a:pt x="91" y="104"/>
                    </a:lnTo>
                    <a:lnTo>
                      <a:pt x="83" y="109"/>
                    </a:lnTo>
                    <a:lnTo>
                      <a:pt x="73" y="113"/>
                    </a:lnTo>
                    <a:lnTo>
                      <a:pt x="64" y="115"/>
                    </a:lnTo>
                    <a:lnTo>
                      <a:pt x="54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2" y="0"/>
                    </a:lnTo>
                    <a:lnTo>
                      <a:pt x="32" y="36"/>
                    </a:lnTo>
                    <a:lnTo>
                      <a:pt x="59" y="36"/>
                    </a:lnTo>
                    <a:lnTo>
                      <a:pt x="59" y="36"/>
                    </a:lnTo>
                    <a:lnTo>
                      <a:pt x="67" y="37"/>
                    </a:lnTo>
                    <a:lnTo>
                      <a:pt x="76" y="38"/>
                    </a:lnTo>
                    <a:lnTo>
                      <a:pt x="85" y="41"/>
                    </a:lnTo>
                    <a:lnTo>
                      <a:pt x="92" y="46"/>
                    </a:lnTo>
                    <a:lnTo>
                      <a:pt x="92" y="46"/>
                    </a:lnTo>
                    <a:close/>
                    <a:moveTo>
                      <a:pt x="65" y="86"/>
                    </a:moveTo>
                    <a:lnTo>
                      <a:pt x="65" y="86"/>
                    </a:lnTo>
                    <a:lnTo>
                      <a:pt x="67" y="84"/>
                    </a:lnTo>
                    <a:lnTo>
                      <a:pt x="69" y="81"/>
                    </a:lnTo>
                    <a:lnTo>
                      <a:pt x="70" y="77"/>
                    </a:lnTo>
                    <a:lnTo>
                      <a:pt x="70" y="74"/>
                    </a:lnTo>
                    <a:lnTo>
                      <a:pt x="70" y="74"/>
                    </a:lnTo>
                    <a:lnTo>
                      <a:pt x="70" y="71"/>
                    </a:lnTo>
                    <a:lnTo>
                      <a:pt x="69" y="68"/>
                    </a:lnTo>
                    <a:lnTo>
                      <a:pt x="68" y="65"/>
                    </a:lnTo>
                    <a:lnTo>
                      <a:pt x="66" y="63"/>
                    </a:lnTo>
                    <a:lnTo>
                      <a:pt x="63" y="61"/>
                    </a:lnTo>
                    <a:lnTo>
                      <a:pt x="60" y="60"/>
                    </a:lnTo>
                    <a:lnTo>
                      <a:pt x="52" y="59"/>
                    </a:lnTo>
                    <a:lnTo>
                      <a:pt x="33" y="59"/>
                    </a:lnTo>
                    <a:lnTo>
                      <a:pt x="33" y="91"/>
                    </a:lnTo>
                    <a:lnTo>
                      <a:pt x="52" y="91"/>
                    </a:lnTo>
                    <a:lnTo>
                      <a:pt x="52" y="91"/>
                    </a:lnTo>
                    <a:lnTo>
                      <a:pt x="56" y="91"/>
                    </a:lnTo>
                    <a:lnTo>
                      <a:pt x="59" y="90"/>
                    </a:lnTo>
                    <a:lnTo>
                      <a:pt x="62" y="88"/>
                    </a:lnTo>
                    <a:lnTo>
                      <a:pt x="65" y="86"/>
                    </a:lnTo>
                    <a:lnTo>
                      <a:pt x="65" y="86"/>
                    </a:lnTo>
                    <a:close/>
                    <a:moveTo>
                      <a:pt x="116" y="0"/>
                    </a:moveTo>
                    <a:lnTo>
                      <a:pt x="148" y="0"/>
                    </a:lnTo>
                    <a:lnTo>
                      <a:pt x="148" y="115"/>
                    </a:lnTo>
                    <a:lnTo>
                      <a:pt x="116" y="115"/>
                    </a:lnTo>
                    <a:lnTo>
                      <a:pt x="116" y="0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12">
                <a:extLst>
                  <a:ext uri="{FF2B5EF4-FFF2-40B4-BE49-F238E27FC236}">
                    <a16:creationId xmlns:a16="http://schemas.microsoft.com/office/drawing/2014/main" id="{C50EC334-BA71-4F10-BFBD-56881CEA22E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166479" y="1376363"/>
                <a:ext cx="79375" cy="95250"/>
              </a:xfrm>
              <a:custGeom>
                <a:avLst/>
                <a:gdLst>
                  <a:gd name="T0" fmla="*/ 96 w 101"/>
                  <a:gd name="T1" fmla="*/ 68 h 120"/>
                  <a:gd name="T2" fmla="*/ 100 w 101"/>
                  <a:gd name="T3" fmla="*/ 76 h 120"/>
                  <a:gd name="T4" fmla="*/ 101 w 101"/>
                  <a:gd name="T5" fmla="*/ 85 h 120"/>
                  <a:gd name="T6" fmla="*/ 101 w 101"/>
                  <a:gd name="T7" fmla="*/ 90 h 120"/>
                  <a:gd name="T8" fmla="*/ 97 w 101"/>
                  <a:gd name="T9" fmla="*/ 99 h 120"/>
                  <a:gd name="T10" fmla="*/ 94 w 101"/>
                  <a:gd name="T11" fmla="*/ 104 h 120"/>
                  <a:gd name="T12" fmla="*/ 85 w 101"/>
                  <a:gd name="T13" fmla="*/ 111 h 120"/>
                  <a:gd name="T14" fmla="*/ 75 w 101"/>
                  <a:gd name="T15" fmla="*/ 116 h 120"/>
                  <a:gd name="T16" fmla="*/ 61 w 101"/>
                  <a:gd name="T17" fmla="*/ 119 h 120"/>
                  <a:gd name="T18" fmla="*/ 48 w 101"/>
                  <a:gd name="T19" fmla="*/ 120 h 120"/>
                  <a:gd name="T20" fmla="*/ 23 w 101"/>
                  <a:gd name="T21" fmla="*/ 118 h 120"/>
                  <a:gd name="T22" fmla="*/ 12 w 101"/>
                  <a:gd name="T23" fmla="*/ 114 h 120"/>
                  <a:gd name="T24" fmla="*/ 10 w 101"/>
                  <a:gd name="T25" fmla="*/ 86 h 120"/>
                  <a:gd name="T26" fmla="*/ 18 w 101"/>
                  <a:gd name="T27" fmla="*/ 89 h 120"/>
                  <a:gd name="T28" fmla="*/ 26 w 101"/>
                  <a:gd name="T29" fmla="*/ 92 h 120"/>
                  <a:gd name="T30" fmla="*/ 44 w 101"/>
                  <a:gd name="T31" fmla="*/ 94 h 120"/>
                  <a:gd name="T32" fmla="*/ 53 w 101"/>
                  <a:gd name="T33" fmla="*/ 93 h 120"/>
                  <a:gd name="T34" fmla="*/ 62 w 101"/>
                  <a:gd name="T35" fmla="*/ 90 h 120"/>
                  <a:gd name="T36" fmla="*/ 67 w 101"/>
                  <a:gd name="T37" fmla="*/ 86 h 120"/>
                  <a:gd name="T38" fmla="*/ 69 w 101"/>
                  <a:gd name="T39" fmla="*/ 80 h 120"/>
                  <a:gd name="T40" fmla="*/ 68 w 101"/>
                  <a:gd name="T41" fmla="*/ 78 h 120"/>
                  <a:gd name="T42" fmla="*/ 66 w 101"/>
                  <a:gd name="T43" fmla="*/ 74 h 120"/>
                  <a:gd name="T44" fmla="*/ 64 w 101"/>
                  <a:gd name="T45" fmla="*/ 73 h 120"/>
                  <a:gd name="T46" fmla="*/ 53 w 101"/>
                  <a:gd name="T47" fmla="*/ 70 h 120"/>
                  <a:gd name="T48" fmla="*/ 23 w 101"/>
                  <a:gd name="T49" fmla="*/ 47 h 120"/>
                  <a:gd name="T50" fmla="*/ 50 w 101"/>
                  <a:gd name="T51" fmla="*/ 47 h 120"/>
                  <a:gd name="T52" fmla="*/ 60 w 101"/>
                  <a:gd name="T53" fmla="*/ 44 h 120"/>
                  <a:gd name="T54" fmla="*/ 63 w 101"/>
                  <a:gd name="T55" fmla="*/ 41 h 120"/>
                  <a:gd name="T56" fmla="*/ 64 w 101"/>
                  <a:gd name="T57" fmla="*/ 37 h 120"/>
                  <a:gd name="T58" fmla="*/ 62 w 101"/>
                  <a:gd name="T59" fmla="*/ 32 h 120"/>
                  <a:gd name="T60" fmla="*/ 58 w 101"/>
                  <a:gd name="T61" fmla="*/ 29 h 120"/>
                  <a:gd name="T62" fmla="*/ 51 w 101"/>
                  <a:gd name="T63" fmla="*/ 26 h 120"/>
                  <a:gd name="T64" fmla="*/ 44 w 101"/>
                  <a:gd name="T65" fmla="*/ 26 h 120"/>
                  <a:gd name="T66" fmla="*/ 28 w 101"/>
                  <a:gd name="T67" fmla="*/ 28 h 120"/>
                  <a:gd name="T68" fmla="*/ 20 w 101"/>
                  <a:gd name="T69" fmla="*/ 30 h 120"/>
                  <a:gd name="T70" fmla="*/ 3 w 101"/>
                  <a:gd name="T71" fmla="*/ 9 h 120"/>
                  <a:gd name="T72" fmla="*/ 13 w 101"/>
                  <a:gd name="T73" fmla="*/ 5 h 120"/>
                  <a:gd name="T74" fmla="*/ 33 w 101"/>
                  <a:gd name="T75" fmla="*/ 1 h 120"/>
                  <a:gd name="T76" fmla="*/ 44 w 101"/>
                  <a:gd name="T77" fmla="*/ 0 h 120"/>
                  <a:gd name="T78" fmla="*/ 70 w 101"/>
                  <a:gd name="T79" fmla="*/ 4 h 120"/>
                  <a:gd name="T80" fmla="*/ 75 w 101"/>
                  <a:gd name="T81" fmla="*/ 6 h 120"/>
                  <a:gd name="T82" fmla="*/ 85 w 101"/>
                  <a:gd name="T83" fmla="*/ 12 h 120"/>
                  <a:gd name="T84" fmla="*/ 89 w 101"/>
                  <a:gd name="T85" fmla="*/ 16 h 120"/>
                  <a:gd name="T86" fmla="*/ 95 w 101"/>
                  <a:gd name="T87" fmla="*/ 24 h 120"/>
                  <a:gd name="T88" fmla="*/ 96 w 101"/>
                  <a:gd name="T89" fmla="*/ 34 h 120"/>
                  <a:gd name="T90" fmla="*/ 95 w 101"/>
                  <a:gd name="T91" fmla="*/ 41 h 120"/>
                  <a:gd name="T92" fmla="*/ 92 w 101"/>
                  <a:gd name="T93" fmla="*/ 48 h 120"/>
                  <a:gd name="T94" fmla="*/ 81 w 101"/>
                  <a:gd name="T95" fmla="*/ 58 h 120"/>
                  <a:gd name="T96" fmla="*/ 85 w 101"/>
                  <a:gd name="T97" fmla="*/ 59 h 120"/>
                  <a:gd name="T98" fmla="*/ 93 w 101"/>
                  <a:gd name="T99" fmla="*/ 65 h 120"/>
                  <a:gd name="T100" fmla="*/ 96 w 101"/>
                  <a:gd name="T101" fmla="*/ 68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01" h="120">
                    <a:moveTo>
                      <a:pt x="96" y="68"/>
                    </a:moveTo>
                    <a:lnTo>
                      <a:pt x="96" y="68"/>
                    </a:lnTo>
                    <a:lnTo>
                      <a:pt x="98" y="72"/>
                    </a:lnTo>
                    <a:lnTo>
                      <a:pt x="100" y="76"/>
                    </a:lnTo>
                    <a:lnTo>
                      <a:pt x="101" y="80"/>
                    </a:lnTo>
                    <a:lnTo>
                      <a:pt x="101" y="85"/>
                    </a:lnTo>
                    <a:lnTo>
                      <a:pt x="101" y="85"/>
                    </a:lnTo>
                    <a:lnTo>
                      <a:pt x="101" y="90"/>
                    </a:lnTo>
                    <a:lnTo>
                      <a:pt x="99" y="95"/>
                    </a:lnTo>
                    <a:lnTo>
                      <a:pt x="97" y="99"/>
                    </a:lnTo>
                    <a:lnTo>
                      <a:pt x="94" y="104"/>
                    </a:lnTo>
                    <a:lnTo>
                      <a:pt x="94" y="104"/>
                    </a:lnTo>
                    <a:lnTo>
                      <a:pt x="90" y="108"/>
                    </a:lnTo>
                    <a:lnTo>
                      <a:pt x="85" y="111"/>
                    </a:lnTo>
                    <a:lnTo>
                      <a:pt x="80" y="114"/>
                    </a:lnTo>
                    <a:lnTo>
                      <a:pt x="75" y="116"/>
                    </a:lnTo>
                    <a:lnTo>
                      <a:pt x="75" y="116"/>
                    </a:lnTo>
                    <a:lnTo>
                      <a:pt x="61" y="119"/>
                    </a:lnTo>
                    <a:lnTo>
                      <a:pt x="48" y="120"/>
                    </a:lnTo>
                    <a:lnTo>
                      <a:pt x="48" y="120"/>
                    </a:lnTo>
                    <a:lnTo>
                      <a:pt x="35" y="120"/>
                    </a:lnTo>
                    <a:lnTo>
                      <a:pt x="23" y="118"/>
                    </a:lnTo>
                    <a:lnTo>
                      <a:pt x="23" y="118"/>
                    </a:lnTo>
                    <a:lnTo>
                      <a:pt x="12" y="114"/>
                    </a:lnTo>
                    <a:lnTo>
                      <a:pt x="0" y="109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8" y="89"/>
                    </a:lnTo>
                    <a:lnTo>
                      <a:pt x="26" y="92"/>
                    </a:lnTo>
                    <a:lnTo>
                      <a:pt x="26" y="92"/>
                    </a:lnTo>
                    <a:lnTo>
                      <a:pt x="35" y="93"/>
                    </a:lnTo>
                    <a:lnTo>
                      <a:pt x="44" y="94"/>
                    </a:lnTo>
                    <a:lnTo>
                      <a:pt x="44" y="94"/>
                    </a:lnTo>
                    <a:lnTo>
                      <a:pt x="53" y="93"/>
                    </a:lnTo>
                    <a:lnTo>
                      <a:pt x="62" y="90"/>
                    </a:lnTo>
                    <a:lnTo>
                      <a:pt x="62" y="90"/>
                    </a:lnTo>
                    <a:lnTo>
                      <a:pt x="64" y="89"/>
                    </a:lnTo>
                    <a:lnTo>
                      <a:pt x="67" y="86"/>
                    </a:lnTo>
                    <a:lnTo>
                      <a:pt x="68" y="84"/>
                    </a:lnTo>
                    <a:lnTo>
                      <a:pt x="69" y="80"/>
                    </a:lnTo>
                    <a:lnTo>
                      <a:pt x="69" y="80"/>
                    </a:lnTo>
                    <a:lnTo>
                      <a:pt x="68" y="78"/>
                    </a:lnTo>
                    <a:lnTo>
                      <a:pt x="67" y="76"/>
                    </a:lnTo>
                    <a:lnTo>
                      <a:pt x="66" y="74"/>
                    </a:lnTo>
                    <a:lnTo>
                      <a:pt x="64" y="73"/>
                    </a:lnTo>
                    <a:lnTo>
                      <a:pt x="64" y="73"/>
                    </a:lnTo>
                    <a:lnTo>
                      <a:pt x="59" y="71"/>
                    </a:lnTo>
                    <a:lnTo>
                      <a:pt x="53" y="70"/>
                    </a:lnTo>
                    <a:lnTo>
                      <a:pt x="23" y="70"/>
                    </a:lnTo>
                    <a:lnTo>
                      <a:pt x="23" y="47"/>
                    </a:lnTo>
                    <a:lnTo>
                      <a:pt x="50" y="47"/>
                    </a:lnTo>
                    <a:lnTo>
                      <a:pt x="50" y="47"/>
                    </a:lnTo>
                    <a:lnTo>
                      <a:pt x="55" y="46"/>
                    </a:lnTo>
                    <a:lnTo>
                      <a:pt x="60" y="44"/>
                    </a:lnTo>
                    <a:lnTo>
                      <a:pt x="60" y="44"/>
                    </a:lnTo>
                    <a:lnTo>
                      <a:pt x="63" y="41"/>
                    </a:lnTo>
                    <a:lnTo>
                      <a:pt x="64" y="37"/>
                    </a:lnTo>
                    <a:lnTo>
                      <a:pt x="64" y="37"/>
                    </a:lnTo>
                    <a:lnTo>
                      <a:pt x="63" y="35"/>
                    </a:lnTo>
                    <a:lnTo>
                      <a:pt x="62" y="32"/>
                    </a:lnTo>
                    <a:lnTo>
                      <a:pt x="61" y="30"/>
                    </a:lnTo>
                    <a:lnTo>
                      <a:pt x="58" y="29"/>
                    </a:lnTo>
                    <a:lnTo>
                      <a:pt x="58" y="29"/>
                    </a:lnTo>
                    <a:lnTo>
                      <a:pt x="51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35" y="26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0" y="30"/>
                    </a:lnTo>
                    <a:lnTo>
                      <a:pt x="13" y="34"/>
                    </a:lnTo>
                    <a:lnTo>
                      <a:pt x="3" y="9"/>
                    </a:lnTo>
                    <a:lnTo>
                      <a:pt x="3" y="9"/>
                    </a:lnTo>
                    <a:lnTo>
                      <a:pt x="13" y="5"/>
                    </a:lnTo>
                    <a:lnTo>
                      <a:pt x="23" y="2"/>
                    </a:lnTo>
                    <a:lnTo>
                      <a:pt x="33" y="1"/>
                    </a:lnTo>
                    <a:lnTo>
                      <a:pt x="44" y="0"/>
                    </a:lnTo>
                    <a:lnTo>
                      <a:pt x="44" y="0"/>
                    </a:lnTo>
                    <a:lnTo>
                      <a:pt x="57" y="1"/>
                    </a:lnTo>
                    <a:lnTo>
                      <a:pt x="70" y="4"/>
                    </a:lnTo>
                    <a:lnTo>
                      <a:pt x="70" y="4"/>
                    </a:lnTo>
                    <a:lnTo>
                      <a:pt x="75" y="6"/>
                    </a:lnTo>
                    <a:lnTo>
                      <a:pt x="80" y="9"/>
                    </a:lnTo>
                    <a:lnTo>
                      <a:pt x="85" y="12"/>
                    </a:lnTo>
                    <a:lnTo>
                      <a:pt x="89" y="16"/>
                    </a:lnTo>
                    <a:lnTo>
                      <a:pt x="89" y="16"/>
                    </a:lnTo>
                    <a:lnTo>
                      <a:pt x="92" y="20"/>
                    </a:lnTo>
                    <a:lnTo>
                      <a:pt x="95" y="24"/>
                    </a:lnTo>
                    <a:lnTo>
                      <a:pt x="96" y="29"/>
                    </a:lnTo>
                    <a:lnTo>
                      <a:pt x="96" y="34"/>
                    </a:lnTo>
                    <a:lnTo>
                      <a:pt x="96" y="34"/>
                    </a:lnTo>
                    <a:lnTo>
                      <a:pt x="95" y="41"/>
                    </a:lnTo>
                    <a:lnTo>
                      <a:pt x="92" y="48"/>
                    </a:lnTo>
                    <a:lnTo>
                      <a:pt x="92" y="48"/>
                    </a:lnTo>
                    <a:lnTo>
                      <a:pt x="87" y="53"/>
                    </a:lnTo>
                    <a:lnTo>
                      <a:pt x="81" y="58"/>
                    </a:lnTo>
                    <a:lnTo>
                      <a:pt x="81" y="58"/>
                    </a:lnTo>
                    <a:lnTo>
                      <a:pt x="85" y="59"/>
                    </a:lnTo>
                    <a:lnTo>
                      <a:pt x="89" y="62"/>
                    </a:lnTo>
                    <a:lnTo>
                      <a:pt x="93" y="65"/>
                    </a:lnTo>
                    <a:lnTo>
                      <a:pt x="96" y="68"/>
                    </a:lnTo>
                    <a:lnTo>
                      <a:pt x="96" y="68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13">
                <a:extLst>
                  <a:ext uri="{FF2B5EF4-FFF2-40B4-BE49-F238E27FC236}">
                    <a16:creationId xmlns:a16="http://schemas.microsoft.com/office/drawing/2014/main" id="{43AB1EBB-5751-4569-AFDC-FEC6EACC6EE9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1256966" y="1377950"/>
                <a:ext cx="101600" cy="93662"/>
              </a:xfrm>
              <a:custGeom>
                <a:avLst/>
                <a:gdLst>
                  <a:gd name="T0" fmla="*/ 31 w 128"/>
                  <a:gd name="T1" fmla="*/ 112 h 119"/>
                  <a:gd name="T2" fmla="*/ 21 w 128"/>
                  <a:gd name="T3" fmla="*/ 105 h 119"/>
                  <a:gd name="T4" fmla="*/ 7 w 128"/>
                  <a:gd name="T5" fmla="*/ 87 h 119"/>
                  <a:gd name="T6" fmla="*/ 0 w 128"/>
                  <a:gd name="T7" fmla="*/ 65 h 119"/>
                  <a:gd name="T8" fmla="*/ 2 w 128"/>
                  <a:gd name="T9" fmla="*/ 43 h 119"/>
                  <a:gd name="T10" fmla="*/ 7 w 128"/>
                  <a:gd name="T11" fmla="*/ 32 h 119"/>
                  <a:gd name="T12" fmla="*/ 11 w 128"/>
                  <a:gd name="T13" fmla="*/ 24 h 119"/>
                  <a:gd name="T14" fmla="*/ 24 w 128"/>
                  <a:gd name="T15" fmla="*/ 12 h 119"/>
                  <a:gd name="T16" fmla="*/ 31 w 128"/>
                  <a:gd name="T17" fmla="*/ 7 h 119"/>
                  <a:gd name="T18" fmla="*/ 47 w 128"/>
                  <a:gd name="T19" fmla="*/ 2 h 119"/>
                  <a:gd name="T20" fmla="*/ 65 w 128"/>
                  <a:gd name="T21" fmla="*/ 0 h 119"/>
                  <a:gd name="T22" fmla="*/ 81 w 128"/>
                  <a:gd name="T23" fmla="*/ 2 h 119"/>
                  <a:gd name="T24" fmla="*/ 97 w 128"/>
                  <a:gd name="T25" fmla="*/ 7 h 119"/>
                  <a:gd name="T26" fmla="*/ 102 w 128"/>
                  <a:gd name="T27" fmla="*/ 10 h 119"/>
                  <a:gd name="T28" fmla="*/ 115 w 128"/>
                  <a:gd name="T29" fmla="*/ 22 h 119"/>
                  <a:gd name="T30" fmla="*/ 126 w 128"/>
                  <a:gd name="T31" fmla="*/ 42 h 119"/>
                  <a:gd name="T32" fmla="*/ 128 w 128"/>
                  <a:gd name="T33" fmla="*/ 64 h 119"/>
                  <a:gd name="T34" fmla="*/ 124 w 128"/>
                  <a:gd name="T35" fmla="*/ 81 h 119"/>
                  <a:gd name="T36" fmla="*/ 122 w 128"/>
                  <a:gd name="T37" fmla="*/ 86 h 119"/>
                  <a:gd name="T38" fmla="*/ 111 w 128"/>
                  <a:gd name="T39" fmla="*/ 100 h 119"/>
                  <a:gd name="T40" fmla="*/ 97 w 128"/>
                  <a:gd name="T41" fmla="*/ 112 h 119"/>
                  <a:gd name="T42" fmla="*/ 89 w 128"/>
                  <a:gd name="T43" fmla="*/ 115 h 119"/>
                  <a:gd name="T44" fmla="*/ 73 w 128"/>
                  <a:gd name="T45" fmla="*/ 119 h 119"/>
                  <a:gd name="T46" fmla="*/ 56 w 128"/>
                  <a:gd name="T47" fmla="*/ 119 h 119"/>
                  <a:gd name="T48" fmla="*/ 39 w 128"/>
                  <a:gd name="T49" fmla="*/ 115 h 119"/>
                  <a:gd name="T50" fmla="*/ 31 w 128"/>
                  <a:gd name="T51" fmla="*/ 112 h 119"/>
                  <a:gd name="T52" fmla="*/ 80 w 128"/>
                  <a:gd name="T53" fmla="*/ 87 h 119"/>
                  <a:gd name="T54" fmla="*/ 91 w 128"/>
                  <a:gd name="T55" fmla="*/ 76 h 119"/>
                  <a:gd name="T56" fmla="*/ 94 w 128"/>
                  <a:gd name="T57" fmla="*/ 68 h 119"/>
                  <a:gd name="T58" fmla="*/ 94 w 128"/>
                  <a:gd name="T59" fmla="*/ 50 h 119"/>
                  <a:gd name="T60" fmla="*/ 91 w 128"/>
                  <a:gd name="T61" fmla="*/ 42 h 119"/>
                  <a:gd name="T62" fmla="*/ 80 w 128"/>
                  <a:gd name="T63" fmla="*/ 30 h 119"/>
                  <a:gd name="T64" fmla="*/ 73 w 128"/>
                  <a:gd name="T65" fmla="*/ 27 h 119"/>
                  <a:gd name="T66" fmla="*/ 57 w 128"/>
                  <a:gd name="T67" fmla="*/ 27 h 119"/>
                  <a:gd name="T68" fmla="*/ 48 w 128"/>
                  <a:gd name="T69" fmla="*/ 30 h 119"/>
                  <a:gd name="T70" fmla="*/ 37 w 128"/>
                  <a:gd name="T71" fmla="*/ 42 h 119"/>
                  <a:gd name="T72" fmla="*/ 34 w 128"/>
                  <a:gd name="T73" fmla="*/ 50 h 119"/>
                  <a:gd name="T74" fmla="*/ 34 w 128"/>
                  <a:gd name="T75" fmla="*/ 68 h 119"/>
                  <a:gd name="T76" fmla="*/ 37 w 128"/>
                  <a:gd name="T77" fmla="*/ 76 h 119"/>
                  <a:gd name="T78" fmla="*/ 48 w 128"/>
                  <a:gd name="T79" fmla="*/ 87 h 119"/>
                  <a:gd name="T80" fmla="*/ 57 w 128"/>
                  <a:gd name="T81" fmla="*/ 90 h 119"/>
                  <a:gd name="T82" fmla="*/ 73 w 128"/>
                  <a:gd name="T83" fmla="*/ 90 h 119"/>
                  <a:gd name="T84" fmla="*/ 80 w 128"/>
                  <a:gd name="T85" fmla="*/ 87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28" h="119">
                    <a:moveTo>
                      <a:pt x="31" y="112"/>
                    </a:moveTo>
                    <a:lnTo>
                      <a:pt x="31" y="112"/>
                    </a:lnTo>
                    <a:lnTo>
                      <a:pt x="26" y="109"/>
                    </a:lnTo>
                    <a:lnTo>
                      <a:pt x="21" y="105"/>
                    </a:lnTo>
                    <a:lnTo>
                      <a:pt x="13" y="96"/>
                    </a:lnTo>
                    <a:lnTo>
                      <a:pt x="7" y="87"/>
                    </a:lnTo>
                    <a:lnTo>
                      <a:pt x="3" y="76"/>
                    </a:lnTo>
                    <a:lnTo>
                      <a:pt x="0" y="65"/>
                    </a:lnTo>
                    <a:lnTo>
                      <a:pt x="0" y="54"/>
                    </a:lnTo>
                    <a:lnTo>
                      <a:pt x="2" y="43"/>
                    </a:lnTo>
                    <a:lnTo>
                      <a:pt x="4" y="37"/>
                    </a:lnTo>
                    <a:lnTo>
                      <a:pt x="7" y="32"/>
                    </a:lnTo>
                    <a:lnTo>
                      <a:pt x="7" y="32"/>
                    </a:lnTo>
                    <a:lnTo>
                      <a:pt x="11" y="24"/>
                    </a:lnTo>
                    <a:lnTo>
                      <a:pt x="17" y="18"/>
                    </a:lnTo>
                    <a:lnTo>
                      <a:pt x="24" y="12"/>
                    </a:lnTo>
                    <a:lnTo>
                      <a:pt x="31" y="7"/>
                    </a:lnTo>
                    <a:lnTo>
                      <a:pt x="31" y="7"/>
                    </a:lnTo>
                    <a:lnTo>
                      <a:pt x="39" y="4"/>
                    </a:lnTo>
                    <a:lnTo>
                      <a:pt x="47" y="2"/>
                    </a:lnTo>
                    <a:lnTo>
                      <a:pt x="56" y="0"/>
                    </a:lnTo>
                    <a:lnTo>
                      <a:pt x="65" y="0"/>
                    </a:lnTo>
                    <a:lnTo>
                      <a:pt x="73" y="0"/>
                    </a:lnTo>
                    <a:lnTo>
                      <a:pt x="81" y="2"/>
                    </a:lnTo>
                    <a:lnTo>
                      <a:pt x="89" y="4"/>
                    </a:lnTo>
                    <a:lnTo>
                      <a:pt x="97" y="7"/>
                    </a:lnTo>
                    <a:lnTo>
                      <a:pt x="97" y="7"/>
                    </a:lnTo>
                    <a:lnTo>
                      <a:pt x="102" y="10"/>
                    </a:lnTo>
                    <a:lnTo>
                      <a:pt x="107" y="14"/>
                    </a:lnTo>
                    <a:lnTo>
                      <a:pt x="115" y="22"/>
                    </a:lnTo>
                    <a:lnTo>
                      <a:pt x="121" y="31"/>
                    </a:lnTo>
                    <a:lnTo>
                      <a:pt x="126" y="42"/>
                    </a:lnTo>
                    <a:lnTo>
                      <a:pt x="128" y="53"/>
                    </a:lnTo>
                    <a:lnTo>
                      <a:pt x="128" y="64"/>
                    </a:lnTo>
                    <a:lnTo>
                      <a:pt x="126" y="75"/>
                    </a:lnTo>
                    <a:lnTo>
                      <a:pt x="124" y="81"/>
                    </a:lnTo>
                    <a:lnTo>
                      <a:pt x="122" y="86"/>
                    </a:lnTo>
                    <a:lnTo>
                      <a:pt x="122" y="86"/>
                    </a:lnTo>
                    <a:lnTo>
                      <a:pt x="117" y="94"/>
                    </a:lnTo>
                    <a:lnTo>
                      <a:pt x="111" y="100"/>
                    </a:lnTo>
                    <a:lnTo>
                      <a:pt x="105" y="107"/>
                    </a:lnTo>
                    <a:lnTo>
                      <a:pt x="97" y="112"/>
                    </a:lnTo>
                    <a:lnTo>
                      <a:pt x="97" y="112"/>
                    </a:lnTo>
                    <a:lnTo>
                      <a:pt x="89" y="115"/>
                    </a:lnTo>
                    <a:lnTo>
                      <a:pt x="81" y="117"/>
                    </a:lnTo>
                    <a:lnTo>
                      <a:pt x="73" y="119"/>
                    </a:lnTo>
                    <a:lnTo>
                      <a:pt x="65" y="119"/>
                    </a:lnTo>
                    <a:lnTo>
                      <a:pt x="56" y="119"/>
                    </a:lnTo>
                    <a:lnTo>
                      <a:pt x="47" y="117"/>
                    </a:lnTo>
                    <a:lnTo>
                      <a:pt x="39" y="115"/>
                    </a:lnTo>
                    <a:lnTo>
                      <a:pt x="31" y="112"/>
                    </a:lnTo>
                    <a:lnTo>
                      <a:pt x="31" y="112"/>
                    </a:lnTo>
                    <a:close/>
                    <a:moveTo>
                      <a:pt x="80" y="87"/>
                    </a:moveTo>
                    <a:lnTo>
                      <a:pt x="80" y="87"/>
                    </a:lnTo>
                    <a:lnTo>
                      <a:pt x="87" y="82"/>
                    </a:lnTo>
                    <a:lnTo>
                      <a:pt x="91" y="76"/>
                    </a:lnTo>
                    <a:lnTo>
                      <a:pt x="91" y="76"/>
                    </a:lnTo>
                    <a:lnTo>
                      <a:pt x="94" y="68"/>
                    </a:lnTo>
                    <a:lnTo>
                      <a:pt x="96" y="59"/>
                    </a:lnTo>
                    <a:lnTo>
                      <a:pt x="94" y="50"/>
                    </a:lnTo>
                    <a:lnTo>
                      <a:pt x="91" y="42"/>
                    </a:lnTo>
                    <a:lnTo>
                      <a:pt x="91" y="42"/>
                    </a:lnTo>
                    <a:lnTo>
                      <a:pt x="87" y="35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73" y="27"/>
                    </a:lnTo>
                    <a:lnTo>
                      <a:pt x="65" y="26"/>
                    </a:lnTo>
                    <a:lnTo>
                      <a:pt x="57" y="27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2" y="35"/>
                    </a:lnTo>
                    <a:lnTo>
                      <a:pt x="37" y="42"/>
                    </a:lnTo>
                    <a:lnTo>
                      <a:pt x="37" y="42"/>
                    </a:lnTo>
                    <a:lnTo>
                      <a:pt x="34" y="50"/>
                    </a:lnTo>
                    <a:lnTo>
                      <a:pt x="33" y="59"/>
                    </a:lnTo>
                    <a:lnTo>
                      <a:pt x="34" y="68"/>
                    </a:lnTo>
                    <a:lnTo>
                      <a:pt x="37" y="76"/>
                    </a:lnTo>
                    <a:lnTo>
                      <a:pt x="37" y="76"/>
                    </a:lnTo>
                    <a:lnTo>
                      <a:pt x="42" y="82"/>
                    </a:lnTo>
                    <a:lnTo>
                      <a:pt x="48" y="87"/>
                    </a:lnTo>
                    <a:lnTo>
                      <a:pt x="48" y="87"/>
                    </a:lnTo>
                    <a:lnTo>
                      <a:pt x="57" y="90"/>
                    </a:lnTo>
                    <a:lnTo>
                      <a:pt x="65" y="91"/>
                    </a:lnTo>
                    <a:lnTo>
                      <a:pt x="73" y="90"/>
                    </a:lnTo>
                    <a:lnTo>
                      <a:pt x="80" y="87"/>
                    </a:lnTo>
                    <a:lnTo>
                      <a:pt x="80" y="87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14">
                <a:extLst>
                  <a:ext uri="{FF2B5EF4-FFF2-40B4-BE49-F238E27FC236}">
                    <a16:creationId xmlns:a16="http://schemas.microsoft.com/office/drawing/2014/main" id="{7479B61B-51D1-4FD5-82D2-D9BF96F800F8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1374441" y="1379538"/>
                <a:ext cx="82550" cy="90487"/>
              </a:xfrm>
              <a:custGeom>
                <a:avLst/>
                <a:gdLst>
                  <a:gd name="T0" fmla="*/ 99 w 104"/>
                  <a:gd name="T1" fmla="*/ 64 h 115"/>
                  <a:gd name="T2" fmla="*/ 103 w 104"/>
                  <a:gd name="T3" fmla="*/ 72 h 115"/>
                  <a:gd name="T4" fmla="*/ 104 w 104"/>
                  <a:gd name="T5" fmla="*/ 81 h 115"/>
                  <a:gd name="T6" fmla="*/ 104 w 104"/>
                  <a:gd name="T7" fmla="*/ 88 h 115"/>
                  <a:gd name="T8" fmla="*/ 98 w 104"/>
                  <a:gd name="T9" fmla="*/ 101 h 115"/>
                  <a:gd name="T10" fmla="*/ 92 w 104"/>
                  <a:gd name="T11" fmla="*/ 106 h 115"/>
                  <a:gd name="T12" fmla="*/ 78 w 104"/>
                  <a:gd name="T13" fmla="*/ 113 h 115"/>
                  <a:gd name="T14" fmla="*/ 59 w 104"/>
                  <a:gd name="T15" fmla="*/ 115 h 115"/>
                  <a:gd name="T16" fmla="*/ 0 w 104"/>
                  <a:gd name="T17" fmla="*/ 0 h 115"/>
                  <a:gd name="T18" fmla="*/ 56 w 104"/>
                  <a:gd name="T19" fmla="*/ 0 h 115"/>
                  <a:gd name="T20" fmla="*/ 72 w 104"/>
                  <a:gd name="T21" fmla="*/ 2 h 115"/>
                  <a:gd name="T22" fmla="*/ 88 w 104"/>
                  <a:gd name="T23" fmla="*/ 8 h 115"/>
                  <a:gd name="T24" fmla="*/ 93 w 104"/>
                  <a:gd name="T25" fmla="*/ 12 h 115"/>
                  <a:gd name="T26" fmla="*/ 99 w 104"/>
                  <a:gd name="T27" fmla="*/ 23 h 115"/>
                  <a:gd name="T28" fmla="*/ 99 w 104"/>
                  <a:gd name="T29" fmla="*/ 30 h 115"/>
                  <a:gd name="T30" fmla="*/ 95 w 104"/>
                  <a:gd name="T31" fmla="*/ 45 h 115"/>
                  <a:gd name="T32" fmla="*/ 90 w 104"/>
                  <a:gd name="T33" fmla="*/ 50 h 115"/>
                  <a:gd name="T34" fmla="*/ 84 w 104"/>
                  <a:gd name="T35" fmla="*/ 54 h 115"/>
                  <a:gd name="T36" fmla="*/ 92 w 104"/>
                  <a:gd name="T37" fmla="*/ 58 h 115"/>
                  <a:gd name="T38" fmla="*/ 99 w 104"/>
                  <a:gd name="T39" fmla="*/ 64 h 115"/>
                  <a:gd name="T40" fmla="*/ 31 w 104"/>
                  <a:gd name="T41" fmla="*/ 46 h 115"/>
                  <a:gd name="T42" fmla="*/ 53 w 104"/>
                  <a:gd name="T43" fmla="*/ 46 h 115"/>
                  <a:gd name="T44" fmla="*/ 63 w 104"/>
                  <a:gd name="T45" fmla="*/ 43 h 115"/>
                  <a:gd name="T46" fmla="*/ 67 w 104"/>
                  <a:gd name="T47" fmla="*/ 34 h 115"/>
                  <a:gd name="T48" fmla="*/ 66 w 104"/>
                  <a:gd name="T49" fmla="*/ 29 h 115"/>
                  <a:gd name="T50" fmla="*/ 59 w 104"/>
                  <a:gd name="T51" fmla="*/ 24 h 115"/>
                  <a:gd name="T52" fmla="*/ 31 w 104"/>
                  <a:gd name="T53" fmla="*/ 23 h 115"/>
                  <a:gd name="T54" fmla="*/ 72 w 104"/>
                  <a:gd name="T55" fmla="*/ 79 h 115"/>
                  <a:gd name="T56" fmla="*/ 71 w 104"/>
                  <a:gd name="T57" fmla="*/ 74 h 115"/>
                  <a:gd name="T58" fmla="*/ 64 w 104"/>
                  <a:gd name="T59" fmla="*/ 68 h 115"/>
                  <a:gd name="T60" fmla="*/ 32 w 104"/>
                  <a:gd name="T61" fmla="*/ 67 h 115"/>
                  <a:gd name="T62" fmla="*/ 58 w 104"/>
                  <a:gd name="T63" fmla="*/ 91 h 115"/>
                  <a:gd name="T64" fmla="*/ 64 w 104"/>
                  <a:gd name="T65" fmla="*/ 90 h 115"/>
                  <a:gd name="T66" fmla="*/ 71 w 104"/>
                  <a:gd name="T67" fmla="*/ 84 h 115"/>
                  <a:gd name="T68" fmla="*/ 72 w 104"/>
                  <a:gd name="T69" fmla="*/ 79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4" h="115">
                    <a:moveTo>
                      <a:pt x="99" y="64"/>
                    </a:moveTo>
                    <a:lnTo>
                      <a:pt x="99" y="64"/>
                    </a:lnTo>
                    <a:lnTo>
                      <a:pt x="101" y="68"/>
                    </a:lnTo>
                    <a:lnTo>
                      <a:pt x="103" y="72"/>
                    </a:lnTo>
                    <a:lnTo>
                      <a:pt x="104" y="77"/>
                    </a:lnTo>
                    <a:lnTo>
                      <a:pt x="104" y="81"/>
                    </a:lnTo>
                    <a:lnTo>
                      <a:pt x="104" y="81"/>
                    </a:lnTo>
                    <a:lnTo>
                      <a:pt x="104" y="88"/>
                    </a:lnTo>
                    <a:lnTo>
                      <a:pt x="101" y="95"/>
                    </a:lnTo>
                    <a:lnTo>
                      <a:pt x="98" y="101"/>
                    </a:lnTo>
                    <a:lnTo>
                      <a:pt x="92" y="106"/>
                    </a:lnTo>
                    <a:lnTo>
                      <a:pt x="92" y="106"/>
                    </a:lnTo>
                    <a:lnTo>
                      <a:pt x="86" y="110"/>
                    </a:lnTo>
                    <a:lnTo>
                      <a:pt x="78" y="113"/>
                    </a:lnTo>
                    <a:lnTo>
                      <a:pt x="69" y="114"/>
                    </a:lnTo>
                    <a:lnTo>
                      <a:pt x="59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4" y="0"/>
                    </a:lnTo>
                    <a:lnTo>
                      <a:pt x="72" y="2"/>
                    </a:lnTo>
                    <a:lnTo>
                      <a:pt x="80" y="4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93" y="12"/>
                    </a:lnTo>
                    <a:lnTo>
                      <a:pt x="96" y="17"/>
                    </a:lnTo>
                    <a:lnTo>
                      <a:pt x="99" y="23"/>
                    </a:lnTo>
                    <a:lnTo>
                      <a:pt x="99" y="30"/>
                    </a:lnTo>
                    <a:lnTo>
                      <a:pt x="99" y="30"/>
                    </a:lnTo>
                    <a:lnTo>
                      <a:pt x="98" y="37"/>
                    </a:lnTo>
                    <a:lnTo>
                      <a:pt x="95" y="45"/>
                    </a:lnTo>
                    <a:lnTo>
                      <a:pt x="95" y="45"/>
                    </a:lnTo>
                    <a:lnTo>
                      <a:pt x="90" y="50"/>
                    </a:lnTo>
                    <a:lnTo>
                      <a:pt x="84" y="54"/>
                    </a:lnTo>
                    <a:lnTo>
                      <a:pt x="84" y="54"/>
                    </a:lnTo>
                    <a:lnTo>
                      <a:pt x="88" y="56"/>
                    </a:lnTo>
                    <a:lnTo>
                      <a:pt x="92" y="58"/>
                    </a:lnTo>
                    <a:lnTo>
                      <a:pt x="96" y="61"/>
                    </a:lnTo>
                    <a:lnTo>
                      <a:pt x="99" y="64"/>
                    </a:lnTo>
                    <a:lnTo>
                      <a:pt x="99" y="64"/>
                    </a:lnTo>
                    <a:close/>
                    <a:moveTo>
                      <a:pt x="31" y="46"/>
                    </a:moveTo>
                    <a:lnTo>
                      <a:pt x="53" y="46"/>
                    </a:lnTo>
                    <a:lnTo>
                      <a:pt x="53" y="46"/>
                    </a:lnTo>
                    <a:lnTo>
                      <a:pt x="59" y="45"/>
                    </a:lnTo>
                    <a:lnTo>
                      <a:pt x="63" y="43"/>
                    </a:lnTo>
                    <a:lnTo>
                      <a:pt x="66" y="39"/>
                    </a:lnTo>
                    <a:lnTo>
                      <a:pt x="67" y="34"/>
                    </a:lnTo>
                    <a:lnTo>
                      <a:pt x="67" y="34"/>
                    </a:lnTo>
                    <a:lnTo>
                      <a:pt x="66" y="29"/>
                    </a:lnTo>
                    <a:lnTo>
                      <a:pt x="63" y="26"/>
                    </a:lnTo>
                    <a:lnTo>
                      <a:pt x="59" y="24"/>
                    </a:lnTo>
                    <a:lnTo>
                      <a:pt x="53" y="23"/>
                    </a:lnTo>
                    <a:lnTo>
                      <a:pt x="31" y="23"/>
                    </a:lnTo>
                    <a:lnTo>
                      <a:pt x="31" y="46"/>
                    </a:lnTo>
                    <a:close/>
                    <a:moveTo>
                      <a:pt x="72" y="79"/>
                    </a:moveTo>
                    <a:lnTo>
                      <a:pt x="72" y="79"/>
                    </a:lnTo>
                    <a:lnTo>
                      <a:pt x="71" y="74"/>
                    </a:lnTo>
                    <a:lnTo>
                      <a:pt x="68" y="70"/>
                    </a:lnTo>
                    <a:lnTo>
                      <a:pt x="64" y="68"/>
                    </a:lnTo>
                    <a:lnTo>
                      <a:pt x="58" y="67"/>
                    </a:lnTo>
                    <a:lnTo>
                      <a:pt x="32" y="67"/>
                    </a:lnTo>
                    <a:lnTo>
                      <a:pt x="32" y="91"/>
                    </a:lnTo>
                    <a:lnTo>
                      <a:pt x="58" y="91"/>
                    </a:lnTo>
                    <a:lnTo>
                      <a:pt x="58" y="91"/>
                    </a:lnTo>
                    <a:lnTo>
                      <a:pt x="64" y="90"/>
                    </a:lnTo>
                    <a:lnTo>
                      <a:pt x="68" y="88"/>
                    </a:lnTo>
                    <a:lnTo>
                      <a:pt x="71" y="84"/>
                    </a:lnTo>
                    <a:lnTo>
                      <a:pt x="72" y="79"/>
                    </a:lnTo>
                    <a:lnTo>
                      <a:pt x="72" y="79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15">
                <a:extLst>
                  <a:ext uri="{FF2B5EF4-FFF2-40B4-BE49-F238E27FC236}">
                    <a16:creationId xmlns:a16="http://schemas.microsoft.com/office/drawing/2014/main" id="{0835B0AA-99D2-4884-BF27-DD5A9EE8C571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1474454" y="1379538"/>
                <a:ext cx="115888" cy="90487"/>
              </a:xfrm>
              <a:custGeom>
                <a:avLst/>
                <a:gdLst>
                  <a:gd name="T0" fmla="*/ 91 w 147"/>
                  <a:gd name="T1" fmla="*/ 46 h 115"/>
                  <a:gd name="T2" fmla="*/ 91 w 147"/>
                  <a:gd name="T3" fmla="*/ 46 h 115"/>
                  <a:gd name="T4" fmla="*/ 97 w 147"/>
                  <a:gd name="T5" fmla="*/ 51 h 115"/>
                  <a:gd name="T6" fmla="*/ 100 w 147"/>
                  <a:gd name="T7" fmla="*/ 58 h 115"/>
                  <a:gd name="T8" fmla="*/ 103 w 147"/>
                  <a:gd name="T9" fmla="*/ 66 h 115"/>
                  <a:gd name="T10" fmla="*/ 103 w 147"/>
                  <a:gd name="T11" fmla="*/ 73 h 115"/>
                  <a:gd name="T12" fmla="*/ 103 w 147"/>
                  <a:gd name="T13" fmla="*/ 73 h 115"/>
                  <a:gd name="T14" fmla="*/ 102 w 147"/>
                  <a:gd name="T15" fmla="*/ 82 h 115"/>
                  <a:gd name="T16" fmla="*/ 100 w 147"/>
                  <a:gd name="T17" fmla="*/ 90 h 115"/>
                  <a:gd name="T18" fmla="*/ 96 w 147"/>
                  <a:gd name="T19" fmla="*/ 97 h 115"/>
                  <a:gd name="T20" fmla="*/ 90 w 147"/>
                  <a:gd name="T21" fmla="*/ 104 h 115"/>
                  <a:gd name="T22" fmla="*/ 90 w 147"/>
                  <a:gd name="T23" fmla="*/ 104 h 115"/>
                  <a:gd name="T24" fmla="*/ 82 w 147"/>
                  <a:gd name="T25" fmla="*/ 109 h 115"/>
                  <a:gd name="T26" fmla="*/ 73 w 147"/>
                  <a:gd name="T27" fmla="*/ 113 h 115"/>
                  <a:gd name="T28" fmla="*/ 64 w 147"/>
                  <a:gd name="T29" fmla="*/ 115 h 115"/>
                  <a:gd name="T30" fmla="*/ 55 w 147"/>
                  <a:gd name="T31" fmla="*/ 115 h 115"/>
                  <a:gd name="T32" fmla="*/ 0 w 147"/>
                  <a:gd name="T33" fmla="*/ 115 h 115"/>
                  <a:gd name="T34" fmla="*/ 0 w 147"/>
                  <a:gd name="T35" fmla="*/ 0 h 115"/>
                  <a:gd name="T36" fmla="*/ 32 w 147"/>
                  <a:gd name="T37" fmla="*/ 0 h 115"/>
                  <a:gd name="T38" fmla="*/ 32 w 147"/>
                  <a:gd name="T39" fmla="*/ 36 h 115"/>
                  <a:gd name="T40" fmla="*/ 59 w 147"/>
                  <a:gd name="T41" fmla="*/ 36 h 115"/>
                  <a:gd name="T42" fmla="*/ 59 w 147"/>
                  <a:gd name="T43" fmla="*/ 36 h 115"/>
                  <a:gd name="T44" fmla="*/ 68 w 147"/>
                  <a:gd name="T45" fmla="*/ 37 h 115"/>
                  <a:gd name="T46" fmla="*/ 76 w 147"/>
                  <a:gd name="T47" fmla="*/ 38 h 115"/>
                  <a:gd name="T48" fmla="*/ 84 w 147"/>
                  <a:gd name="T49" fmla="*/ 41 h 115"/>
                  <a:gd name="T50" fmla="*/ 91 w 147"/>
                  <a:gd name="T51" fmla="*/ 46 h 115"/>
                  <a:gd name="T52" fmla="*/ 91 w 147"/>
                  <a:gd name="T53" fmla="*/ 46 h 115"/>
                  <a:gd name="T54" fmla="*/ 66 w 147"/>
                  <a:gd name="T55" fmla="*/ 86 h 115"/>
                  <a:gd name="T56" fmla="*/ 66 w 147"/>
                  <a:gd name="T57" fmla="*/ 86 h 115"/>
                  <a:gd name="T58" fmla="*/ 68 w 147"/>
                  <a:gd name="T59" fmla="*/ 84 h 115"/>
                  <a:gd name="T60" fmla="*/ 69 w 147"/>
                  <a:gd name="T61" fmla="*/ 81 h 115"/>
                  <a:gd name="T62" fmla="*/ 70 w 147"/>
                  <a:gd name="T63" fmla="*/ 77 h 115"/>
                  <a:gd name="T64" fmla="*/ 71 w 147"/>
                  <a:gd name="T65" fmla="*/ 74 h 115"/>
                  <a:gd name="T66" fmla="*/ 71 w 147"/>
                  <a:gd name="T67" fmla="*/ 74 h 115"/>
                  <a:gd name="T68" fmla="*/ 70 w 147"/>
                  <a:gd name="T69" fmla="*/ 71 h 115"/>
                  <a:gd name="T70" fmla="*/ 70 w 147"/>
                  <a:gd name="T71" fmla="*/ 68 h 115"/>
                  <a:gd name="T72" fmla="*/ 68 w 147"/>
                  <a:gd name="T73" fmla="*/ 65 h 115"/>
                  <a:gd name="T74" fmla="*/ 66 w 147"/>
                  <a:gd name="T75" fmla="*/ 63 h 115"/>
                  <a:gd name="T76" fmla="*/ 64 w 147"/>
                  <a:gd name="T77" fmla="*/ 61 h 115"/>
                  <a:gd name="T78" fmla="*/ 61 w 147"/>
                  <a:gd name="T79" fmla="*/ 60 h 115"/>
                  <a:gd name="T80" fmla="*/ 53 w 147"/>
                  <a:gd name="T81" fmla="*/ 59 h 115"/>
                  <a:gd name="T82" fmla="*/ 32 w 147"/>
                  <a:gd name="T83" fmla="*/ 59 h 115"/>
                  <a:gd name="T84" fmla="*/ 32 w 147"/>
                  <a:gd name="T85" fmla="*/ 91 h 115"/>
                  <a:gd name="T86" fmla="*/ 53 w 147"/>
                  <a:gd name="T87" fmla="*/ 91 h 115"/>
                  <a:gd name="T88" fmla="*/ 53 w 147"/>
                  <a:gd name="T89" fmla="*/ 91 h 115"/>
                  <a:gd name="T90" fmla="*/ 56 w 147"/>
                  <a:gd name="T91" fmla="*/ 91 h 115"/>
                  <a:gd name="T92" fmla="*/ 60 w 147"/>
                  <a:gd name="T93" fmla="*/ 90 h 115"/>
                  <a:gd name="T94" fmla="*/ 63 w 147"/>
                  <a:gd name="T95" fmla="*/ 88 h 115"/>
                  <a:gd name="T96" fmla="*/ 66 w 147"/>
                  <a:gd name="T97" fmla="*/ 86 h 115"/>
                  <a:gd name="T98" fmla="*/ 66 w 147"/>
                  <a:gd name="T99" fmla="*/ 86 h 115"/>
                  <a:gd name="T100" fmla="*/ 115 w 147"/>
                  <a:gd name="T101" fmla="*/ 0 h 115"/>
                  <a:gd name="T102" fmla="*/ 147 w 147"/>
                  <a:gd name="T103" fmla="*/ 0 h 115"/>
                  <a:gd name="T104" fmla="*/ 147 w 147"/>
                  <a:gd name="T105" fmla="*/ 115 h 115"/>
                  <a:gd name="T106" fmla="*/ 115 w 147"/>
                  <a:gd name="T107" fmla="*/ 115 h 115"/>
                  <a:gd name="T108" fmla="*/ 115 w 147"/>
                  <a:gd name="T109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47" h="115">
                    <a:moveTo>
                      <a:pt x="91" y="46"/>
                    </a:moveTo>
                    <a:lnTo>
                      <a:pt x="91" y="46"/>
                    </a:lnTo>
                    <a:lnTo>
                      <a:pt x="97" y="51"/>
                    </a:lnTo>
                    <a:lnTo>
                      <a:pt x="100" y="58"/>
                    </a:lnTo>
                    <a:lnTo>
                      <a:pt x="103" y="66"/>
                    </a:lnTo>
                    <a:lnTo>
                      <a:pt x="103" y="73"/>
                    </a:lnTo>
                    <a:lnTo>
                      <a:pt x="103" y="73"/>
                    </a:lnTo>
                    <a:lnTo>
                      <a:pt x="102" y="82"/>
                    </a:lnTo>
                    <a:lnTo>
                      <a:pt x="100" y="90"/>
                    </a:lnTo>
                    <a:lnTo>
                      <a:pt x="96" y="97"/>
                    </a:lnTo>
                    <a:lnTo>
                      <a:pt x="90" y="104"/>
                    </a:lnTo>
                    <a:lnTo>
                      <a:pt x="90" y="104"/>
                    </a:lnTo>
                    <a:lnTo>
                      <a:pt x="82" y="109"/>
                    </a:lnTo>
                    <a:lnTo>
                      <a:pt x="73" y="113"/>
                    </a:lnTo>
                    <a:lnTo>
                      <a:pt x="64" y="115"/>
                    </a:lnTo>
                    <a:lnTo>
                      <a:pt x="55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2" y="0"/>
                    </a:lnTo>
                    <a:lnTo>
                      <a:pt x="32" y="36"/>
                    </a:lnTo>
                    <a:lnTo>
                      <a:pt x="59" y="36"/>
                    </a:lnTo>
                    <a:lnTo>
                      <a:pt x="59" y="36"/>
                    </a:lnTo>
                    <a:lnTo>
                      <a:pt x="68" y="37"/>
                    </a:lnTo>
                    <a:lnTo>
                      <a:pt x="76" y="38"/>
                    </a:lnTo>
                    <a:lnTo>
                      <a:pt x="84" y="41"/>
                    </a:lnTo>
                    <a:lnTo>
                      <a:pt x="91" y="46"/>
                    </a:lnTo>
                    <a:lnTo>
                      <a:pt x="91" y="46"/>
                    </a:lnTo>
                    <a:close/>
                    <a:moveTo>
                      <a:pt x="66" y="86"/>
                    </a:moveTo>
                    <a:lnTo>
                      <a:pt x="66" y="86"/>
                    </a:lnTo>
                    <a:lnTo>
                      <a:pt x="68" y="84"/>
                    </a:lnTo>
                    <a:lnTo>
                      <a:pt x="69" y="81"/>
                    </a:lnTo>
                    <a:lnTo>
                      <a:pt x="70" y="77"/>
                    </a:lnTo>
                    <a:lnTo>
                      <a:pt x="71" y="74"/>
                    </a:lnTo>
                    <a:lnTo>
                      <a:pt x="71" y="74"/>
                    </a:lnTo>
                    <a:lnTo>
                      <a:pt x="70" y="71"/>
                    </a:lnTo>
                    <a:lnTo>
                      <a:pt x="70" y="68"/>
                    </a:lnTo>
                    <a:lnTo>
                      <a:pt x="68" y="65"/>
                    </a:lnTo>
                    <a:lnTo>
                      <a:pt x="66" y="63"/>
                    </a:lnTo>
                    <a:lnTo>
                      <a:pt x="64" y="61"/>
                    </a:lnTo>
                    <a:lnTo>
                      <a:pt x="61" y="60"/>
                    </a:lnTo>
                    <a:lnTo>
                      <a:pt x="53" y="59"/>
                    </a:lnTo>
                    <a:lnTo>
                      <a:pt x="32" y="59"/>
                    </a:lnTo>
                    <a:lnTo>
                      <a:pt x="32" y="91"/>
                    </a:lnTo>
                    <a:lnTo>
                      <a:pt x="53" y="91"/>
                    </a:lnTo>
                    <a:lnTo>
                      <a:pt x="53" y="91"/>
                    </a:lnTo>
                    <a:lnTo>
                      <a:pt x="56" y="91"/>
                    </a:lnTo>
                    <a:lnTo>
                      <a:pt x="60" y="90"/>
                    </a:lnTo>
                    <a:lnTo>
                      <a:pt x="63" y="88"/>
                    </a:lnTo>
                    <a:lnTo>
                      <a:pt x="66" y="86"/>
                    </a:lnTo>
                    <a:lnTo>
                      <a:pt x="66" y="86"/>
                    </a:lnTo>
                    <a:close/>
                    <a:moveTo>
                      <a:pt x="115" y="0"/>
                    </a:moveTo>
                    <a:lnTo>
                      <a:pt x="147" y="0"/>
                    </a:lnTo>
                    <a:lnTo>
                      <a:pt x="147" y="115"/>
                    </a:lnTo>
                    <a:lnTo>
                      <a:pt x="115" y="115"/>
                    </a:lnTo>
                    <a:lnTo>
                      <a:pt x="115" y="0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16">
                <a:extLst>
                  <a:ext uri="{FF2B5EF4-FFF2-40B4-BE49-F238E27FC236}">
                    <a16:creationId xmlns:a16="http://schemas.microsoft.com/office/drawing/2014/main" id="{1A34466F-FB76-43B8-994A-D4E764B8516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344154" y="1535113"/>
                <a:ext cx="85725" cy="90487"/>
              </a:xfrm>
              <a:custGeom>
                <a:avLst/>
                <a:gdLst>
                  <a:gd name="T0" fmla="*/ 109 w 109"/>
                  <a:gd name="T1" fmla="*/ 0 h 115"/>
                  <a:gd name="T2" fmla="*/ 109 w 109"/>
                  <a:gd name="T3" fmla="*/ 115 h 115"/>
                  <a:gd name="T4" fmla="*/ 77 w 109"/>
                  <a:gd name="T5" fmla="*/ 115 h 115"/>
                  <a:gd name="T6" fmla="*/ 77 w 109"/>
                  <a:gd name="T7" fmla="*/ 71 h 115"/>
                  <a:gd name="T8" fmla="*/ 32 w 109"/>
                  <a:gd name="T9" fmla="*/ 71 h 115"/>
                  <a:gd name="T10" fmla="*/ 32 w 109"/>
                  <a:gd name="T11" fmla="*/ 115 h 115"/>
                  <a:gd name="T12" fmla="*/ 0 w 109"/>
                  <a:gd name="T13" fmla="*/ 115 h 115"/>
                  <a:gd name="T14" fmla="*/ 0 w 109"/>
                  <a:gd name="T15" fmla="*/ 0 h 115"/>
                  <a:gd name="T16" fmla="*/ 32 w 109"/>
                  <a:gd name="T17" fmla="*/ 0 h 115"/>
                  <a:gd name="T18" fmla="*/ 32 w 109"/>
                  <a:gd name="T19" fmla="*/ 43 h 115"/>
                  <a:gd name="T20" fmla="*/ 77 w 109"/>
                  <a:gd name="T21" fmla="*/ 43 h 115"/>
                  <a:gd name="T22" fmla="*/ 77 w 109"/>
                  <a:gd name="T23" fmla="*/ 0 h 115"/>
                  <a:gd name="T24" fmla="*/ 109 w 109"/>
                  <a:gd name="T25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9" h="115">
                    <a:moveTo>
                      <a:pt x="109" y="0"/>
                    </a:moveTo>
                    <a:lnTo>
                      <a:pt x="109" y="115"/>
                    </a:lnTo>
                    <a:lnTo>
                      <a:pt x="77" y="115"/>
                    </a:lnTo>
                    <a:lnTo>
                      <a:pt x="77" y="71"/>
                    </a:lnTo>
                    <a:lnTo>
                      <a:pt x="32" y="71"/>
                    </a:lnTo>
                    <a:lnTo>
                      <a:pt x="3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2" y="0"/>
                    </a:lnTo>
                    <a:lnTo>
                      <a:pt x="32" y="43"/>
                    </a:lnTo>
                    <a:lnTo>
                      <a:pt x="77" y="43"/>
                    </a:lnTo>
                    <a:lnTo>
                      <a:pt x="77" y="0"/>
                    </a:lnTo>
                    <a:lnTo>
                      <a:pt x="109" y="0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17">
                <a:extLst>
                  <a:ext uri="{FF2B5EF4-FFF2-40B4-BE49-F238E27FC236}">
                    <a16:creationId xmlns:a16="http://schemas.microsoft.com/office/drawing/2014/main" id="{6865630E-4357-479D-BA17-D27B0478DB4C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447341" y="1533525"/>
                <a:ext cx="101600" cy="95250"/>
              </a:xfrm>
              <a:custGeom>
                <a:avLst/>
                <a:gdLst>
                  <a:gd name="T0" fmla="*/ 31 w 128"/>
                  <a:gd name="T1" fmla="*/ 112 h 120"/>
                  <a:gd name="T2" fmla="*/ 21 w 128"/>
                  <a:gd name="T3" fmla="*/ 105 h 120"/>
                  <a:gd name="T4" fmla="*/ 6 w 128"/>
                  <a:gd name="T5" fmla="*/ 88 h 120"/>
                  <a:gd name="T6" fmla="*/ 0 w 128"/>
                  <a:gd name="T7" fmla="*/ 67 h 120"/>
                  <a:gd name="T8" fmla="*/ 2 w 128"/>
                  <a:gd name="T9" fmla="*/ 43 h 120"/>
                  <a:gd name="T10" fmla="*/ 6 w 128"/>
                  <a:gd name="T11" fmla="*/ 32 h 120"/>
                  <a:gd name="T12" fmla="*/ 11 w 128"/>
                  <a:gd name="T13" fmla="*/ 25 h 120"/>
                  <a:gd name="T14" fmla="*/ 23 w 128"/>
                  <a:gd name="T15" fmla="*/ 12 h 120"/>
                  <a:gd name="T16" fmla="*/ 31 w 128"/>
                  <a:gd name="T17" fmla="*/ 8 h 120"/>
                  <a:gd name="T18" fmla="*/ 46 w 128"/>
                  <a:gd name="T19" fmla="*/ 2 h 120"/>
                  <a:gd name="T20" fmla="*/ 64 w 128"/>
                  <a:gd name="T21" fmla="*/ 0 h 120"/>
                  <a:gd name="T22" fmla="*/ 81 w 128"/>
                  <a:gd name="T23" fmla="*/ 2 h 120"/>
                  <a:gd name="T24" fmla="*/ 97 w 128"/>
                  <a:gd name="T25" fmla="*/ 8 h 120"/>
                  <a:gd name="T26" fmla="*/ 102 w 128"/>
                  <a:gd name="T27" fmla="*/ 11 h 120"/>
                  <a:gd name="T28" fmla="*/ 115 w 128"/>
                  <a:gd name="T29" fmla="*/ 22 h 120"/>
                  <a:gd name="T30" fmla="*/ 125 w 128"/>
                  <a:gd name="T31" fmla="*/ 42 h 120"/>
                  <a:gd name="T32" fmla="*/ 128 w 128"/>
                  <a:gd name="T33" fmla="*/ 65 h 120"/>
                  <a:gd name="T34" fmla="*/ 124 w 128"/>
                  <a:gd name="T35" fmla="*/ 82 h 120"/>
                  <a:gd name="T36" fmla="*/ 121 w 128"/>
                  <a:gd name="T37" fmla="*/ 87 h 120"/>
                  <a:gd name="T38" fmla="*/ 111 w 128"/>
                  <a:gd name="T39" fmla="*/ 101 h 120"/>
                  <a:gd name="T40" fmla="*/ 97 w 128"/>
                  <a:gd name="T41" fmla="*/ 112 h 120"/>
                  <a:gd name="T42" fmla="*/ 89 w 128"/>
                  <a:gd name="T43" fmla="*/ 115 h 120"/>
                  <a:gd name="T44" fmla="*/ 72 w 128"/>
                  <a:gd name="T45" fmla="*/ 119 h 120"/>
                  <a:gd name="T46" fmla="*/ 55 w 128"/>
                  <a:gd name="T47" fmla="*/ 119 h 120"/>
                  <a:gd name="T48" fmla="*/ 38 w 128"/>
                  <a:gd name="T49" fmla="*/ 115 h 120"/>
                  <a:gd name="T50" fmla="*/ 31 w 128"/>
                  <a:gd name="T51" fmla="*/ 112 h 120"/>
                  <a:gd name="T52" fmla="*/ 80 w 128"/>
                  <a:gd name="T53" fmla="*/ 89 h 120"/>
                  <a:gd name="T54" fmla="*/ 91 w 128"/>
                  <a:gd name="T55" fmla="*/ 77 h 120"/>
                  <a:gd name="T56" fmla="*/ 94 w 128"/>
                  <a:gd name="T57" fmla="*/ 69 h 120"/>
                  <a:gd name="T58" fmla="*/ 94 w 128"/>
                  <a:gd name="T59" fmla="*/ 52 h 120"/>
                  <a:gd name="T60" fmla="*/ 91 w 128"/>
                  <a:gd name="T61" fmla="*/ 42 h 120"/>
                  <a:gd name="T62" fmla="*/ 80 w 128"/>
                  <a:gd name="T63" fmla="*/ 31 h 120"/>
                  <a:gd name="T64" fmla="*/ 72 w 128"/>
                  <a:gd name="T65" fmla="*/ 28 h 120"/>
                  <a:gd name="T66" fmla="*/ 55 w 128"/>
                  <a:gd name="T67" fmla="*/ 28 h 120"/>
                  <a:gd name="T68" fmla="*/ 47 w 128"/>
                  <a:gd name="T69" fmla="*/ 31 h 120"/>
                  <a:gd name="T70" fmla="*/ 36 w 128"/>
                  <a:gd name="T71" fmla="*/ 42 h 120"/>
                  <a:gd name="T72" fmla="*/ 33 w 128"/>
                  <a:gd name="T73" fmla="*/ 52 h 120"/>
                  <a:gd name="T74" fmla="*/ 33 w 128"/>
                  <a:gd name="T75" fmla="*/ 69 h 120"/>
                  <a:gd name="T76" fmla="*/ 36 w 128"/>
                  <a:gd name="T77" fmla="*/ 77 h 120"/>
                  <a:gd name="T78" fmla="*/ 47 w 128"/>
                  <a:gd name="T79" fmla="*/ 89 h 120"/>
                  <a:gd name="T80" fmla="*/ 55 w 128"/>
                  <a:gd name="T81" fmla="*/ 92 h 120"/>
                  <a:gd name="T82" fmla="*/ 72 w 128"/>
                  <a:gd name="T83" fmla="*/ 92 h 120"/>
                  <a:gd name="T84" fmla="*/ 80 w 128"/>
                  <a:gd name="T85" fmla="*/ 89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28" h="120">
                    <a:moveTo>
                      <a:pt x="31" y="112"/>
                    </a:moveTo>
                    <a:lnTo>
                      <a:pt x="31" y="112"/>
                    </a:lnTo>
                    <a:lnTo>
                      <a:pt x="25" y="109"/>
                    </a:lnTo>
                    <a:lnTo>
                      <a:pt x="21" y="105"/>
                    </a:lnTo>
                    <a:lnTo>
                      <a:pt x="13" y="97"/>
                    </a:lnTo>
                    <a:lnTo>
                      <a:pt x="6" y="88"/>
                    </a:lnTo>
                    <a:lnTo>
                      <a:pt x="2" y="78"/>
                    </a:lnTo>
                    <a:lnTo>
                      <a:pt x="0" y="67"/>
                    </a:lnTo>
                    <a:lnTo>
                      <a:pt x="0" y="55"/>
                    </a:lnTo>
                    <a:lnTo>
                      <a:pt x="2" y="43"/>
                    </a:lnTo>
                    <a:lnTo>
                      <a:pt x="4" y="38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11" y="25"/>
                    </a:lnTo>
                    <a:lnTo>
                      <a:pt x="16" y="18"/>
                    </a:lnTo>
                    <a:lnTo>
                      <a:pt x="23" y="12"/>
                    </a:lnTo>
                    <a:lnTo>
                      <a:pt x="31" y="8"/>
                    </a:lnTo>
                    <a:lnTo>
                      <a:pt x="31" y="8"/>
                    </a:lnTo>
                    <a:lnTo>
                      <a:pt x="38" y="4"/>
                    </a:lnTo>
                    <a:lnTo>
                      <a:pt x="46" y="2"/>
                    </a:lnTo>
                    <a:lnTo>
                      <a:pt x="55" y="0"/>
                    </a:lnTo>
                    <a:lnTo>
                      <a:pt x="64" y="0"/>
                    </a:lnTo>
                    <a:lnTo>
                      <a:pt x="72" y="0"/>
                    </a:lnTo>
                    <a:lnTo>
                      <a:pt x="81" y="2"/>
                    </a:lnTo>
                    <a:lnTo>
                      <a:pt x="89" y="4"/>
                    </a:lnTo>
                    <a:lnTo>
                      <a:pt x="97" y="8"/>
                    </a:lnTo>
                    <a:lnTo>
                      <a:pt x="97" y="8"/>
                    </a:lnTo>
                    <a:lnTo>
                      <a:pt x="102" y="11"/>
                    </a:lnTo>
                    <a:lnTo>
                      <a:pt x="106" y="14"/>
                    </a:lnTo>
                    <a:lnTo>
                      <a:pt x="115" y="22"/>
                    </a:lnTo>
                    <a:lnTo>
                      <a:pt x="121" y="32"/>
                    </a:lnTo>
                    <a:lnTo>
                      <a:pt x="125" y="42"/>
                    </a:lnTo>
                    <a:lnTo>
                      <a:pt x="127" y="54"/>
                    </a:lnTo>
                    <a:lnTo>
                      <a:pt x="128" y="65"/>
                    </a:lnTo>
                    <a:lnTo>
                      <a:pt x="126" y="76"/>
                    </a:lnTo>
                    <a:lnTo>
                      <a:pt x="124" y="82"/>
                    </a:lnTo>
                    <a:lnTo>
                      <a:pt x="121" y="87"/>
                    </a:lnTo>
                    <a:lnTo>
                      <a:pt x="121" y="87"/>
                    </a:lnTo>
                    <a:lnTo>
                      <a:pt x="116" y="95"/>
                    </a:lnTo>
                    <a:lnTo>
                      <a:pt x="111" y="101"/>
                    </a:lnTo>
                    <a:lnTo>
                      <a:pt x="104" y="107"/>
                    </a:lnTo>
                    <a:lnTo>
                      <a:pt x="97" y="112"/>
                    </a:lnTo>
                    <a:lnTo>
                      <a:pt x="97" y="112"/>
                    </a:lnTo>
                    <a:lnTo>
                      <a:pt x="89" y="115"/>
                    </a:lnTo>
                    <a:lnTo>
                      <a:pt x="81" y="118"/>
                    </a:lnTo>
                    <a:lnTo>
                      <a:pt x="72" y="119"/>
                    </a:lnTo>
                    <a:lnTo>
                      <a:pt x="64" y="120"/>
                    </a:lnTo>
                    <a:lnTo>
                      <a:pt x="55" y="119"/>
                    </a:lnTo>
                    <a:lnTo>
                      <a:pt x="46" y="118"/>
                    </a:lnTo>
                    <a:lnTo>
                      <a:pt x="38" y="115"/>
                    </a:lnTo>
                    <a:lnTo>
                      <a:pt x="31" y="112"/>
                    </a:lnTo>
                    <a:lnTo>
                      <a:pt x="31" y="112"/>
                    </a:lnTo>
                    <a:close/>
                    <a:moveTo>
                      <a:pt x="80" y="89"/>
                    </a:moveTo>
                    <a:lnTo>
                      <a:pt x="80" y="89"/>
                    </a:lnTo>
                    <a:lnTo>
                      <a:pt x="86" y="84"/>
                    </a:lnTo>
                    <a:lnTo>
                      <a:pt x="91" y="77"/>
                    </a:lnTo>
                    <a:lnTo>
                      <a:pt x="91" y="77"/>
                    </a:lnTo>
                    <a:lnTo>
                      <a:pt x="94" y="69"/>
                    </a:lnTo>
                    <a:lnTo>
                      <a:pt x="95" y="60"/>
                    </a:lnTo>
                    <a:lnTo>
                      <a:pt x="94" y="52"/>
                    </a:lnTo>
                    <a:lnTo>
                      <a:pt x="91" y="42"/>
                    </a:lnTo>
                    <a:lnTo>
                      <a:pt x="91" y="42"/>
                    </a:lnTo>
                    <a:lnTo>
                      <a:pt x="86" y="36"/>
                    </a:lnTo>
                    <a:lnTo>
                      <a:pt x="80" y="31"/>
                    </a:lnTo>
                    <a:lnTo>
                      <a:pt x="80" y="31"/>
                    </a:lnTo>
                    <a:lnTo>
                      <a:pt x="72" y="28"/>
                    </a:lnTo>
                    <a:lnTo>
                      <a:pt x="64" y="27"/>
                    </a:lnTo>
                    <a:lnTo>
                      <a:pt x="55" y="28"/>
                    </a:lnTo>
                    <a:lnTo>
                      <a:pt x="47" y="31"/>
                    </a:lnTo>
                    <a:lnTo>
                      <a:pt x="47" y="31"/>
                    </a:lnTo>
                    <a:lnTo>
                      <a:pt x="41" y="36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3" y="52"/>
                    </a:lnTo>
                    <a:lnTo>
                      <a:pt x="32" y="60"/>
                    </a:lnTo>
                    <a:lnTo>
                      <a:pt x="33" y="69"/>
                    </a:lnTo>
                    <a:lnTo>
                      <a:pt x="36" y="77"/>
                    </a:lnTo>
                    <a:lnTo>
                      <a:pt x="36" y="77"/>
                    </a:lnTo>
                    <a:lnTo>
                      <a:pt x="41" y="84"/>
                    </a:lnTo>
                    <a:lnTo>
                      <a:pt x="47" y="89"/>
                    </a:lnTo>
                    <a:lnTo>
                      <a:pt x="47" y="89"/>
                    </a:lnTo>
                    <a:lnTo>
                      <a:pt x="55" y="92"/>
                    </a:lnTo>
                    <a:lnTo>
                      <a:pt x="64" y="93"/>
                    </a:lnTo>
                    <a:lnTo>
                      <a:pt x="72" y="92"/>
                    </a:lnTo>
                    <a:lnTo>
                      <a:pt x="80" y="89"/>
                    </a:lnTo>
                    <a:lnTo>
                      <a:pt x="80" y="89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18">
                <a:extLst>
                  <a:ext uri="{FF2B5EF4-FFF2-40B4-BE49-F238E27FC236}">
                    <a16:creationId xmlns:a16="http://schemas.microsoft.com/office/drawing/2014/main" id="{F82A1D5C-2AB7-4122-9012-D8874CD33A94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564816" y="1535113"/>
                <a:ext cx="84138" cy="90487"/>
              </a:xfrm>
              <a:custGeom>
                <a:avLst/>
                <a:gdLst>
                  <a:gd name="T0" fmla="*/ 99 w 105"/>
                  <a:gd name="T1" fmla="*/ 66 h 115"/>
                  <a:gd name="T2" fmla="*/ 103 w 105"/>
                  <a:gd name="T3" fmla="*/ 74 h 115"/>
                  <a:gd name="T4" fmla="*/ 105 w 105"/>
                  <a:gd name="T5" fmla="*/ 83 h 115"/>
                  <a:gd name="T6" fmla="*/ 104 w 105"/>
                  <a:gd name="T7" fmla="*/ 90 h 115"/>
                  <a:gd name="T8" fmla="*/ 98 w 105"/>
                  <a:gd name="T9" fmla="*/ 102 h 115"/>
                  <a:gd name="T10" fmla="*/ 93 w 105"/>
                  <a:gd name="T11" fmla="*/ 107 h 115"/>
                  <a:gd name="T12" fmla="*/ 77 w 105"/>
                  <a:gd name="T13" fmla="*/ 114 h 115"/>
                  <a:gd name="T14" fmla="*/ 59 w 105"/>
                  <a:gd name="T15" fmla="*/ 115 h 115"/>
                  <a:gd name="T16" fmla="*/ 0 w 105"/>
                  <a:gd name="T17" fmla="*/ 0 h 115"/>
                  <a:gd name="T18" fmla="*/ 56 w 105"/>
                  <a:gd name="T19" fmla="*/ 0 h 115"/>
                  <a:gd name="T20" fmla="*/ 73 w 105"/>
                  <a:gd name="T21" fmla="*/ 2 h 115"/>
                  <a:gd name="T22" fmla="*/ 88 w 105"/>
                  <a:gd name="T23" fmla="*/ 8 h 115"/>
                  <a:gd name="T24" fmla="*/ 93 w 105"/>
                  <a:gd name="T25" fmla="*/ 12 h 115"/>
                  <a:gd name="T26" fmla="*/ 99 w 105"/>
                  <a:gd name="T27" fmla="*/ 24 h 115"/>
                  <a:gd name="T28" fmla="*/ 99 w 105"/>
                  <a:gd name="T29" fmla="*/ 30 h 115"/>
                  <a:gd name="T30" fmla="*/ 95 w 105"/>
                  <a:gd name="T31" fmla="*/ 45 h 115"/>
                  <a:gd name="T32" fmla="*/ 90 w 105"/>
                  <a:gd name="T33" fmla="*/ 52 h 115"/>
                  <a:gd name="T34" fmla="*/ 84 w 105"/>
                  <a:gd name="T35" fmla="*/ 56 h 115"/>
                  <a:gd name="T36" fmla="*/ 92 w 105"/>
                  <a:gd name="T37" fmla="*/ 60 h 115"/>
                  <a:gd name="T38" fmla="*/ 99 w 105"/>
                  <a:gd name="T39" fmla="*/ 66 h 115"/>
                  <a:gd name="T40" fmla="*/ 32 w 105"/>
                  <a:gd name="T41" fmla="*/ 46 h 115"/>
                  <a:gd name="T42" fmla="*/ 53 w 105"/>
                  <a:gd name="T43" fmla="*/ 46 h 115"/>
                  <a:gd name="T44" fmla="*/ 63 w 105"/>
                  <a:gd name="T45" fmla="*/ 43 h 115"/>
                  <a:gd name="T46" fmla="*/ 67 w 105"/>
                  <a:gd name="T47" fmla="*/ 35 h 115"/>
                  <a:gd name="T48" fmla="*/ 66 w 105"/>
                  <a:gd name="T49" fmla="*/ 30 h 115"/>
                  <a:gd name="T50" fmla="*/ 59 w 105"/>
                  <a:gd name="T51" fmla="*/ 24 h 115"/>
                  <a:gd name="T52" fmla="*/ 32 w 105"/>
                  <a:gd name="T53" fmla="*/ 23 h 115"/>
                  <a:gd name="T54" fmla="*/ 72 w 105"/>
                  <a:gd name="T55" fmla="*/ 80 h 115"/>
                  <a:gd name="T56" fmla="*/ 71 w 105"/>
                  <a:gd name="T57" fmla="*/ 75 h 115"/>
                  <a:gd name="T58" fmla="*/ 64 w 105"/>
                  <a:gd name="T59" fmla="*/ 69 h 115"/>
                  <a:gd name="T60" fmla="*/ 32 w 105"/>
                  <a:gd name="T61" fmla="*/ 69 h 115"/>
                  <a:gd name="T62" fmla="*/ 58 w 105"/>
                  <a:gd name="T63" fmla="*/ 92 h 115"/>
                  <a:gd name="T64" fmla="*/ 64 w 105"/>
                  <a:gd name="T65" fmla="*/ 91 h 115"/>
                  <a:gd name="T66" fmla="*/ 71 w 105"/>
                  <a:gd name="T67" fmla="*/ 85 h 115"/>
                  <a:gd name="T68" fmla="*/ 72 w 105"/>
                  <a:gd name="T69" fmla="*/ 8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5" h="115">
                    <a:moveTo>
                      <a:pt x="99" y="66"/>
                    </a:moveTo>
                    <a:lnTo>
                      <a:pt x="99" y="66"/>
                    </a:lnTo>
                    <a:lnTo>
                      <a:pt x="102" y="70"/>
                    </a:lnTo>
                    <a:lnTo>
                      <a:pt x="103" y="74"/>
                    </a:lnTo>
                    <a:lnTo>
                      <a:pt x="104" y="78"/>
                    </a:lnTo>
                    <a:lnTo>
                      <a:pt x="105" y="83"/>
                    </a:lnTo>
                    <a:lnTo>
                      <a:pt x="105" y="83"/>
                    </a:lnTo>
                    <a:lnTo>
                      <a:pt x="104" y="90"/>
                    </a:lnTo>
                    <a:lnTo>
                      <a:pt x="102" y="96"/>
                    </a:lnTo>
                    <a:lnTo>
                      <a:pt x="98" y="102"/>
                    </a:lnTo>
                    <a:lnTo>
                      <a:pt x="93" y="107"/>
                    </a:lnTo>
                    <a:lnTo>
                      <a:pt x="93" y="107"/>
                    </a:lnTo>
                    <a:lnTo>
                      <a:pt x="85" y="111"/>
                    </a:lnTo>
                    <a:lnTo>
                      <a:pt x="77" y="114"/>
                    </a:lnTo>
                    <a:lnTo>
                      <a:pt x="68" y="115"/>
                    </a:lnTo>
                    <a:lnTo>
                      <a:pt x="59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5" y="1"/>
                    </a:lnTo>
                    <a:lnTo>
                      <a:pt x="73" y="2"/>
                    </a:lnTo>
                    <a:lnTo>
                      <a:pt x="81" y="4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93" y="12"/>
                    </a:lnTo>
                    <a:lnTo>
                      <a:pt x="97" y="18"/>
                    </a:lnTo>
                    <a:lnTo>
                      <a:pt x="99" y="24"/>
                    </a:lnTo>
                    <a:lnTo>
                      <a:pt x="99" y="30"/>
                    </a:lnTo>
                    <a:lnTo>
                      <a:pt x="99" y="30"/>
                    </a:lnTo>
                    <a:lnTo>
                      <a:pt x="98" y="38"/>
                    </a:lnTo>
                    <a:lnTo>
                      <a:pt x="95" y="45"/>
                    </a:lnTo>
                    <a:lnTo>
                      <a:pt x="95" y="45"/>
                    </a:lnTo>
                    <a:lnTo>
                      <a:pt x="90" y="52"/>
                    </a:lnTo>
                    <a:lnTo>
                      <a:pt x="84" y="56"/>
                    </a:lnTo>
                    <a:lnTo>
                      <a:pt x="84" y="56"/>
                    </a:lnTo>
                    <a:lnTo>
                      <a:pt x="88" y="57"/>
                    </a:lnTo>
                    <a:lnTo>
                      <a:pt x="92" y="60"/>
                    </a:lnTo>
                    <a:lnTo>
                      <a:pt x="96" y="62"/>
                    </a:lnTo>
                    <a:lnTo>
                      <a:pt x="99" y="66"/>
                    </a:lnTo>
                    <a:lnTo>
                      <a:pt x="99" y="66"/>
                    </a:lnTo>
                    <a:close/>
                    <a:moveTo>
                      <a:pt x="32" y="46"/>
                    </a:moveTo>
                    <a:lnTo>
                      <a:pt x="53" y="46"/>
                    </a:lnTo>
                    <a:lnTo>
                      <a:pt x="53" y="46"/>
                    </a:lnTo>
                    <a:lnTo>
                      <a:pt x="59" y="45"/>
                    </a:lnTo>
                    <a:lnTo>
                      <a:pt x="63" y="43"/>
                    </a:lnTo>
                    <a:lnTo>
                      <a:pt x="66" y="40"/>
                    </a:lnTo>
                    <a:lnTo>
                      <a:pt x="67" y="35"/>
                    </a:lnTo>
                    <a:lnTo>
                      <a:pt x="67" y="35"/>
                    </a:lnTo>
                    <a:lnTo>
                      <a:pt x="66" y="30"/>
                    </a:lnTo>
                    <a:lnTo>
                      <a:pt x="63" y="26"/>
                    </a:lnTo>
                    <a:lnTo>
                      <a:pt x="59" y="24"/>
                    </a:lnTo>
                    <a:lnTo>
                      <a:pt x="53" y="23"/>
                    </a:lnTo>
                    <a:lnTo>
                      <a:pt x="32" y="23"/>
                    </a:lnTo>
                    <a:lnTo>
                      <a:pt x="32" y="46"/>
                    </a:lnTo>
                    <a:close/>
                    <a:moveTo>
                      <a:pt x="72" y="80"/>
                    </a:moveTo>
                    <a:lnTo>
                      <a:pt x="72" y="80"/>
                    </a:lnTo>
                    <a:lnTo>
                      <a:pt x="71" y="75"/>
                    </a:lnTo>
                    <a:lnTo>
                      <a:pt x="69" y="72"/>
                    </a:lnTo>
                    <a:lnTo>
                      <a:pt x="64" y="69"/>
                    </a:lnTo>
                    <a:lnTo>
                      <a:pt x="58" y="69"/>
                    </a:lnTo>
                    <a:lnTo>
                      <a:pt x="32" y="69"/>
                    </a:lnTo>
                    <a:lnTo>
                      <a:pt x="32" y="92"/>
                    </a:lnTo>
                    <a:lnTo>
                      <a:pt x="58" y="92"/>
                    </a:lnTo>
                    <a:lnTo>
                      <a:pt x="58" y="92"/>
                    </a:lnTo>
                    <a:lnTo>
                      <a:pt x="64" y="91"/>
                    </a:lnTo>
                    <a:lnTo>
                      <a:pt x="69" y="89"/>
                    </a:lnTo>
                    <a:lnTo>
                      <a:pt x="71" y="85"/>
                    </a:lnTo>
                    <a:lnTo>
                      <a:pt x="72" y="80"/>
                    </a:lnTo>
                    <a:lnTo>
                      <a:pt x="72" y="80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19">
                <a:extLst>
                  <a:ext uri="{FF2B5EF4-FFF2-40B4-BE49-F238E27FC236}">
                    <a16:creationId xmlns:a16="http://schemas.microsoft.com/office/drawing/2014/main" id="{C5D81218-AC87-45EF-820B-4DAB9A3B1E71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664829" y="1535113"/>
                <a:ext cx="115888" cy="90487"/>
              </a:xfrm>
              <a:custGeom>
                <a:avLst/>
                <a:gdLst>
                  <a:gd name="T0" fmla="*/ 92 w 147"/>
                  <a:gd name="T1" fmla="*/ 46 h 115"/>
                  <a:gd name="T2" fmla="*/ 92 w 147"/>
                  <a:gd name="T3" fmla="*/ 46 h 115"/>
                  <a:gd name="T4" fmla="*/ 97 w 147"/>
                  <a:gd name="T5" fmla="*/ 53 h 115"/>
                  <a:gd name="T6" fmla="*/ 101 w 147"/>
                  <a:gd name="T7" fmla="*/ 60 h 115"/>
                  <a:gd name="T8" fmla="*/ 103 w 147"/>
                  <a:gd name="T9" fmla="*/ 67 h 115"/>
                  <a:gd name="T10" fmla="*/ 103 w 147"/>
                  <a:gd name="T11" fmla="*/ 75 h 115"/>
                  <a:gd name="T12" fmla="*/ 103 w 147"/>
                  <a:gd name="T13" fmla="*/ 75 h 115"/>
                  <a:gd name="T14" fmla="*/ 103 w 147"/>
                  <a:gd name="T15" fmla="*/ 83 h 115"/>
                  <a:gd name="T16" fmla="*/ 100 w 147"/>
                  <a:gd name="T17" fmla="*/ 91 h 115"/>
                  <a:gd name="T18" fmla="*/ 96 w 147"/>
                  <a:gd name="T19" fmla="*/ 99 h 115"/>
                  <a:gd name="T20" fmla="*/ 90 w 147"/>
                  <a:gd name="T21" fmla="*/ 105 h 115"/>
                  <a:gd name="T22" fmla="*/ 90 w 147"/>
                  <a:gd name="T23" fmla="*/ 105 h 115"/>
                  <a:gd name="T24" fmla="*/ 82 w 147"/>
                  <a:gd name="T25" fmla="*/ 110 h 115"/>
                  <a:gd name="T26" fmla="*/ 74 w 147"/>
                  <a:gd name="T27" fmla="*/ 113 h 115"/>
                  <a:gd name="T28" fmla="*/ 65 w 147"/>
                  <a:gd name="T29" fmla="*/ 115 h 115"/>
                  <a:gd name="T30" fmla="*/ 55 w 147"/>
                  <a:gd name="T31" fmla="*/ 115 h 115"/>
                  <a:gd name="T32" fmla="*/ 0 w 147"/>
                  <a:gd name="T33" fmla="*/ 115 h 115"/>
                  <a:gd name="T34" fmla="*/ 0 w 147"/>
                  <a:gd name="T35" fmla="*/ 1 h 115"/>
                  <a:gd name="T36" fmla="*/ 32 w 147"/>
                  <a:gd name="T37" fmla="*/ 1 h 115"/>
                  <a:gd name="T38" fmla="*/ 32 w 147"/>
                  <a:gd name="T39" fmla="*/ 37 h 115"/>
                  <a:gd name="T40" fmla="*/ 59 w 147"/>
                  <a:gd name="T41" fmla="*/ 37 h 115"/>
                  <a:gd name="T42" fmla="*/ 59 w 147"/>
                  <a:gd name="T43" fmla="*/ 37 h 115"/>
                  <a:gd name="T44" fmla="*/ 68 w 147"/>
                  <a:gd name="T45" fmla="*/ 37 h 115"/>
                  <a:gd name="T46" fmla="*/ 76 w 147"/>
                  <a:gd name="T47" fmla="*/ 39 h 115"/>
                  <a:gd name="T48" fmla="*/ 84 w 147"/>
                  <a:gd name="T49" fmla="*/ 42 h 115"/>
                  <a:gd name="T50" fmla="*/ 92 w 147"/>
                  <a:gd name="T51" fmla="*/ 46 h 115"/>
                  <a:gd name="T52" fmla="*/ 92 w 147"/>
                  <a:gd name="T53" fmla="*/ 46 h 115"/>
                  <a:gd name="T54" fmla="*/ 66 w 147"/>
                  <a:gd name="T55" fmla="*/ 88 h 115"/>
                  <a:gd name="T56" fmla="*/ 66 w 147"/>
                  <a:gd name="T57" fmla="*/ 88 h 115"/>
                  <a:gd name="T58" fmla="*/ 68 w 147"/>
                  <a:gd name="T59" fmla="*/ 85 h 115"/>
                  <a:gd name="T60" fmla="*/ 70 w 147"/>
                  <a:gd name="T61" fmla="*/ 82 h 115"/>
                  <a:gd name="T62" fmla="*/ 71 w 147"/>
                  <a:gd name="T63" fmla="*/ 79 h 115"/>
                  <a:gd name="T64" fmla="*/ 71 w 147"/>
                  <a:gd name="T65" fmla="*/ 76 h 115"/>
                  <a:gd name="T66" fmla="*/ 71 w 147"/>
                  <a:gd name="T67" fmla="*/ 76 h 115"/>
                  <a:gd name="T68" fmla="*/ 71 w 147"/>
                  <a:gd name="T69" fmla="*/ 72 h 115"/>
                  <a:gd name="T70" fmla="*/ 70 w 147"/>
                  <a:gd name="T71" fmla="*/ 69 h 115"/>
                  <a:gd name="T72" fmla="*/ 68 w 147"/>
                  <a:gd name="T73" fmla="*/ 67 h 115"/>
                  <a:gd name="T74" fmla="*/ 66 w 147"/>
                  <a:gd name="T75" fmla="*/ 64 h 115"/>
                  <a:gd name="T76" fmla="*/ 64 w 147"/>
                  <a:gd name="T77" fmla="*/ 63 h 115"/>
                  <a:gd name="T78" fmla="*/ 61 w 147"/>
                  <a:gd name="T79" fmla="*/ 62 h 115"/>
                  <a:gd name="T80" fmla="*/ 53 w 147"/>
                  <a:gd name="T81" fmla="*/ 61 h 115"/>
                  <a:gd name="T82" fmla="*/ 32 w 147"/>
                  <a:gd name="T83" fmla="*/ 61 h 115"/>
                  <a:gd name="T84" fmla="*/ 32 w 147"/>
                  <a:gd name="T85" fmla="*/ 92 h 115"/>
                  <a:gd name="T86" fmla="*/ 53 w 147"/>
                  <a:gd name="T87" fmla="*/ 92 h 115"/>
                  <a:gd name="T88" fmla="*/ 53 w 147"/>
                  <a:gd name="T89" fmla="*/ 92 h 115"/>
                  <a:gd name="T90" fmla="*/ 57 w 147"/>
                  <a:gd name="T91" fmla="*/ 92 h 115"/>
                  <a:gd name="T92" fmla="*/ 60 w 147"/>
                  <a:gd name="T93" fmla="*/ 91 h 115"/>
                  <a:gd name="T94" fmla="*/ 63 w 147"/>
                  <a:gd name="T95" fmla="*/ 90 h 115"/>
                  <a:gd name="T96" fmla="*/ 66 w 147"/>
                  <a:gd name="T97" fmla="*/ 88 h 115"/>
                  <a:gd name="T98" fmla="*/ 66 w 147"/>
                  <a:gd name="T99" fmla="*/ 88 h 115"/>
                  <a:gd name="T100" fmla="*/ 116 w 147"/>
                  <a:gd name="T101" fmla="*/ 0 h 115"/>
                  <a:gd name="T102" fmla="*/ 147 w 147"/>
                  <a:gd name="T103" fmla="*/ 0 h 115"/>
                  <a:gd name="T104" fmla="*/ 147 w 147"/>
                  <a:gd name="T105" fmla="*/ 115 h 115"/>
                  <a:gd name="T106" fmla="*/ 116 w 147"/>
                  <a:gd name="T107" fmla="*/ 115 h 115"/>
                  <a:gd name="T108" fmla="*/ 116 w 147"/>
                  <a:gd name="T109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47" h="115">
                    <a:moveTo>
                      <a:pt x="92" y="46"/>
                    </a:moveTo>
                    <a:lnTo>
                      <a:pt x="92" y="46"/>
                    </a:lnTo>
                    <a:lnTo>
                      <a:pt x="97" y="53"/>
                    </a:lnTo>
                    <a:lnTo>
                      <a:pt x="101" y="60"/>
                    </a:lnTo>
                    <a:lnTo>
                      <a:pt x="103" y="67"/>
                    </a:lnTo>
                    <a:lnTo>
                      <a:pt x="103" y="75"/>
                    </a:lnTo>
                    <a:lnTo>
                      <a:pt x="103" y="75"/>
                    </a:lnTo>
                    <a:lnTo>
                      <a:pt x="103" y="83"/>
                    </a:lnTo>
                    <a:lnTo>
                      <a:pt x="100" y="91"/>
                    </a:lnTo>
                    <a:lnTo>
                      <a:pt x="96" y="99"/>
                    </a:lnTo>
                    <a:lnTo>
                      <a:pt x="90" y="105"/>
                    </a:lnTo>
                    <a:lnTo>
                      <a:pt x="90" y="105"/>
                    </a:lnTo>
                    <a:lnTo>
                      <a:pt x="82" y="110"/>
                    </a:lnTo>
                    <a:lnTo>
                      <a:pt x="74" y="113"/>
                    </a:lnTo>
                    <a:lnTo>
                      <a:pt x="65" y="115"/>
                    </a:lnTo>
                    <a:lnTo>
                      <a:pt x="55" y="115"/>
                    </a:lnTo>
                    <a:lnTo>
                      <a:pt x="0" y="115"/>
                    </a:lnTo>
                    <a:lnTo>
                      <a:pt x="0" y="1"/>
                    </a:lnTo>
                    <a:lnTo>
                      <a:pt x="32" y="1"/>
                    </a:lnTo>
                    <a:lnTo>
                      <a:pt x="32" y="37"/>
                    </a:lnTo>
                    <a:lnTo>
                      <a:pt x="59" y="37"/>
                    </a:lnTo>
                    <a:lnTo>
                      <a:pt x="59" y="37"/>
                    </a:lnTo>
                    <a:lnTo>
                      <a:pt x="68" y="37"/>
                    </a:lnTo>
                    <a:lnTo>
                      <a:pt x="76" y="39"/>
                    </a:lnTo>
                    <a:lnTo>
                      <a:pt x="84" y="42"/>
                    </a:lnTo>
                    <a:lnTo>
                      <a:pt x="92" y="46"/>
                    </a:lnTo>
                    <a:lnTo>
                      <a:pt x="92" y="46"/>
                    </a:lnTo>
                    <a:close/>
                    <a:moveTo>
                      <a:pt x="66" y="88"/>
                    </a:moveTo>
                    <a:lnTo>
                      <a:pt x="66" y="88"/>
                    </a:lnTo>
                    <a:lnTo>
                      <a:pt x="68" y="85"/>
                    </a:lnTo>
                    <a:lnTo>
                      <a:pt x="70" y="82"/>
                    </a:lnTo>
                    <a:lnTo>
                      <a:pt x="71" y="79"/>
                    </a:lnTo>
                    <a:lnTo>
                      <a:pt x="71" y="76"/>
                    </a:lnTo>
                    <a:lnTo>
                      <a:pt x="71" y="76"/>
                    </a:lnTo>
                    <a:lnTo>
                      <a:pt x="71" y="72"/>
                    </a:lnTo>
                    <a:lnTo>
                      <a:pt x="70" y="69"/>
                    </a:lnTo>
                    <a:lnTo>
                      <a:pt x="68" y="67"/>
                    </a:lnTo>
                    <a:lnTo>
                      <a:pt x="66" y="64"/>
                    </a:lnTo>
                    <a:lnTo>
                      <a:pt x="64" y="63"/>
                    </a:lnTo>
                    <a:lnTo>
                      <a:pt x="61" y="62"/>
                    </a:lnTo>
                    <a:lnTo>
                      <a:pt x="53" y="61"/>
                    </a:lnTo>
                    <a:lnTo>
                      <a:pt x="32" y="61"/>
                    </a:lnTo>
                    <a:lnTo>
                      <a:pt x="32" y="92"/>
                    </a:lnTo>
                    <a:lnTo>
                      <a:pt x="53" y="92"/>
                    </a:lnTo>
                    <a:lnTo>
                      <a:pt x="53" y="92"/>
                    </a:lnTo>
                    <a:lnTo>
                      <a:pt x="57" y="92"/>
                    </a:lnTo>
                    <a:lnTo>
                      <a:pt x="60" y="91"/>
                    </a:lnTo>
                    <a:lnTo>
                      <a:pt x="63" y="90"/>
                    </a:lnTo>
                    <a:lnTo>
                      <a:pt x="66" y="88"/>
                    </a:lnTo>
                    <a:lnTo>
                      <a:pt x="66" y="88"/>
                    </a:lnTo>
                    <a:close/>
                    <a:moveTo>
                      <a:pt x="116" y="0"/>
                    </a:moveTo>
                    <a:lnTo>
                      <a:pt x="147" y="0"/>
                    </a:lnTo>
                    <a:lnTo>
                      <a:pt x="147" y="115"/>
                    </a:lnTo>
                    <a:lnTo>
                      <a:pt x="116" y="115"/>
                    </a:lnTo>
                    <a:lnTo>
                      <a:pt x="116" y="0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20">
                <a:extLst>
                  <a:ext uri="{FF2B5EF4-FFF2-40B4-BE49-F238E27FC236}">
                    <a16:creationId xmlns:a16="http://schemas.microsoft.com/office/drawing/2014/main" id="{AA0C971F-ACBC-4355-A073-5EC62AB5C4B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802941" y="1535113"/>
                <a:ext cx="74613" cy="90487"/>
              </a:xfrm>
              <a:custGeom>
                <a:avLst/>
                <a:gdLst>
                  <a:gd name="T0" fmla="*/ 92 w 92"/>
                  <a:gd name="T1" fmla="*/ 90 h 115"/>
                  <a:gd name="T2" fmla="*/ 92 w 92"/>
                  <a:gd name="T3" fmla="*/ 115 h 115"/>
                  <a:gd name="T4" fmla="*/ 0 w 92"/>
                  <a:gd name="T5" fmla="*/ 115 h 115"/>
                  <a:gd name="T6" fmla="*/ 0 w 92"/>
                  <a:gd name="T7" fmla="*/ 0 h 115"/>
                  <a:gd name="T8" fmla="*/ 90 w 92"/>
                  <a:gd name="T9" fmla="*/ 0 h 115"/>
                  <a:gd name="T10" fmla="*/ 90 w 92"/>
                  <a:gd name="T11" fmla="*/ 25 h 115"/>
                  <a:gd name="T12" fmla="*/ 32 w 92"/>
                  <a:gd name="T13" fmla="*/ 25 h 115"/>
                  <a:gd name="T14" fmla="*/ 32 w 92"/>
                  <a:gd name="T15" fmla="*/ 44 h 115"/>
                  <a:gd name="T16" fmla="*/ 83 w 92"/>
                  <a:gd name="T17" fmla="*/ 44 h 115"/>
                  <a:gd name="T18" fmla="*/ 83 w 92"/>
                  <a:gd name="T19" fmla="*/ 69 h 115"/>
                  <a:gd name="T20" fmla="*/ 32 w 92"/>
                  <a:gd name="T21" fmla="*/ 69 h 115"/>
                  <a:gd name="T22" fmla="*/ 32 w 92"/>
                  <a:gd name="T23" fmla="*/ 90 h 115"/>
                  <a:gd name="T24" fmla="*/ 92 w 92"/>
                  <a:gd name="T25" fmla="*/ 9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2" h="115">
                    <a:moveTo>
                      <a:pt x="92" y="90"/>
                    </a:moveTo>
                    <a:lnTo>
                      <a:pt x="9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25"/>
                    </a:lnTo>
                    <a:lnTo>
                      <a:pt x="32" y="25"/>
                    </a:lnTo>
                    <a:lnTo>
                      <a:pt x="32" y="44"/>
                    </a:lnTo>
                    <a:lnTo>
                      <a:pt x="83" y="44"/>
                    </a:lnTo>
                    <a:lnTo>
                      <a:pt x="83" y="69"/>
                    </a:lnTo>
                    <a:lnTo>
                      <a:pt x="32" y="69"/>
                    </a:lnTo>
                    <a:lnTo>
                      <a:pt x="32" y="90"/>
                    </a:lnTo>
                    <a:lnTo>
                      <a:pt x="92" y="90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21">
                <a:extLst>
                  <a:ext uri="{FF2B5EF4-FFF2-40B4-BE49-F238E27FC236}">
                    <a16:creationId xmlns:a16="http://schemas.microsoft.com/office/drawing/2014/main" id="{7F69D6AB-17EE-48EA-8A77-D6499572C1A6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934704" y="1535113"/>
                <a:ext cx="82550" cy="90487"/>
              </a:xfrm>
              <a:custGeom>
                <a:avLst/>
                <a:gdLst>
                  <a:gd name="T0" fmla="*/ 79 w 104"/>
                  <a:gd name="T1" fmla="*/ 5 h 115"/>
                  <a:gd name="T2" fmla="*/ 79 w 104"/>
                  <a:gd name="T3" fmla="*/ 5 h 115"/>
                  <a:gd name="T4" fmla="*/ 85 w 104"/>
                  <a:gd name="T5" fmla="*/ 8 h 115"/>
                  <a:gd name="T6" fmla="*/ 90 w 104"/>
                  <a:gd name="T7" fmla="*/ 12 h 115"/>
                  <a:gd name="T8" fmla="*/ 94 w 104"/>
                  <a:gd name="T9" fmla="*/ 16 h 115"/>
                  <a:gd name="T10" fmla="*/ 98 w 104"/>
                  <a:gd name="T11" fmla="*/ 20 h 115"/>
                  <a:gd name="T12" fmla="*/ 98 w 104"/>
                  <a:gd name="T13" fmla="*/ 20 h 115"/>
                  <a:gd name="T14" fmla="*/ 101 w 104"/>
                  <a:gd name="T15" fmla="*/ 27 h 115"/>
                  <a:gd name="T16" fmla="*/ 104 w 104"/>
                  <a:gd name="T17" fmla="*/ 35 h 115"/>
                  <a:gd name="T18" fmla="*/ 104 w 104"/>
                  <a:gd name="T19" fmla="*/ 43 h 115"/>
                  <a:gd name="T20" fmla="*/ 104 w 104"/>
                  <a:gd name="T21" fmla="*/ 51 h 115"/>
                  <a:gd name="T22" fmla="*/ 102 w 104"/>
                  <a:gd name="T23" fmla="*/ 59 h 115"/>
                  <a:gd name="T24" fmla="*/ 98 w 104"/>
                  <a:gd name="T25" fmla="*/ 66 h 115"/>
                  <a:gd name="T26" fmla="*/ 93 w 104"/>
                  <a:gd name="T27" fmla="*/ 72 h 115"/>
                  <a:gd name="T28" fmla="*/ 87 w 104"/>
                  <a:gd name="T29" fmla="*/ 77 h 115"/>
                  <a:gd name="T30" fmla="*/ 87 w 104"/>
                  <a:gd name="T31" fmla="*/ 77 h 115"/>
                  <a:gd name="T32" fmla="*/ 79 w 104"/>
                  <a:gd name="T33" fmla="*/ 81 h 115"/>
                  <a:gd name="T34" fmla="*/ 79 w 104"/>
                  <a:gd name="T35" fmla="*/ 81 h 115"/>
                  <a:gd name="T36" fmla="*/ 72 w 104"/>
                  <a:gd name="T37" fmla="*/ 83 h 115"/>
                  <a:gd name="T38" fmla="*/ 66 w 104"/>
                  <a:gd name="T39" fmla="*/ 85 h 115"/>
                  <a:gd name="T40" fmla="*/ 59 w 104"/>
                  <a:gd name="T41" fmla="*/ 85 h 115"/>
                  <a:gd name="T42" fmla="*/ 52 w 104"/>
                  <a:gd name="T43" fmla="*/ 86 h 115"/>
                  <a:gd name="T44" fmla="*/ 32 w 104"/>
                  <a:gd name="T45" fmla="*/ 86 h 115"/>
                  <a:gd name="T46" fmla="*/ 32 w 104"/>
                  <a:gd name="T47" fmla="*/ 115 h 115"/>
                  <a:gd name="T48" fmla="*/ 0 w 104"/>
                  <a:gd name="T49" fmla="*/ 115 h 115"/>
                  <a:gd name="T50" fmla="*/ 0 w 104"/>
                  <a:gd name="T51" fmla="*/ 0 h 115"/>
                  <a:gd name="T52" fmla="*/ 52 w 104"/>
                  <a:gd name="T53" fmla="*/ 0 h 115"/>
                  <a:gd name="T54" fmla="*/ 52 w 104"/>
                  <a:gd name="T55" fmla="*/ 0 h 115"/>
                  <a:gd name="T56" fmla="*/ 59 w 104"/>
                  <a:gd name="T57" fmla="*/ 1 h 115"/>
                  <a:gd name="T58" fmla="*/ 66 w 104"/>
                  <a:gd name="T59" fmla="*/ 2 h 115"/>
                  <a:gd name="T60" fmla="*/ 73 w 104"/>
                  <a:gd name="T61" fmla="*/ 3 h 115"/>
                  <a:gd name="T62" fmla="*/ 79 w 104"/>
                  <a:gd name="T63" fmla="*/ 5 h 115"/>
                  <a:gd name="T64" fmla="*/ 79 w 104"/>
                  <a:gd name="T65" fmla="*/ 5 h 115"/>
                  <a:gd name="T66" fmla="*/ 65 w 104"/>
                  <a:gd name="T67" fmla="*/ 56 h 115"/>
                  <a:gd name="T68" fmla="*/ 65 w 104"/>
                  <a:gd name="T69" fmla="*/ 56 h 115"/>
                  <a:gd name="T70" fmla="*/ 67 w 104"/>
                  <a:gd name="T71" fmla="*/ 53 h 115"/>
                  <a:gd name="T72" fmla="*/ 69 w 104"/>
                  <a:gd name="T73" fmla="*/ 50 h 115"/>
                  <a:gd name="T74" fmla="*/ 70 w 104"/>
                  <a:gd name="T75" fmla="*/ 46 h 115"/>
                  <a:gd name="T76" fmla="*/ 70 w 104"/>
                  <a:gd name="T77" fmla="*/ 43 h 115"/>
                  <a:gd name="T78" fmla="*/ 70 w 104"/>
                  <a:gd name="T79" fmla="*/ 43 h 115"/>
                  <a:gd name="T80" fmla="*/ 70 w 104"/>
                  <a:gd name="T81" fmla="*/ 39 h 115"/>
                  <a:gd name="T82" fmla="*/ 69 w 104"/>
                  <a:gd name="T83" fmla="*/ 36 h 115"/>
                  <a:gd name="T84" fmla="*/ 67 w 104"/>
                  <a:gd name="T85" fmla="*/ 33 h 115"/>
                  <a:gd name="T86" fmla="*/ 65 w 104"/>
                  <a:gd name="T87" fmla="*/ 30 h 115"/>
                  <a:gd name="T88" fmla="*/ 65 w 104"/>
                  <a:gd name="T89" fmla="*/ 30 h 115"/>
                  <a:gd name="T90" fmla="*/ 62 w 104"/>
                  <a:gd name="T91" fmla="*/ 28 h 115"/>
                  <a:gd name="T92" fmla="*/ 58 w 104"/>
                  <a:gd name="T93" fmla="*/ 27 h 115"/>
                  <a:gd name="T94" fmla="*/ 54 w 104"/>
                  <a:gd name="T95" fmla="*/ 26 h 115"/>
                  <a:gd name="T96" fmla="*/ 50 w 104"/>
                  <a:gd name="T97" fmla="*/ 26 h 115"/>
                  <a:gd name="T98" fmla="*/ 32 w 104"/>
                  <a:gd name="T99" fmla="*/ 26 h 115"/>
                  <a:gd name="T100" fmla="*/ 32 w 104"/>
                  <a:gd name="T101" fmla="*/ 60 h 115"/>
                  <a:gd name="T102" fmla="*/ 50 w 104"/>
                  <a:gd name="T103" fmla="*/ 60 h 115"/>
                  <a:gd name="T104" fmla="*/ 50 w 104"/>
                  <a:gd name="T105" fmla="*/ 60 h 115"/>
                  <a:gd name="T106" fmla="*/ 54 w 104"/>
                  <a:gd name="T107" fmla="*/ 60 h 115"/>
                  <a:gd name="T108" fmla="*/ 58 w 104"/>
                  <a:gd name="T109" fmla="*/ 59 h 115"/>
                  <a:gd name="T110" fmla="*/ 62 w 104"/>
                  <a:gd name="T111" fmla="*/ 58 h 115"/>
                  <a:gd name="T112" fmla="*/ 65 w 104"/>
                  <a:gd name="T113" fmla="*/ 56 h 115"/>
                  <a:gd name="T114" fmla="*/ 65 w 104"/>
                  <a:gd name="T115" fmla="*/ 56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04" h="115">
                    <a:moveTo>
                      <a:pt x="79" y="5"/>
                    </a:moveTo>
                    <a:lnTo>
                      <a:pt x="79" y="5"/>
                    </a:lnTo>
                    <a:lnTo>
                      <a:pt x="85" y="8"/>
                    </a:lnTo>
                    <a:lnTo>
                      <a:pt x="90" y="12"/>
                    </a:lnTo>
                    <a:lnTo>
                      <a:pt x="94" y="16"/>
                    </a:lnTo>
                    <a:lnTo>
                      <a:pt x="98" y="20"/>
                    </a:lnTo>
                    <a:lnTo>
                      <a:pt x="98" y="20"/>
                    </a:lnTo>
                    <a:lnTo>
                      <a:pt x="101" y="27"/>
                    </a:lnTo>
                    <a:lnTo>
                      <a:pt x="104" y="35"/>
                    </a:lnTo>
                    <a:lnTo>
                      <a:pt x="104" y="43"/>
                    </a:lnTo>
                    <a:lnTo>
                      <a:pt x="104" y="51"/>
                    </a:lnTo>
                    <a:lnTo>
                      <a:pt x="102" y="59"/>
                    </a:lnTo>
                    <a:lnTo>
                      <a:pt x="98" y="66"/>
                    </a:lnTo>
                    <a:lnTo>
                      <a:pt x="93" y="72"/>
                    </a:lnTo>
                    <a:lnTo>
                      <a:pt x="87" y="77"/>
                    </a:lnTo>
                    <a:lnTo>
                      <a:pt x="87" y="77"/>
                    </a:lnTo>
                    <a:lnTo>
                      <a:pt x="79" y="81"/>
                    </a:lnTo>
                    <a:lnTo>
                      <a:pt x="79" y="81"/>
                    </a:lnTo>
                    <a:lnTo>
                      <a:pt x="72" y="83"/>
                    </a:lnTo>
                    <a:lnTo>
                      <a:pt x="66" y="85"/>
                    </a:lnTo>
                    <a:lnTo>
                      <a:pt x="59" y="85"/>
                    </a:lnTo>
                    <a:lnTo>
                      <a:pt x="52" y="86"/>
                    </a:lnTo>
                    <a:lnTo>
                      <a:pt x="32" y="86"/>
                    </a:lnTo>
                    <a:lnTo>
                      <a:pt x="3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52" y="0"/>
                    </a:lnTo>
                    <a:lnTo>
                      <a:pt x="52" y="0"/>
                    </a:lnTo>
                    <a:lnTo>
                      <a:pt x="59" y="1"/>
                    </a:lnTo>
                    <a:lnTo>
                      <a:pt x="66" y="2"/>
                    </a:lnTo>
                    <a:lnTo>
                      <a:pt x="73" y="3"/>
                    </a:lnTo>
                    <a:lnTo>
                      <a:pt x="79" y="5"/>
                    </a:lnTo>
                    <a:lnTo>
                      <a:pt x="79" y="5"/>
                    </a:lnTo>
                    <a:close/>
                    <a:moveTo>
                      <a:pt x="65" y="56"/>
                    </a:moveTo>
                    <a:lnTo>
                      <a:pt x="65" y="56"/>
                    </a:lnTo>
                    <a:lnTo>
                      <a:pt x="67" y="53"/>
                    </a:lnTo>
                    <a:lnTo>
                      <a:pt x="69" y="50"/>
                    </a:lnTo>
                    <a:lnTo>
                      <a:pt x="70" y="46"/>
                    </a:lnTo>
                    <a:lnTo>
                      <a:pt x="70" y="43"/>
                    </a:lnTo>
                    <a:lnTo>
                      <a:pt x="70" y="43"/>
                    </a:lnTo>
                    <a:lnTo>
                      <a:pt x="70" y="39"/>
                    </a:lnTo>
                    <a:lnTo>
                      <a:pt x="69" y="36"/>
                    </a:lnTo>
                    <a:lnTo>
                      <a:pt x="67" y="33"/>
                    </a:lnTo>
                    <a:lnTo>
                      <a:pt x="65" y="30"/>
                    </a:lnTo>
                    <a:lnTo>
                      <a:pt x="65" y="30"/>
                    </a:lnTo>
                    <a:lnTo>
                      <a:pt x="62" y="28"/>
                    </a:lnTo>
                    <a:lnTo>
                      <a:pt x="58" y="27"/>
                    </a:lnTo>
                    <a:lnTo>
                      <a:pt x="54" y="26"/>
                    </a:lnTo>
                    <a:lnTo>
                      <a:pt x="50" y="26"/>
                    </a:lnTo>
                    <a:lnTo>
                      <a:pt x="32" y="26"/>
                    </a:lnTo>
                    <a:lnTo>
                      <a:pt x="32" y="60"/>
                    </a:lnTo>
                    <a:lnTo>
                      <a:pt x="50" y="60"/>
                    </a:lnTo>
                    <a:lnTo>
                      <a:pt x="50" y="60"/>
                    </a:lnTo>
                    <a:lnTo>
                      <a:pt x="54" y="60"/>
                    </a:lnTo>
                    <a:lnTo>
                      <a:pt x="58" y="59"/>
                    </a:lnTo>
                    <a:lnTo>
                      <a:pt x="62" y="58"/>
                    </a:lnTo>
                    <a:lnTo>
                      <a:pt x="65" y="56"/>
                    </a:lnTo>
                    <a:lnTo>
                      <a:pt x="65" y="56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22">
                <a:extLst>
                  <a:ext uri="{FF2B5EF4-FFF2-40B4-BE49-F238E27FC236}">
                    <a16:creationId xmlns:a16="http://schemas.microsoft.com/office/drawing/2014/main" id="{1D4A8739-6419-4225-8561-2DABA3BC5F8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029954" y="1535113"/>
                <a:ext cx="74613" cy="90487"/>
              </a:xfrm>
              <a:custGeom>
                <a:avLst/>
                <a:gdLst>
                  <a:gd name="T0" fmla="*/ 93 w 93"/>
                  <a:gd name="T1" fmla="*/ 90 h 115"/>
                  <a:gd name="T2" fmla="*/ 93 w 93"/>
                  <a:gd name="T3" fmla="*/ 115 h 115"/>
                  <a:gd name="T4" fmla="*/ 0 w 93"/>
                  <a:gd name="T5" fmla="*/ 115 h 115"/>
                  <a:gd name="T6" fmla="*/ 0 w 93"/>
                  <a:gd name="T7" fmla="*/ 0 h 115"/>
                  <a:gd name="T8" fmla="*/ 91 w 93"/>
                  <a:gd name="T9" fmla="*/ 0 h 115"/>
                  <a:gd name="T10" fmla="*/ 91 w 93"/>
                  <a:gd name="T11" fmla="*/ 25 h 115"/>
                  <a:gd name="T12" fmla="*/ 32 w 93"/>
                  <a:gd name="T13" fmla="*/ 25 h 115"/>
                  <a:gd name="T14" fmla="*/ 32 w 93"/>
                  <a:gd name="T15" fmla="*/ 44 h 115"/>
                  <a:gd name="T16" fmla="*/ 83 w 93"/>
                  <a:gd name="T17" fmla="*/ 44 h 115"/>
                  <a:gd name="T18" fmla="*/ 83 w 93"/>
                  <a:gd name="T19" fmla="*/ 69 h 115"/>
                  <a:gd name="T20" fmla="*/ 32 w 93"/>
                  <a:gd name="T21" fmla="*/ 69 h 115"/>
                  <a:gd name="T22" fmla="*/ 32 w 93"/>
                  <a:gd name="T23" fmla="*/ 90 h 115"/>
                  <a:gd name="T24" fmla="*/ 93 w 93"/>
                  <a:gd name="T25" fmla="*/ 9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3" h="115">
                    <a:moveTo>
                      <a:pt x="93" y="90"/>
                    </a:moveTo>
                    <a:lnTo>
                      <a:pt x="93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91" y="0"/>
                    </a:lnTo>
                    <a:lnTo>
                      <a:pt x="91" y="25"/>
                    </a:lnTo>
                    <a:lnTo>
                      <a:pt x="32" y="25"/>
                    </a:lnTo>
                    <a:lnTo>
                      <a:pt x="32" y="44"/>
                    </a:lnTo>
                    <a:lnTo>
                      <a:pt x="83" y="44"/>
                    </a:lnTo>
                    <a:lnTo>
                      <a:pt x="83" y="69"/>
                    </a:lnTo>
                    <a:lnTo>
                      <a:pt x="32" y="69"/>
                    </a:lnTo>
                    <a:lnTo>
                      <a:pt x="32" y="90"/>
                    </a:lnTo>
                    <a:lnTo>
                      <a:pt x="93" y="90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23">
                <a:extLst>
                  <a:ext uri="{FF2B5EF4-FFF2-40B4-BE49-F238E27FC236}">
                    <a16:creationId xmlns:a16="http://schemas.microsoft.com/office/drawing/2014/main" id="{430CD073-9C44-4A0E-A336-CEEC3AD8F2D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122029" y="1535113"/>
                <a:ext cx="122238" cy="90487"/>
              </a:xfrm>
              <a:custGeom>
                <a:avLst/>
                <a:gdLst>
                  <a:gd name="T0" fmla="*/ 155 w 155"/>
                  <a:gd name="T1" fmla="*/ 0 h 115"/>
                  <a:gd name="T2" fmla="*/ 155 w 155"/>
                  <a:gd name="T3" fmla="*/ 115 h 115"/>
                  <a:gd name="T4" fmla="*/ 0 w 155"/>
                  <a:gd name="T5" fmla="*/ 115 h 115"/>
                  <a:gd name="T6" fmla="*/ 0 w 155"/>
                  <a:gd name="T7" fmla="*/ 0 h 115"/>
                  <a:gd name="T8" fmla="*/ 31 w 155"/>
                  <a:gd name="T9" fmla="*/ 0 h 115"/>
                  <a:gd name="T10" fmla="*/ 31 w 155"/>
                  <a:gd name="T11" fmla="*/ 90 h 115"/>
                  <a:gd name="T12" fmla="*/ 61 w 155"/>
                  <a:gd name="T13" fmla="*/ 90 h 115"/>
                  <a:gd name="T14" fmla="*/ 61 w 155"/>
                  <a:gd name="T15" fmla="*/ 0 h 115"/>
                  <a:gd name="T16" fmla="*/ 93 w 155"/>
                  <a:gd name="T17" fmla="*/ 0 h 115"/>
                  <a:gd name="T18" fmla="*/ 93 w 155"/>
                  <a:gd name="T19" fmla="*/ 90 h 115"/>
                  <a:gd name="T20" fmla="*/ 123 w 155"/>
                  <a:gd name="T21" fmla="*/ 90 h 115"/>
                  <a:gd name="T22" fmla="*/ 123 w 155"/>
                  <a:gd name="T23" fmla="*/ 0 h 115"/>
                  <a:gd name="T24" fmla="*/ 155 w 155"/>
                  <a:gd name="T25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5" h="115">
                    <a:moveTo>
                      <a:pt x="155" y="0"/>
                    </a:moveTo>
                    <a:lnTo>
                      <a:pt x="155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1" y="0"/>
                    </a:lnTo>
                    <a:lnTo>
                      <a:pt x="31" y="90"/>
                    </a:lnTo>
                    <a:lnTo>
                      <a:pt x="61" y="90"/>
                    </a:lnTo>
                    <a:lnTo>
                      <a:pt x="61" y="0"/>
                    </a:lnTo>
                    <a:lnTo>
                      <a:pt x="93" y="0"/>
                    </a:lnTo>
                    <a:lnTo>
                      <a:pt x="93" y="90"/>
                    </a:lnTo>
                    <a:lnTo>
                      <a:pt x="123" y="90"/>
                    </a:lnTo>
                    <a:lnTo>
                      <a:pt x="123" y="0"/>
                    </a:lnTo>
                    <a:lnTo>
                      <a:pt x="155" y="0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24">
                <a:extLst>
                  <a:ext uri="{FF2B5EF4-FFF2-40B4-BE49-F238E27FC236}">
                    <a16:creationId xmlns:a16="http://schemas.microsoft.com/office/drawing/2014/main" id="{ED8482CB-B6FA-4D0F-B9A0-BAEC7B8D93F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268079" y="1535113"/>
                <a:ext cx="71438" cy="90487"/>
              </a:xfrm>
              <a:custGeom>
                <a:avLst/>
                <a:gdLst>
                  <a:gd name="T0" fmla="*/ 92 w 92"/>
                  <a:gd name="T1" fmla="*/ 90 h 115"/>
                  <a:gd name="T2" fmla="*/ 92 w 92"/>
                  <a:gd name="T3" fmla="*/ 115 h 115"/>
                  <a:gd name="T4" fmla="*/ 0 w 92"/>
                  <a:gd name="T5" fmla="*/ 115 h 115"/>
                  <a:gd name="T6" fmla="*/ 0 w 92"/>
                  <a:gd name="T7" fmla="*/ 0 h 115"/>
                  <a:gd name="T8" fmla="*/ 90 w 92"/>
                  <a:gd name="T9" fmla="*/ 0 h 115"/>
                  <a:gd name="T10" fmla="*/ 90 w 92"/>
                  <a:gd name="T11" fmla="*/ 25 h 115"/>
                  <a:gd name="T12" fmla="*/ 32 w 92"/>
                  <a:gd name="T13" fmla="*/ 25 h 115"/>
                  <a:gd name="T14" fmla="*/ 32 w 92"/>
                  <a:gd name="T15" fmla="*/ 44 h 115"/>
                  <a:gd name="T16" fmla="*/ 83 w 92"/>
                  <a:gd name="T17" fmla="*/ 44 h 115"/>
                  <a:gd name="T18" fmla="*/ 83 w 92"/>
                  <a:gd name="T19" fmla="*/ 69 h 115"/>
                  <a:gd name="T20" fmla="*/ 32 w 92"/>
                  <a:gd name="T21" fmla="*/ 69 h 115"/>
                  <a:gd name="T22" fmla="*/ 32 w 92"/>
                  <a:gd name="T23" fmla="*/ 90 h 115"/>
                  <a:gd name="T24" fmla="*/ 92 w 92"/>
                  <a:gd name="T25" fmla="*/ 9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2" h="115">
                    <a:moveTo>
                      <a:pt x="92" y="90"/>
                    </a:moveTo>
                    <a:lnTo>
                      <a:pt x="9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25"/>
                    </a:lnTo>
                    <a:lnTo>
                      <a:pt x="32" y="25"/>
                    </a:lnTo>
                    <a:lnTo>
                      <a:pt x="32" y="44"/>
                    </a:lnTo>
                    <a:lnTo>
                      <a:pt x="83" y="44"/>
                    </a:lnTo>
                    <a:lnTo>
                      <a:pt x="83" y="69"/>
                    </a:lnTo>
                    <a:lnTo>
                      <a:pt x="32" y="69"/>
                    </a:lnTo>
                    <a:lnTo>
                      <a:pt x="32" y="90"/>
                    </a:lnTo>
                    <a:lnTo>
                      <a:pt x="92" y="90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25">
                <a:extLst>
                  <a:ext uri="{FF2B5EF4-FFF2-40B4-BE49-F238E27FC236}">
                    <a16:creationId xmlns:a16="http://schemas.microsoft.com/office/drawing/2014/main" id="{F30C22B2-5C9A-4863-B1DC-6D2F6F1E500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358566" y="1535113"/>
                <a:ext cx="85725" cy="90487"/>
              </a:xfrm>
              <a:custGeom>
                <a:avLst/>
                <a:gdLst>
                  <a:gd name="T0" fmla="*/ 109 w 109"/>
                  <a:gd name="T1" fmla="*/ 0 h 115"/>
                  <a:gd name="T2" fmla="*/ 109 w 109"/>
                  <a:gd name="T3" fmla="*/ 115 h 115"/>
                  <a:gd name="T4" fmla="*/ 77 w 109"/>
                  <a:gd name="T5" fmla="*/ 115 h 115"/>
                  <a:gd name="T6" fmla="*/ 77 w 109"/>
                  <a:gd name="T7" fmla="*/ 71 h 115"/>
                  <a:gd name="T8" fmla="*/ 32 w 109"/>
                  <a:gd name="T9" fmla="*/ 71 h 115"/>
                  <a:gd name="T10" fmla="*/ 32 w 109"/>
                  <a:gd name="T11" fmla="*/ 115 h 115"/>
                  <a:gd name="T12" fmla="*/ 0 w 109"/>
                  <a:gd name="T13" fmla="*/ 115 h 115"/>
                  <a:gd name="T14" fmla="*/ 0 w 109"/>
                  <a:gd name="T15" fmla="*/ 0 h 115"/>
                  <a:gd name="T16" fmla="*/ 32 w 109"/>
                  <a:gd name="T17" fmla="*/ 0 h 115"/>
                  <a:gd name="T18" fmla="*/ 32 w 109"/>
                  <a:gd name="T19" fmla="*/ 43 h 115"/>
                  <a:gd name="T20" fmla="*/ 77 w 109"/>
                  <a:gd name="T21" fmla="*/ 43 h 115"/>
                  <a:gd name="T22" fmla="*/ 77 w 109"/>
                  <a:gd name="T23" fmla="*/ 0 h 115"/>
                  <a:gd name="T24" fmla="*/ 109 w 109"/>
                  <a:gd name="T25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9" h="115">
                    <a:moveTo>
                      <a:pt x="109" y="0"/>
                    </a:moveTo>
                    <a:lnTo>
                      <a:pt x="109" y="115"/>
                    </a:lnTo>
                    <a:lnTo>
                      <a:pt x="77" y="115"/>
                    </a:lnTo>
                    <a:lnTo>
                      <a:pt x="77" y="71"/>
                    </a:lnTo>
                    <a:lnTo>
                      <a:pt x="32" y="71"/>
                    </a:lnTo>
                    <a:lnTo>
                      <a:pt x="3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2" y="0"/>
                    </a:lnTo>
                    <a:lnTo>
                      <a:pt x="32" y="43"/>
                    </a:lnTo>
                    <a:lnTo>
                      <a:pt x="77" y="43"/>
                    </a:lnTo>
                    <a:lnTo>
                      <a:pt x="77" y="0"/>
                    </a:lnTo>
                    <a:lnTo>
                      <a:pt x="109" y="0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26">
                <a:extLst>
                  <a:ext uri="{FF2B5EF4-FFF2-40B4-BE49-F238E27FC236}">
                    <a16:creationId xmlns:a16="http://schemas.microsoft.com/office/drawing/2014/main" id="{4B84E5FB-FF52-4BEC-B992-B060B2B95FF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466516" y="1535113"/>
                <a:ext cx="87313" cy="90487"/>
              </a:xfrm>
              <a:custGeom>
                <a:avLst/>
                <a:gdLst>
                  <a:gd name="T0" fmla="*/ 0 w 110"/>
                  <a:gd name="T1" fmla="*/ 0 h 115"/>
                  <a:gd name="T2" fmla="*/ 32 w 110"/>
                  <a:gd name="T3" fmla="*/ 0 h 115"/>
                  <a:gd name="T4" fmla="*/ 32 w 110"/>
                  <a:gd name="T5" fmla="*/ 68 h 115"/>
                  <a:gd name="T6" fmla="*/ 80 w 110"/>
                  <a:gd name="T7" fmla="*/ 0 h 115"/>
                  <a:gd name="T8" fmla="*/ 110 w 110"/>
                  <a:gd name="T9" fmla="*/ 0 h 115"/>
                  <a:gd name="T10" fmla="*/ 110 w 110"/>
                  <a:gd name="T11" fmla="*/ 115 h 115"/>
                  <a:gd name="T12" fmla="*/ 78 w 110"/>
                  <a:gd name="T13" fmla="*/ 115 h 115"/>
                  <a:gd name="T14" fmla="*/ 78 w 110"/>
                  <a:gd name="T15" fmla="*/ 48 h 115"/>
                  <a:gd name="T16" fmla="*/ 30 w 110"/>
                  <a:gd name="T17" fmla="*/ 115 h 115"/>
                  <a:gd name="T18" fmla="*/ 0 w 110"/>
                  <a:gd name="T19" fmla="*/ 115 h 115"/>
                  <a:gd name="T20" fmla="*/ 0 w 110"/>
                  <a:gd name="T21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0" h="115">
                    <a:moveTo>
                      <a:pt x="0" y="0"/>
                    </a:moveTo>
                    <a:lnTo>
                      <a:pt x="32" y="0"/>
                    </a:lnTo>
                    <a:lnTo>
                      <a:pt x="32" y="68"/>
                    </a:lnTo>
                    <a:lnTo>
                      <a:pt x="80" y="0"/>
                    </a:lnTo>
                    <a:lnTo>
                      <a:pt x="110" y="0"/>
                    </a:lnTo>
                    <a:lnTo>
                      <a:pt x="110" y="115"/>
                    </a:lnTo>
                    <a:lnTo>
                      <a:pt x="78" y="115"/>
                    </a:lnTo>
                    <a:lnTo>
                      <a:pt x="78" y="48"/>
                    </a:lnTo>
                    <a:lnTo>
                      <a:pt x="30" y="115"/>
                    </a:lnTo>
                    <a:lnTo>
                      <a:pt x="0" y="11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27">
                <a:extLst>
                  <a:ext uri="{FF2B5EF4-FFF2-40B4-BE49-F238E27FC236}">
                    <a16:creationId xmlns:a16="http://schemas.microsoft.com/office/drawing/2014/main" id="{9ED654AA-071A-4346-9B46-CAC8A671B9EF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1571291" y="1535113"/>
                <a:ext cx="80963" cy="90487"/>
              </a:xfrm>
              <a:custGeom>
                <a:avLst/>
                <a:gdLst>
                  <a:gd name="T0" fmla="*/ 103 w 103"/>
                  <a:gd name="T1" fmla="*/ 0 h 115"/>
                  <a:gd name="T2" fmla="*/ 103 w 103"/>
                  <a:gd name="T3" fmla="*/ 115 h 115"/>
                  <a:gd name="T4" fmla="*/ 71 w 103"/>
                  <a:gd name="T5" fmla="*/ 115 h 115"/>
                  <a:gd name="T6" fmla="*/ 71 w 103"/>
                  <a:gd name="T7" fmla="*/ 87 h 115"/>
                  <a:gd name="T8" fmla="*/ 54 w 103"/>
                  <a:gd name="T9" fmla="*/ 87 h 115"/>
                  <a:gd name="T10" fmla="*/ 34 w 103"/>
                  <a:gd name="T11" fmla="*/ 115 h 115"/>
                  <a:gd name="T12" fmla="*/ 0 w 103"/>
                  <a:gd name="T13" fmla="*/ 115 h 115"/>
                  <a:gd name="T14" fmla="*/ 23 w 103"/>
                  <a:gd name="T15" fmla="*/ 82 h 115"/>
                  <a:gd name="T16" fmla="*/ 23 w 103"/>
                  <a:gd name="T17" fmla="*/ 82 h 115"/>
                  <a:gd name="T18" fmla="*/ 18 w 103"/>
                  <a:gd name="T19" fmla="*/ 79 h 115"/>
                  <a:gd name="T20" fmla="*/ 13 w 103"/>
                  <a:gd name="T21" fmla="*/ 76 h 115"/>
                  <a:gd name="T22" fmla="*/ 9 w 103"/>
                  <a:gd name="T23" fmla="*/ 72 h 115"/>
                  <a:gd name="T24" fmla="*/ 6 w 103"/>
                  <a:gd name="T25" fmla="*/ 67 h 115"/>
                  <a:gd name="T26" fmla="*/ 6 w 103"/>
                  <a:gd name="T27" fmla="*/ 67 h 115"/>
                  <a:gd name="T28" fmla="*/ 3 w 103"/>
                  <a:gd name="T29" fmla="*/ 62 h 115"/>
                  <a:gd name="T30" fmla="*/ 1 w 103"/>
                  <a:gd name="T31" fmla="*/ 57 h 115"/>
                  <a:gd name="T32" fmla="*/ 0 w 103"/>
                  <a:gd name="T33" fmla="*/ 51 h 115"/>
                  <a:gd name="T34" fmla="*/ 0 w 103"/>
                  <a:gd name="T35" fmla="*/ 44 h 115"/>
                  <a:gd name="T36" fmla="*/ 0 w 103"/>
                  <a:gd name="T37" fmla="*/ 44 h 115"/>
                  <a:gd name="T38" fmla="*/ 0 w 103"/>
                  <a:gd name="T39" fmla="*/ 38 h 115"/>
                  <a:gd name="T40" fmla="*/ 1 w 103"/>
                  <a:gd name="T41" fmla="*/ 32 h 115"/>
                  <a:gd name="T42" fmla="*/ 3 w 103"/>
                  <a:gd name="T43" fmla="*/ 26 h 115"/>
                  <a:gd name="T44" fmla="*/ 6 w 103"/>
                  <a:gd name="T45" fmla="*/ 21 h 115"/>
                  <a:gd name="T46" fmla="*/ 6 w 103"/>
                  <a:gd name="T47" fmla="*/ 21 h 115"/>
                  <a:gd name="T48" fmla="*/ 10 w 103"/>
                  <a:gd name="T49" fmla="*/ 16 h 115"/>
                  <a:gd name="T50" fmla="*/ 14 w 103"/>
                  <a:gd name="T51" fmla="*/ 12 h 115"/>
                  <a:gd name="T52" fmla="*/ 19 w 103"/>
                  <a:gd name="T53" fmla="*/ 8 h 115"/>
                  <a:gd name="T54" fmla="*/ 24 w 103"/>
                  <a:gd name="T55" fmla="*/ 6 h 115"/>
                  <a:gd name="T56" fmla="*/ 24 w 103"/>
                  <a:gd name="T57" fmla="*/ 6 h 115"/>
                  <a:gd name="T58" fmla="*/ 30 w 103"/>
                  <a:gd name="T59" fmla="*/ 3 h 115"/>
                  <a:gd name="T60" fmla="*/ 37 w 103"/>
                  <a:gd name="T61" fmla="*/ 2 h 115"/>
                  <a:gd name="T62" fmla="*/ 45 w 103"/>
                  <a:gd name="T63" fmla="*/ 1 h 115"/>
                  <a:gd name="T64" fmla="*/ 52 w 103"/>
                  <a:gd name="T65" fmla="*/ 1 h 115"/>
                  <a:gd name="T66" fmla="*/ 103 w 103"/>
                  <a:gd name="T67" fmla="*/ 0 h 115"/>
                  <a:gd name="T68" fmla="*/ 32 w 103"/>
                  <a:gd name="T69" fmla="*/ 43 h 115"/>
                  <a:gd name="T70" fmla="*/ 32 w 103"/>
                  <a:gd name="T71" fmla="*/ 43 h 115"/>
                  <a:gd name="T72" fmla="*/ 33 w 103"/>
                  <a:gd name="T73" fmla="*/ 48 h 115"/>
                  <a:gd name="T74" fmla="*/ 34 w 103"/>
                  <a:gd name="T75" fmla="*/ 51 h 115"/>
                  <a:gd name="T76" fmla="*/ 35 w 103"/>
                  <a:gd name="T77" fmla="*/ 54 h 115"/>
                  <a:gd name="T78" fmla="*/ 37 w 103"/>
                  <a:gd name="T79" fmla="*/ 57 h 115"/>
                  <a:gd name="T80" fmla="*/ 37 w 103"/>
                  <a:gd name="T81" fmla="*/ 57 h 115"/>
                  <a:gd name="T82" fmla="*/ 42 w 103"/>
                  <a:gd name="T83" fmla="*/ 59 h 115"/>
                  <a:gd name="T84" fmla="*/ 45 w 103"/>
                  <a:gd name="T85" fmla="*/ 61 h 115"/>
                  <a:gd name="T86" fmla="*/ 49 w 103"/>
                  <a:gd name="T87" fmla="*/ 62 h 115"/>
                  <a:gd name="T88" fmla="*/ 52 w 103"/>
                  <a:gd name="T89" fmla="*/ 62 h 115"/>
                  <a:gd name="T90" fmla="*/ 72 w 103"/>
                  <a:gd name="T91" fmla="*/ 62 h 115"/>
                  <a:gd name="T92" fmla="*/ 72 w 103"/>
                  <a:gd name="T93" fmla="*/ 26 h 115"/>
                  <a:gd name="T94" fmla="*/ 53 w 103"/>
                  <a:gd name="T95" fmla="*/ 26 h 115"/>
                  <a:gd name="T96" fmla="*/ 53 w 103"/>
                  <a:gd name="T97" fmla="*/ 26 h 115"/>
                  <a:gd name="T98" fmla="*/ 48 w 103"/>
                  <a:gd name="T99" fmla="*/ 26 h 115"/>
                  <a:gd name="T100" fmla="*/ 44 w 103"/>
                  <a:gd name="T101" fmla="*/ 27 h 115"/>
                  <a:gd name="T102" fmla="*/ 41 w 103"/>
                  <a:gd name="T103" fmla="*/ 28 h 115"/>
                  <a:gd name="T104" fmla="*/ 37 w 103"/>
                  <a:gd name="T105" fmla="*/ 30 h 115"/>
                  <a:gd name="T106" fmla="*/ 35 w 103"/>
                  <a:gd name="T107" fmla="*/ 32 h 115"/>
                  <a:gd name="T108" fmla="*/ 34 w 103"/>
                  <a:gd name="T109" fmla="*/ 35 h 115"/>
                  <a:gd name="T110" fmla="*/ 33 w 103"/>
                  <a:gd name="T111" fmla="*/ 39 h 115"/>
                  <a:gd name="T112" fmla="*/ 32 w 103"/>
                  <a:gd name="T113" fmla="*/ 43 h 115"/>
                  <a:gd name="T114" fmla="*/ 32 w 103"/>
                  <a:gd name="T115" fmla="*/ 43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03" h="115">
                    <a:moveTo>
                      <a:pt x="103" y="0"/>
                    </a:moveTo>
                    <a:lnTo>
                      <a:pt x="103" y="115"/>
                    </a:lnTo>
                    <a:lnTo>
                      <a:pt x="71" y="115"/>
                    </a:lnTo>
                    <a:lnTo>
                      <a:pt x="71" y="87"/>
                    </a:lnTo>
                    <a:lnTo>
                      <a:pt x="54" y="87"/>
                    </a:lnTo>
                    <a:lnTo>
                      <a:pt x="34" y="115"/>
                    </a:lnTo>
                    <a:lnTo>
                      <a:pt x="0" y="115"/>
                    </a:lnTo>
                    <a:lnTo>
                      <a:pt x="23" y="82"/>
                    </a:lnTo>
                    <a:lnTo>
                      <a:pt x="23" y="82"/>
                    </a:lnTo>
                    <a:lnTo>
                      <a:pt x="18" y="79"/>
                    </a:lnTo>
                    <a:lnTo>
                      <a:pt x="13" y="76"/>
                    </a:lnTo>
                    <a:lnTo>
                      <a:pt x="9" y="72"/>
                    </a:lnTo>
                    <a:lnTo>
                      <a:pt x="6" y="67"/>
                    </a:lnTo>
                    <a:lnTo>
                      <a:pt x="6" y="67"/>
                    </a:lnTo>
                    <a:lnTo>
                      <a:pt x="3" y="62"/>
                    </a:lnTo>
                    <a:lnTo>
                      <a:pt x="1" y="57"/>
                    </a:lnTo>
                    <a:lnTo>
                      <a:pt x="0" y="51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38"/>
                    </a:lnTo>
                    <a:lnTo>
                      <a:pt x="1" y="32"/>
                    </a:lnTo>
                    <a:lnTo>
                      <a:pt x="3" y="26"/>
                    </a:lnTo>
                    <a:lnTo>
                      <a:pt x="6" y="21"/>
                    </a:lnTo>
                    <a:lnTo>
                      <a:pt x="6" y="21"/>
                    </a:lnTo>
                    <a:lnTo>
                      <a:pt x="10" y="16"/>
                    </a:lnTo>
                    <a:lnTo>
                      <a:pt x="14" y="12"/>
                    </a:lnTo>
                    <a:lnTo>
                      <a:pt x="19" y="8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30" y="3"/>
                    </a:lnTo>
                    <a:lnTo>
                      <a:pt x="37" y="2"/>
                    </a:lnTo>
                    <a:lnTo>
                      <a:pt x="45" y="1"/>
                    </a:lnTo>
                    <a:lnTo>
                      <a:pt x="52" y="1"/>
                    </a:lnTo>
                    <a:lnTo>
                      <a:pt x="103" y="0"/>
                    </a:lnTo>
                    <a:close/>
                    <a:moveTo>
                      <a:pt x="32" y="43"/>
                    </a:moveTo>
                    <a:lnTo>
                      <a:pt x="32" y="43"/>
                    </a:lnTo>
                    <a:lnTo>
                      <a:pt x="33" y="48"/>
                    </a:lnTo>
                    <a:lnTo>
                      <a:pt x="34" y="51"/>
                    </a:lnTo>
                    <a:lnTo>
                      <a:pt x="35" y="54"/>
                    </a:lnTo>
                    <a:lnTo>
                      <a:pt x="37" y="57"/>
                    </a:lnTo>
                    <a:lnTo>
                      <a:pt x="37" y="57"/>
                    </a:lnTo>
                    <a:lnTo>
                      <a:pt x="42" y="59"/>
                    </a:lnTo>
                    <a:lnTo>
                      <a:pt x="45" y="61"/>
                    </a:lnTo>
                    <a:lnTo>
                      <a:pt x="49" y="62"/>
                    </a:lnTo>
                    <a:lnTo>
                      <a:pt x="52" y="62"/>
                    </a:lnTo>
                    <a:lnTo>
                      <a:pt x="72" y="62"/>
                    </a:lnTo>
                    <a:lnTo>
                      <a:pt x="72" y="26"/>
                    </a:lnTo>
                    <a:lnTo>
                      <a:pt x="53" y="26"/>
                    </a:lnTo>
                    <a:lnTo>
                      <a:pt x="53" y="26"/>
                    </a:lnTo>
                    <a:lnTo>
                      <a:pt x="48" y="26"/>
                    </a:lnTo>
                    <a:lnTo>
                      <a:pt x="44" y="27"/>
                    </a:lnTo>
                    <a:lnTo>
                      <a:pt x="41" y="28"/>
                    </a:lnTo>
                    <a:lnTo>
                      <a:pt x="37" y="30"/>
                    </a:lnTo>
                    <a:lnTo>
                      <a:pt x="35" y="32"/>
                    </a:lnTo>
                    <a:lnTo>
                      <a:pt x="34" y="35"/>
                    </a:lnTo>
                    <a:lnTo>
                      <a:pt x="33" y="39"/>
                    </a:lnTo>
                    <a:lnTo>
                      <a:pt x="32" y="43"/>
                    </a:lnTo>
                    <a:lnTo>
                      <a:pt x="32" y="43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E282D42A-61AB-4DBE-B037-62426067672B}"/>
                </a:ext>
              </a:extLst>
            </p:cNvPr>
            <p:cNvGrpSpPr/>
            <p:nvPr userDrawn="1"/>
          </p:nvGrpSpPr>
          <p:grpSpPr>
            <a:xfrm>
              <a:off x="10332720" y="658368"/>
              <a:ext cx="670092" cy="617763"/>
              <a:chOff x="10301291" y="611188"/>
              <a:chExt cx="731838" cy="674687"/>
            </a:xfrm>
          </p:grpSpPr>
          <p:sp>
            <p:nvSpPr>
              <p:cNvPr id="37" name="Freeform 28">
                <a:extLst>
                  <a:ext uri="{FF2B5EF4-FFF2-40B4-BE49-F238E27FC236}">
                    <a16:creationId xmlns:a16="http://schemas.microsoft.com/office/drawing/2014/main" id="{2C303484-9462-4E54-902B-60C4656E238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301291" y="611188"/>
                <a:ext cx="731838" cy="674687"/>
              </a:xfrm>
              <a:custGeom>
                <a:avLst/>
                <a:gdLst>
                  <a:gd name="T0" fmla="*/ 922 w 922"/>
                  <a:gd name="T1" fmla="*/ 0 h 850"/>
                  <a:gd name="T2" fmla="*/ 922 w 922"/>
                  <a:gd name="T3" fmla="*/ 850 h 850"/>
                  <a:gd name="T4" fmla="*/ 0 w 922"/>
                  <a:gd name="T5" fmla="*/ 850 h 850"/>
                  <a:gd name="T6" fmla="*/ 922 w 922"/>
                  <a:gd name="T7" fmla="*/ 0 h 8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22" h="850">
                    <a:moveTo>
                      <a:pt x="922" y="0"/>
                    </a:moveTo>
                    <a:lnTo>
                      <a:pt x="922" y="850"/>
                    </a:lnTo>
                    <a:lnTo>
                      <a:pt x="0" y="850"/>
                    </a:lnTo>
                    <a:lnTo>
                      <a:pt x="922" y="0"/>
                    </a:lnTo>
                    <a:close/>
                  </a:path>
                </a:pathLst>
              </a:custGeom>
              <a:solidFill>
                <a:srgbClr val="46AC4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29">
                <a:extLst>
                  <a:ext uri="{FF2B5EF4-FFF2-40B4-BE49-F238E27FC236}">
                    <a16:creationId xmlns:a16="http://schemas.microsoft.com/office/drawing/2014/main" id="{4184AAA1-9A7D-466D-A19E-98D6FD75EE1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877554" y="611188"/>
                <a:ext cx="155575" cy="674687"/>
              </a:xfrm>
              <a:custGeom>
                <a:avLst/>
                <a:gdLst>
                  <a:gd name="T0" fmla="*/ 196 w 196"/>
                  <a:gd name="T1" fmla="*/ 0 h 850"/>
                  <a:gd name="T2" fmla="*/ 196 w 196"/>
                  <a:gd name="T3" fmla="*/ 850 h 850"/>
                  <a:gd name="T4" fmla="*/ 0 w 196"/>
                  <a:gd name="T5" fmla="*/ 850 h 850"/>
                  <a:gd name="T6" fmla="*/ 0 w 196"/>
                  <a:gd name="T7" fmla="*/ 181 h 850"/>
                  <a:gd name="T8" fmla="*/ 196 w 196"/>
                  <a:gd name="T9" fmla="*/ 0 h 8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6" h="850">
                    <a:moveTo>
                      <a:pt x="196" y="0"/>
                    </a:moveTo>
                    <a:lnTo>
                      <a:pt x="196" y="850"/>
                    </a:lnTo>
                    <a:lnTo>
                      <a:pt x="0" y="850"/>
                    </a:lnTo>
                    <a:lnTo>
                      <a:pt x="0" y="181"/>
                    </a:lnTo>
                    <a:lnTo>
                      <a:pt x="196" y="0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30">
                <a:extLst>
                  <a:ext uri="{FF2B5EF4-FFF2-40B4-BE49-F238E27FC236}">
                    <a16:creationId xmlns:a16="http://schemas.microsoft.com/office/drawing/2014/main" id="{ECDBEF74-1257-49C1-A19B-968DF5C62DE3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301291" y="625475"/>
                <a:ext cx="493713" cy="660400"/>
              </a:xfrm>
              <a:custGeom>
                <a:avLst/>
                <a:gdLst>
                  <a:gd name="T0" fmla="*/ 339 w 622"/>
                  <a:gd name="T1" fmla="*/ 302 h 833"/>
                  <a:gd name="T2" fmla="*/ 366 w 622"/>
                  <a:gd name="T3" fmla="*/ 303 h 833"/>
                  <a:gd name="T4" fmla="*/ 419 w 622"/>
                  <a:gd name="T5" fmla="*/ 309 h 833"/>
                  <a:gd name="T6" fmla="*/ 447 w 622"/>
                  <a:gd name="T7" fmla="*/ 315 h 833"/>
                  <a:gd name="T8" fmla="*/ 493 w 622"/>
                  <a:gd name="T9" fmla="*/ 332 h 833"/>
                  <a:gd name="T10" fmla="*/ 536 w 622"/>
                  <a:gd name="T11" fmla="*/ 358 h 833"/>
                  <a:gd name="T12" fmla="*/ 546 w 622"/>
                  <a:gd name="T13" fmla="*/ 366 h 833"/>
                  <a:gd name="T14" fmla="*/ 564 w 622"/>
                  <a:gd name="T15" fmla="*/ 383 h 833"/>
                  <a:gd name="T16" fmla="*/ 580 w 622"/>
                  <a:gd name="T17" fmla="*/ 404 h 833"/>
                  <a:gd name="T18" fmla="*/ 594 w 622"/>
                  <a:gd name="T19" fmla="*/ 428 h 833"/>
                  <a:gd name="T20" fmla="*/ 600 w 622"/>
                  <a:gd name="T21" fmla="*/ 440 h 833"/>
                  <a:gd name="T22" fmla="*/ 609 w 622"/>
                  <a:gd name="T23" fmla="*/ 468 h 833"/>
                  <a:gd name="T24" fmla="*/ 616 w 622"/>
                  <a:gd name="T25" fmla="*/ 500 h 833"/>
                  <a:gd name="T26" fmla="*/ 620 w 622"/>
                  <a:gd name="T27" fmla="*/ 532 h 833"/>
                  <a:gd name="T28" fmla="*/ 622 w 622"/>
                  <a:gd name="T29" fmla="*/ 568 h 833"/>
                  <a:gd name="T30" fmla="*/ 621 w 622"/>
                  <a:gd name="T31" fmla="*/ 586 h 833"/>
                  <a:gd name="T32" fmla="*/ 619 w 622"/>
                  <a:gd name="T33" fmla="*/ 620 h 833"/>
                  <a:gd name="T34" fmla="*/ 613 w 622"/>
                  <a:gd name="T35" fmla="*/ 653 h 833"/>
                  <a:gd name="T36" fmla="*/ 605 w 622"/>
                  <a:gd name="T37" fmla="*/ 682 h 833"/>
                  <a:gd name="T38" fmla="*/ 600 w 622"/>
                  <a:gd name="T39" fmla="*/ 695 h 833"/>
                  <a:gd name="T40" fmla="*/ 587 w 622"/>
                  <a:gd name="T41" fmla="*/ 720 h 833"/>
                  <a:gd name="T42" fmla="*/ 573 w 622"/>
                  <a:gd name="T43" fmla="*/ 742 h 833"/>
                  <a:gd name="T44" fmla="*/ 555 w 622"/>
                  <a:gd name="T45" fmla="*/ 761 h 833"/>
                  <a:gd name="T46" fmla="*/ 536 w 622"/>
                  <a:gd name="T47" fmla="*/ 779 h 833"/>
                  <a:gd name="T48" fmla="*/ 515 w 622"/>
                  <a:gd name="T49" fmla="*/ 792 h 833"/>
                  <a:gd name="T50" fmla="*/ 470 w 622"/>
                  <a:gd name="T51" fmla="*/ 813 h 833"/>
                  <a:gd name="T52" fmla="*/ 447 w 622"/>
                  <a:gd name="T53" fmla="*/ 820 h 833"/>
                  <a:gd name="T54" fmla="*/ 392 w 622"/>
                  <a:gd name="T55" fmla="*/ 830 h 833"/>
                  <a:gd name="T56" fmla="*/ 338 w 622"/>
                  <a:gd name="T57" fmla="*/ 833 h 833"/>
                  <a:gd name="T58" fmla="*/ 0 w 622"/>
                  <a:gd name="T59" fmla="*/ 0 h 833"/>
                  <a:gd name="T60" fmla="*/ 558 w 622"/>
                  <a:gd name="T61" fmla="*/ 187 h 833"/>
                  <a:gd name="T62" fmla="*/ 187 w 622"/>
                  <a:gd name="T63" fmla="*/ 302 h 833"/>
                  <a:gd name="T64" fmla="*/ 338 w 622"/>
                  <a:gd name="T65" fmla="*/ 661 h 833"/>
                  <a:gd name="T66" fmla="*/ 349 w 622"/>
                  <a:gd name="T67" fmla="*/ 660 h 833"/>
                  <a:gd name="T68" fmla="*/ 368 w 622"/>
                  <a:gd name="T69" fmla="*/ 658 h 833"/>
                  <a:gd name="T70" fmla="*/ 384 w 622"/>
                  <a:gd name="T71" fmla="*/ 652 h 833"/>
                  <a:gd name="T72" fmla="*/ 397 w 622"/>
                  <a:gd name="T73" fmla="*/ 644 h 833"/>
                  <a:gd name="T74" fmla="*/ 408 w 622"/>
                  <a:gd name="T75" fmla="*/ 634 h 833"/>
                  <a:gd name="T76" fmla="*/ 416 w 622"/>
                  <a:gd name="T77" fmla="*/ 620 h 833"/>
                  <a:gd name="T78" fmla="*/ 422 w 622"/>
                  <a:gd name="T79" fmla="*/ 604 h 833"/>
                  <a:gd name="T80" fmla="*/ 424 w 622"/>
                  <a:gd name="T81" fmla="*/ 586 h 833"/>
                  <a:gd name="T82" fmla="*/ 425 w 622"/>
                  <a:gd name="T83" fmla="*/ 575 h 833"/>
                  <a:gd name="T84" fmla="*/ 423 w 622"/>
                  <a:gd name="T85" fmla="*/ 556 h 833"/>
                  <a:gd name="T86" fmla="*/ 419 w 622"/>
                  <a:gd name="T87" fmla="*/ 539 h 833"/>
                  <a:gd name="T88" fmla="*/ 413 w 622"/>
                  <a:gd name="T89" fmla="*/ 524 h 833"/>
                  <a:gd name="T90" fmla="*/ 403 w 622"/>
                  <a:gd name="T91" fmla="*/ 512 h 833"/>
                  <a:gd name="T92" fmla="*/ 391 w 622"/>
                  <a:gd name="T93" fmla="*/ 503 h 833"/>
                  <a:gd name="T94" fmla="*/ 376 w 622"/>
                  <a:gd name="T95" fmla="*/ 497 h 833"/>
                  <a:gd name="T96" fmla="*/ 358 w 622"/>
                  <a:gd name="T97" fmla="*/ 493 h 833"/>
                  <a:gd name="T98" fmla="*/ 338 w 622"/>
                  <a:gd name="T99" fmla="*/ 491 h 833"/>
                  <a:gd name="T100" fmla="*/ 187 w 622"/>
                  <a:gd name="T101" fmla="*/ 661 h 8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622" h="833">
                    <a:moveTo>
                      <a:pt x="187" y="302"/>
                    </a:moveTo>
                    <a:lnTo>
                      <a:pt x="339" y="302"/>
                    </a:lnTo>
                    <a:lnTo>
                      <a:pt x="339" y="302"/>
                    </a:lnTo>
                    <a:lnTo>
                      <a:pt x="366" y="303"/>
                    </a:lnTo>
                    <a:lnTo>
                      <a:pt x="393" y="305"/>
                    </a:lnTo>
                    <a:lnTo>
                      <a:pt x="419" y="309"/>
                    </a:lnTo>
                    <a:lnTo>
                      <a:pt x="447" y="315"/>
                    </a:lnTo>
                    <a:lnTo>
                      <a:pt x="447" y="315"/>
                    </a:lnTo>
                    <a:lnTo>
                      <a:pt x="471" y="323"/>
                    </a:lnTo>
                    <a:lnTo>
                      <a:pt x="493" y="332"/>
                    </a:lnTo>
                    <a:lnTo>
                      <a:pt x="515" y="345"/>
                    </a:lnTo>
                    <a:lnTo>
                      <a:pt x="536" y="358"/>
                    </a:lnTo>
                    <a:lnTo>
                      <a:pt x="536" y="358"/>
                    </a:lnTo>
                    <a:lnTo>
                      <a:pt x="546" y="366"/>
                    </a:lnTo>
                    <a:lnTo>
                      <a:pt x="555" y="374"/>
                    </a:lnTo>
                    <a:lnTo>
                      <a:pt x="564" y="383"/>
                    </a:lnTo>
                    <a:lnTo>
                      <a:pt x="573" y="393"/>
                    </a:lnTo>
                    <a:lnTo>
                      <a:pt x="580" y="404"/>
                    </a:lnTo>
                    <a:lnTo>
                      <a:pt x="587" y="415"/>
                    </a:lnTo>
                    <a:lnTo>
                      <a:pt x="594" y="428"/>
                    </a:lnTo>
                    <a:lnTo>
                      <a:pt x="600" y="440"/>
                    </a:lnTo>
                    <a:lnTo>
                      <a:pt x="600" y="440"/>
                    </a:lnTo>
                    <a:lnTo>
                      <a:pt x="605" y="454"/>
                    </a:lnTo>
                    <a:lnTo>
                      <a:pt x="609" y="468"/>
                    </a:lnTo>
                    <a:lnTo>
                      <a:pt x="613" y="484"/>
                    </a:lnTo>
                    <a:lnTo>
                      <a:pt x="616" y="500"/>
                    </a:lnTo>
                    <a:lnTo>
                      <a:pt x="619" y="516"/>
                    </a:lnTo>
                    <a:lnTo>
                      <a:pt x="620" y="532"/>
                    </a:lnTo>
                    <a:lnTo>
                      <a:pt x="621" y="550"/>
                    </a:lnTo>
                    <a:lnTo>
                      <a:pt x="622" y="568"/>
                    </a:lnTo>
                    <a:lnTo>
                      <a:pt x="622" y="568"/>
                    </a:lnTo>
                    <a:lnTo>
                      <a:pt x="621" y="586"/>
                    </a:lnTo>
                    <a:lnTo>
                      <a:pt x="620" y="603"/>
                    </a:lnTo>
                    <a:lnTo>
                      <a:pt x="619" y="620"/>
                    </a:lnTo>
                    <a:lnTo>
                      <a:pt x="616" y="637"/>
                    </a:lnTo>
                    <a:lnTo>
                      <a:pt x="613" y="653"/>
                    </a:lnTo>
                    <a:lnTo>
                      <a:pt x="609" y="668"/>
                    </a:lnTo>
                    <a:lnTo>
                      <a:pt x="605" y="682"/>
                    </a:lnTo>
                    <a:lnTo>
                      <a:pt x="600" y="695"/>
                    </a:lnTo>
                    <a:lnTo>
                      <a:pt x="600" y="695"/>
                    </a:lnTo>
                    <a:lnTo>
                      <a:pt x="594" y="708"/>
                    </a:lnTo>
                    <a:lnTo>
                      <a:pt x="587" y="720"/>
                    </a:lnTo>
                    <a:lnTo>
                      <a:pt x="580" y="732"/>
                    </a:lnTo>
                    <a:lnTo>
                      <a:pt x="573" y="742"/>
                    </a:lnTo>
                    <a:lnTo>
                      <a:pt x="564" y="752"/>
                    </a:lnTo>
                    <a:lnTo>
                      <a:pt x="555" y="761"/>
                    </a:lnTo>
                    <a:lnTo>
                      <a:pt x="546" y="771"/>
                    </a:lnTo>
                    <a:lnTo>
                      <a:pt x="536" y="779"/>
                    </a:lnTo>
                    <a:lnTo>
                      <a:pt x="536" y="779"/>
                    </a:lnTo>
                    <a:lnTo>
                      <a:pt x="515" y="792"/>
                    </a:lnTo>
                    <a:lnTo>
                      <a:pt x="493" y="804"/>
                    </a:lnTo>
                    <a:lnTo>
                      <a:pt x="470" y="813"/>
                    </a:lnTo>
                    <a:lnTo>
                      <a:pt x="447" y="820"/>
                    </a:lnTo>
                    <a:lnTo>
                      <a:pt x="447" y="820"/>
                    </a:lnTo>
                    <a:lnTo>
                      <a:pt x="419" y="826"/>
                    </a:lnTo>
                    <a:lnTo>
                      <a:pt x="392" y="830"/>
                    </a:lnTo>
                    <a:lnTo>
                      <a:pt x="365" y="833"/>
                    </a:lnTo>
                    <a:lnTo>
                      <a:pt x="338" y="833"/>
                    </a:lnTo>
                    <a:lnTo>
                      <a:pt x="0" y="833"/>
                    </a:lnTo>
                    <a:lnTo>
                      <a:pt x="0" y="0"/>
                    </a:lnTo>
                    <a:lnTo>
                      <a:pt x="558" y="0"/>
                    </a:lnTo>
                    <a:lnTo>
                      <a:pt x="558" y="187"/>
                    </a:lnTo>
                    <a:lnTo>
                      <a:pt x="187" y="187"/>
                    </a:lnTo>
                    <a:lnTo>
                      <a:pt x="187" y="302"/>
                    </a:lnTo>
                    <a:close/>
                    <a:moveTo>
                      <a:pt x="187" y="661"/>
                    </a:moveTo>
                    <a:lnTo>
                      <a:pt x="338" y="661"/>
                    </a:lnTo>
                    <a:lnTo>
                      <a:pt x="338" y="661"/>
                    </a:lnTo>
                    <a:lnTo>
                      <a:pt x="349" y="660"/>
                    </a:lnTo>
                    <a:lnTo>
                      <a:pt x="358" y="659"/>
                    </a:lnTo>
                    <a:lnTo>
                      <a:pt x="368" y="658"/>
                    </a:lnTo>
                    <a:lnTo>
                      <a:pt x="376" y="655"/>
                    </a:lnTo>
                    <a:lnTo>
                      <a:pt x="384" y="652"/>
                    </a:lnTo>
                    <a:lnTo>
                      <a:pt x="391" y="649"/>
                    </a:lnTo>
                    <a:lnTo>
                      <a:pt x="397" y="644"/>
                    </a:lnTo>
                    <a:lnTo>
                      <a:pt x="403" y="640"/>
                    </a:lnTo>
                    <a:lnTo>
                      <a:pt x="408" y="634"/>
                    </a:lnTo>
                    <a:lnTo>
                      <a:pt x="413" y="628"/>
                    </a:lnTo>
                    <a:lnTo>
                      <a:pt x="416" y="620"/>
                    </a:lnTo>
                    <a:lnTo>
                      <a:pt x="419" y="612"/>
                    </a:lnTo>
                    <a:lnTo>
                      <a:pt x="422" y="604"/>
                    </a:lnTo>
                    <a:lnTo>
                      <a:pt x="423" y="595"/>
                    </a:lnTo>
                    <a:lnTo>
                      <a:pt x="424" y="586"/>
                    </a:lnTo>
                    <a:lnTo>
                      <a:pt x="425" y="575"/>
                    </a:lnTo>
                    <a:lnTo>
                      <a:pt x="425" y="575"/>
                    </a:lnTo>
                    <a:lnTo>
                      <a:pt x="424" y="565"/>
                    </a:lnTo>
                    <a:lnTo>
                      <a:pt x="423" y="556"/>
                    </a:lnTo>
                    <a:lnTo>
                      <a:pt x="422" y="547"/>
                    </a:lnTo>
                    <a:lnTo>
                      <a:pt x="419" y="539"/>
                    </a:lnTo>
                    <a:lnTo>
                      <a:pt x="416" y="531"/>
                    </a:lnTo>
                    <a:lnTo>
                      <a:pt x="413" y="524"/>
                    </a:lnTo>
                    <a:lnTo>
                      <a:pt x="408" y="518"/>
                    </a:lnTo>
                    <a:lnTo>
                      <a:pt x="403" y="512"/>
                    </a:lnTo>
                    <a:lnTo>
                      <a:pt x="397" y="507"/>
                    </a:lnTo>
                    <a:lnTo>
                      <a:pt x="391" y="503"/>
                    </a:lnTo>
                    <a:lnTo>
                      <a:pt x="384" y="500"/>
                    </a:lnTo>
                    <a:lnTo>
                      <a:pt x="376" y="497"/>
                    </a:lnTo>
                    <a:lnTo>
                      <a:pt x="368" y="494"/>
                    </a:lnTo>
                    <a:lnTo>
                      <a:pt x="358" y="493"/>
                    </a:lnTo>
                    <a:lnTo>
                      <a:pt x="349" y="492"/>
                    </a:lnTo>
                    <a:lnTo>
                      <a:pt x="338" y="491"/>
                    </a:lnTo>
                    <a:lnTo>
                      <a:pt x="187" y="491"/>
                    </a:lnTo>
                    <a:lnTo>
                      <a:pt x="187" y="661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03871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i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ECC3FFA-E961-C41E-8B49-E29CD55E15F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81892" y="1269383"/>
            <a:ext cx="5390400" cy="2410388"/>
          </a:xfrm>
        </p:spPr>
        <p:txBody>
          <a:bodyPr/>
          <a:lstStyle>
            <a:lvl1pPr marL="0" indent="0">
              <a:buNone/>
              <a:defRPr sz="1400">
                <a:solidFill>
                  <a:srgbClr val="FF0000"/>
                </a:solidFill>
              </a:defRPr>
            </a:lvl1pPr>
            <a:lvl2pPr marL="200479" indent="0">
              <a:buNone/>
              <a:defRPr sz="1012">
                <a:solidFill>
                  <a:schemeClr val="bg1"/>
                </a:solidFill>
              </a:defRPr>
            </a:lvl2pPr>
            <a:lvl3pPr marL="400959" indent="0">
              <a:buNone/>
              <a:defRPr sz="900">
                <a:solidFill>
                  <a:schemeClr val="bg1"/>
                </a:solidFill>
              </a:defRPr>
            </a:lvl3pPr>
            <a:lvl4pPr marL="601440" indent="0">
              <a:buNone/>
              <a:defRPr sz="788">
                <a:solidFill>
                  <a:schemeClr val="bg1"/>
                </a:solidFill>
              </a:defRPr>
            </a:lvl4pPr>
            <a:lvl5pPr marL="801919" indent="0">
              <a:buNone/>
              <a:defRPr sz="676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2690F805-B585-01F8-C9E9-F3DDA17B4E0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1892" y="516358"/>
            <a:ext cx="5390400" cy="640800"/>
          </a:xfrm>
        </p:spPr>
        <p:txBody>
          <a:bodyPr anchor="t" anchorCtr="0"/>
          <a:lstStyle>
            <a:lvl1pPr>
              <a:buNone/>
              <a:defRPr b="1">
                <a:solidFill>
                  <a:srgbClr val="FF0000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About company</a:t>
            </a:r>
            <a:endParaRPr lang="ru-RU" dirty="0"/>
          </a:p>
        </p:txBody>
      </p:sp>
      <p:pic>
        <p:nvPicPr>
          <p:cNvPr id="6" name="Рисунок 10">
            <a:extLst>
              <a:ext uri="{FF2B5EF4-FFF2-40B4-BE49-F238E27FC236}">
                <a16:creationId xmlns:a16="http://schemas.microsoft.com/office/drawing/2014/main" id="{A026A5D7-767D-7B69-D624-97259C6189E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8254314" y="3213328"/>
            <a:ext cx="3950353" cy="3644683"/>
          </a:xfrm>
          <a:prstGeom prst="rect">
            <a:avLst/>
          </a:prstGeom>
        </p:spPr>
      </p:pic>
      <p:grpSp>
        <p:nvGrpSpPr>
          <p:cNvPr id="36" name="Group 35">
            <a:extLst>
              <a:ext uri="{FF2B5EF4-FFF2-40B4-BE49-F238E27FC236}">
                <a16:creationId xmlns:a16="http://schemas.microsoft.com/office/drawing/2014/main" id="{69F331F4-4C7D-4C01-B239-DA9F7D252A6C}"/>
              </a:ext>
            </a:extLst>
          </p:cNvPr>
          <p:cNvGrpSpPr/>
          <p:nvPr userDrawn="1"/>
        </p:nvGrpSpPr>
        <p:grpSpPr>
          <a:xfrm>
            <a:off x="10346853" y="658368"/>
            <a:ext cx="1319534" cy="970407"/>
            <a:chOff x="10332720" y="658368"/>
            <a:chExt cx="1319534" cy="970407"/>
          </a:xfrm>
        </p:grpSpPr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ABAA7A73-903F-4ED5-8C87-541D54BAD50C}"/>
                </a:ext>
              </a:extLst>
            </p:cNvPr>
            <p:cNvGrpSpPr/>
            <p:nvPr userDrawn="1"/>
          </p:nvGrpSpPr>
          <p:grpSpPr>
            <a:xfrm>
              <a:off x="10344154" y="1376363"/>
              <a:ext cx="1308100" cy="252412"/>
              <a:chOff x="10344154" y="1376363"/>
              <a:chExt cx="1308100" cy="252412"/>
            </a:xfrm>
          </p:grpSpPr>
          <p:sp>
            <p:nvSpPr>
              <p:cNvPr id="73" name="Freeform 5">
                <a:extLst>
                  <a:ext uri="{FF2B5EF4-FFF2-40B4-BE49-F238E27FC236}">
                    <a16:creationId xmlns:a16="http://schemas.microsoft.com/office/drawing/2014/main" id="{D320BBAA-FFB8-4EC3-B359-FA03272FC86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344154" y="1379538"/>
                <a:ext cx="85725" cy="90487"/>
              </a:xfrm>
              <a:custGeom>
                <a:avLst/>
                <a:gdLst>
                  <a:gd name="T0" fmla="*/ 109 w 109"/>
                  <a:gd name="T1" fmla="*/ 0 h 115"/>
                  <a:gd name="T2" fmla="*/ 109 w 109"/>
                  <a:gd name="T3" fmla="*/ 115 h 115"/>
                  <a:gd name="T4" fmla="*/ 77 w 109"/>
                  <a:gd name="T5" fmla="*/ 115 h 115"/>
                  <a:gd name="T6" fmla="*/ 77 w 109"/>
                  <a:gd name="T7" fmla="*/ 69 h 115"/>
                  <a:gd name="T8" fmla="*/ 32 w 109"/>
                  <a:gd name="T9" fmla="*/ 69 h 115"/>
                  <a:gd name="T10" fmla="*/ 32 w 109"/>
                  <a:gd name="T11" fmla="*/ 115 h 115"/>
                  <a:gd name="T12" fmla="*/ 0 w 109"/>
                  <a:gd name="T13" fmla="*/ 115 h 115"/>
                  <a:gd name="T14" fmla="*/ 0 w 109"/>
                  <a:gd name="T15" fmla="*/ 0 h 115"/>
                  <a:gd name="T16" fmla="*/ 32 w 109"/>
                  <a:gd name="T17" fmla="*/ 0 h 115"/>
                  <a:gd name="T18" fmla="*/ 32 w 109"/>
                  <a:gd name="T19" fmla="*/ 43 h 115"/>
                  <a:gd name="T20" fmla="*/ 77 w 109"/>
                  <a:gd name="T21" fmla="*/ 43 h 115"/>
                  <a:gd name="T22" fmla="*/ 77 w 109"/>
                  <a:gd name="T23" fmla="*/ 0 h 115"/>
                  <a:gd name="T24" fmla="*/ 109 w 109"/>
                  <a:gd name="T25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9" h="115">
                    <a:moveTo>
                      <a:pt x="109" y="0"/>
                    </a:moveTo>
                    <a:lnTo>
                      <a:pt x="109" y="115"/>
                    </a:lnTo>
                    <a:lnTo>
                      <a:pt x="77" y="115"/>
                    </a:lnTo>
                    <a:lnTo>
                      <a:pt x="77" y="69"/>
                    </a:lnTo>
                    <a:lnTo>
                      <a:pt x="32" y="69"/>
                    </a:lnTo>
                    <a:lnTo>
                      <a:pt x="3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2" y="0"/>
                    </a:lnTo>
                    <a:lnTo>
                      <a:pt x="32" y="43"/>
                    </a:lnTo>
                    <a:lnTo>
                      <a:pt x="77" y="43"/>
                    </a:lnTo>
                    <a:lnTo>
                      <a:pt x="77" y="0"/>
                    </a:lnTo>
                    <a:lnTo>
                      <a:pt x="109" y="0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6">
                <a:extLst>
                  <a:ext uri="{FF2B5EF4-FFF2-40B4-BE49-F238E27FC236}">
                    <a16:creationId xmlns:a16="http://schemas.microsoft.com/office/drawing/2014/main" id="{CAE8A209-A3CF-4778-9E4F-BE12C6CC5EEC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447341" y="1377950"/>
                <a:ext cx="101600" cy="93662"/>
              </a:xfrm>
              <a:custGeom>
                <a:avLst/>
                <a:gdLst>
                  <a:gd name="T0" fmla="*/ 31 w 128"/>
                  <a:gd name="T1" fmla="*/ 112 h 119"/>
                  <a:gd name="T2" fmla="*/ 21 w 128"/>
                  <a:gd name="T3" fmla="*/ 105 h 119"/>
                  <a:gd name="T4" fmla="*/ 6 w 128"/>
                  <a:gd name="T5" fmla="*/ 87 h 119"/>
                  <a:gd name="T6" fmla="*/ 0 w 128"/>
                  <a:gd name="T7" fmla="*/ 65 h 119"/>
                  <a:gd name="T8" fmla="*/ 2 w 128"/>
                  <a:gd name="T9" fmla="*/ 43 h 119"/>
                  <a:gd name="T10" fmla="*/ 6 w 128"/>
                  <a:gd name="T11" fmla="*/ 32 h 119"/>
                  <a:gd name="T12" fmla="*/ 11 w 128"/>
                  <a:gd name="T13" fmla="*/ 24 h 119"/>
                  <a:gd name="T14" fmla="*/ 23 w 128"/>
                  <a:gd name="T15" fmla="*/ 12 h 119"/>
                  <a:gd name="T16" fmla="*/ 31 w 128"/>
                  <a:gd name="T17" fmla="*/ 7 h 119"/>
                  <a:gd name="T18" fmla="*/ 46 w 128"/>
                  <a:gd name="T19" fmla="*/ 2 h 119"/>
                  <a:gd name="T20" fmla="*/ 64 w 128"/>
                  <a:gd name="T21" fmla="*/ 0 h 119"/>
                  <a:gd name="T22" fmla="*/ 81 w 128"/>
                  <a:gd name="T23" fmla="*/ 2 h 119"/>
                  <a:gd name="T24" fmla="*/ 97 w 128"/>
                  <a:gd name="T25" fmla="*/ 7 h 119"/>
                  <a:gd name="T26" fmla="*/ 102 w 128"/>
                  <a:gd name="T27" fmla="*/ 10 h 119"/>
                  <a:gd name="T28" fmla="*/ 115 w 128"/>
                  <a:gd name="T29" fmla="*/ 22 h 119"/>
                  <a:gd name="T30" fmla="*/ 125 w 128"/>
                  <a:gd name="T31" fmla="*/ 42 h 119"/>
                  <a:gd name="T32" fmla="*/ 128 w 128"/>
                  <a:gd name="T33" fmla="*/ 64 h 119"/>
                  <a:gd name="T34" fmla="*/ 124 w 128"/>
                  <a:gd name="T35" fmla="*/ 81 h 119"/>
                  <a:gd name="T36" fmla="*/ 121 w 128"/>
                  <a:gd name="T37" fmla="*/ 86 h 119"/>
                  <a:gd name="T38" fmla="*/ 111 w 128"/>
                  <a:gd name="T39" fmla="*/ 100 h 119"/>
                  <a:gd name="T40" fmla="*/ 97 w 128"/>
                  <a:gd name="T41" fmla="*/ 112 h 119"/>
                  <a:gd name="T42" fmla="*/ 89 w 128"/>
                  <a:gd name="T43" fmla="*/ 115 h 119"/>
                  <a:gd name="T44" fmla="*/ 72 w 128"/>
                  <a:gd name="T45" fmla="*/ 119 h 119"/>
                  <a:gd name="T46" fmla="*/ 55 w 128"/>
                  <a:gd name="T47" fmla="*/ 119 h 119"/>
                  <a:gd name="T48" fmla="*/ 38 w 128"/>
                  <a:gd name="T49" fmla="*/ 115 h 119"/>
                  <a:gd name="T50" fmla="*/ 31 w 128"/>
                  <a:gd name="T51" fmla="*/ 112 h 119"/>
                  <a:gd name="T52" fmla="*/ 80 w 128"/>
                  <a:gd name="T53" fmla="*/ 87 h 119"/>
                  <a:gd name="T54" fmla="*/ 91 w 128"/>
                  <a:gd name="T55" fmla="*/ 76 h 119"/>
                  <a:gd name="T56" fmla="*/ 94 w 128"/>
                  <a:gd name="T57" fmla="*/ 68 h 119"/>
                  <a:gd name="T58" fmla="*/ 94 w 128"/>
                  <a:gd name="T59" fmla="*/ 50 h 119"/>
                  <a:gd name="T60" fmla="*/ 91 w 128"/>
                  <a:gd name="T61" fmla="*/ 42 h 119"/>
                  <a:gd name="T62" fmla="*/ 80 w 128"/>
                  <a:gd name="T63" fmla="*/ 30 h 119"/>
                  <a:gd name="T64" fmla="*/ 72 w 128"/>
                  <a:gd name="T65" fmla="*/ 27 h 119"/>
                  <a:gd name="T66" fmla="*/ 55 w 128"/>
                  <a:gd name="T67" fmla="*/ 27 h 119"/>
                  <a:gd name="T68" fmla="*/ 47 w 128"/>
                  <a:gd name="T69" fmla="*/ 30 h 119"/>
                  <a:gd name="T70" fmla="*/ 36 w 128"/>
                  <a:gd name="T71" fmla="*/ 42 h 119"/>
                  <a:gd name="T72" fmla="*/ 33 w 128"/>
                  <a:gd name="T73" fmla="*/ 50 h 119"/>
                  <a:gd name="T74" fmla="*/ 33 w 128"/>
                  <a:gd name="T75" fmla="*/ 68 h 119"/>
                  <a:gd name="T76" fmla="*/ 36 w 128"/>
                  <a:gd name="T77" fmla="*/ 76 h 119"/>
                  <a:gd name="T78" fmla="*/ 47 w 128"/>
                  <a:gd name="T79" fmla="*/ 87 h 119"/>
                  <a:gd name="T80" fmla="*/ 55 w 128"/>
                  <a:gd name="T81" fmla="*/ 90 h 119"/>
                  <a:gd name="T82" fmla="*/ 72 w 128"/>
                  <a:gd name="T83" fmla="*/ 90 h 119"/>
                  <a:gd name="T84" fmla="*/ 80 w 128"/>
                  <a:gd name="T85" fmla="*/ 87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28" h="119">
                    <a:moveTo>
                      <a:pt x="31" y="112"/>
                    </a:moveTo>
                    <a:lnTo>
                      <a:pt x="31" y="112"/>
                    </a:lnTo>
                    <a:lnTo>
                      <a:pt x="25" y="109"/>
                    </a:lnTo>
                    <a:lnTo>
                      <a:pt x="21" y="105"/>
                    </a:lnTo>
                    <a:lnTo>
                      <a:pt x="13" y="96"/>
                    </a:lnTo>
                    <a:lnTo>
                      <a:pt x="6" y="87"/>
                    </a:lnTo>
                    <a:lnTo>
                      <a:pt x="2" y="76"/>
                    </a:lnTo>
                    <a:lnTo>
                      <a:pt x="0" y="65"/>
                    </a:lnTo>
                    <a:lnTo>
                      <a:pt x="0" y="54"/>
                    </a:lnTo>
                    <a:lnTo>
                      <a:pt x="2" y="43"/>
                    </a:lnTo>
                    <a:lnTo>
                      <a:pt x="4" y="37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11" y="24"/>
                    </a:lnTo>
                    <a:lnTo>
                      <a:pt x="16" y="18"/>
                    </a:lnTo>
                    <a:lnTo>
                      <a:pt x="23" y="12"/>
                    </a:lnTo>
                    <a:lnTo>
                      <a:pt x="31" y="7"/>
                    </a:lnTo>
                    <a:lnTo>
                      <a:pt x="31" y="7"/>
                    </a:lnTo>
                    <a:lnTo>
                      <a:pt x="38" y="4"/>
                    </a:lnTo>
                    <a:lnTo>
                      <a:pt x="46" y="2"/>
                    </a:lnTo>
                    <a:lnTo>
                      <a:pt x="55" y="0"/>
                    </a:lnTo>
                    <a:lnTo>
                      <a:pt x="64" y="0"/>
                    </a:lnTo>
                    <a:lnTo>
                      <a:pt x="72" y="0"/>
                    </a:lnTo>
                    <a:lnTo>
                      <a:pt x="81" y="2"/>
                    </a:lnTo>
                    <a:lnTo>
                      <a:pt x="89" y="4"/>
                    </a:lnTo>
                    <a:lnTo>
                      <a:pt x="97" y="7"/>
                    </a:lnTo>
                    <a:lnTo>
                      <a:pt x="97" y="7"/>
                    </a:lnTo>
                    <a:lnTo>
                      <a:pt x="102" y="10"/>
                    </a:lnTo>
                    <a:lnTo>
                      <a:pt x="106" y="14"/>
                    </a:lnTo>
                    <a:lnTo>
                      <a:pt x="115" y="22"/>
                    </a:lnTo>
                    <a:lnTo>
                      <a:pt x="121" y="31"/>
                    </a:lnTo>
                    <a:lnTo>
                      <a:pt x="125" y="42"/>
                    </a:lnTo>
                    <a:lnTo>
                      <a:pt x="127" y="53"/>
                    </a:lnTo>
                    <a:lnTo>
                      <a:pt x="128" y="64"/>
                    </a:lnTo>
                    <a:lnTo>
                      <a:pt x="125" y="75"/>
                    </a:lnTo>
                    <a:lnTo>
                      <a:pt x="124" y="81"/>
                    </a:lnTo>
                    <a:lnTo>
                      <a:pt x="121" y="86"/>
                    </a:lnTo>
                    <a:lnTo>
                      <a:pt x="121" y="86"/>
                    </a:lnTo>
                    <a:lnTo>
                      <a:pt x="116" y="94"/>
                    </a:lnTo>
                    <a:lnTo>
                      <a:pt x="111" y="100"/>
                    </a:lnTo>
                    <a:lnTo>
                      <a:pt x="104" y="107"/>
                    </a:lnTo>
                    <a:lnTo>
                      <a:pt x="97" y="112"/>
                    </a:lnTo>
                    <a:lnTo>
                      <a:pt x="97" y="112"/>
                    </a:lnTo>
                    <a:lnTo>
                      <a:pt x="89" y="115"/>
                    </a:lnTo>
                    <a:lnTo>
                      <a:pt x="81" y="117"/>
                    </a:lnTo>
                    <a:lnTo>
                      <a:pt x="72" y="119"/>
                    </a:lnTo>
                    <a:lnTo>
                      <a:pt x="64" y="119"/>
                    </a:lnTo>
                    <a:lnTo>
                      <a:pt x="55" y="119"/>
                    </a:lnTo>
                    <a:lnTo>
                      <a:pt x="46" y="117"/>
                    </a:lnTo>
                    <a:lnTo>
                      <a:pt x="38" y="115"/>
                    </a:lnTo>
                    <a:lnTo>
                      <a:pt x="31" y="112"/>
                    </a:lnTo>
                    <a:lnTo>
                      <a:pt x="31" y="112"/>
                    </a:lnTo>
                    <a:close/>
                    <a:moveTo>
                      <a:pt x="80" y="87"/>
                    </a:moveTo>
                    <a:lnTo>
                      <a:pt x="80" y="87"/>
                    </a:lnTo>
                    <a:lnTo>
                      <a:pt x="86" y="82"/>
                    </a:lnTo>
                    <a:lnTo>
                      <a:pt x="91" y="76"/>
                    </a:lnTo>
                    <a:lnTo>
                      <a:pt x="91" y="76"/>
                    </a:lnTo>
                    <a:lnTo>
                      <a:pt x="94" y="68"/>
                    </a:lnTo>
                    <a:lnTo>
                      <a:pt x="95" y="59"/>
                    </a:lnTo>
                    <a:lnTo>
                      <a:pt x="94" y="50"/>
                    </a:lnTo>
                    <a:lnTo>
                      <a:pt x="91" y="42"/>
                    </a:lnTo>
                    <a:lnTo>
                      <a:pt x="91" y="42"/>
                    </a:lnTo>
                    <a:lnTo>
                      <a:pt x="86" y="35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72" y="27"/>
                    </a:lnTo>
                    <a:lnTo>
                      <a:pt x="64" y="26"/>
                    </a:lnTo>
                    <a:lnTo>
                      <a:pt x="55" y="27"/>
                    </a:lnTo>
                    <a:lnTo>
                      <a:pt x="47" y="30"/>
                    </a:lnTo>
                    <a:lnTo>
                      <a:pt x="47" y="30"/>
                    </a:lnTo>
                    <a:lnTo>
                      <a:pt x="41" y="35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3" y="50"/>
                    </a:lnTo>
                    <a:lnTo>
                      <a:pt x="32" y="59"/>
                    </a:lnTo>
                    <a:lnTo>
                      <a:pt x="33" y="68"/>
                    </a:lnTo>
                    <a:lnTo>
                      <a:pt x="36" y="76"/>
                    </a:lnTo>
                    <a:lnTo>
                      <a:pt x="36" y="76"/>
                    </a:lnTo>
                    <a:lnTo>
                      <a:pt x="41" y="82"/>
                    </a:lnTo>
                    <a:lnTo>
                      <a:pt x="47" y="87"/>
                    </a:lnTo>
                    <a:lnTo>
                      <a:pt x="47" y="87"/>
                    </a:lnTo>
                    <a:lnTo>
                      <a:pt x="55" y="90"/>
                    </a:lnTo>
                    <a:lnTo>
                      <a:pt x="64" y="91"/>
                    </a:lnTo>
                    <a:lnTo>
                      <a:pt x="72" y="90"/>
                    </a:lnTo>
                    <a:lnTo>
                      <a:pt x="80" y="87"/>
                    </a:lnTo>
                    <a:lnTo>
                      <a:pt x="80" y="87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7">
                <a:extLst>
                  <a:ext uri="{FF2B5EF4-FFF2-40B4-BE49-F238E27FC236}">
                    <a16:creationId xmlns:a16="http://schemas.microsoft.com/office/drawing/2014/main" id="{F46768A3-9667-44A2-A453-0BDFF7FE05E7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564816" y="1379538"/>
                <a:ext cx="84138" cy="90487"/>
              </a:xfrm>
              <a:custGeom>
                <a:avLst/>
                <a:gdLst>
                  <a:gd name="T0" fmla="*/ 99 w 105"/>
                  <a:gd name="T1" fmla="*/ 64 h 115"/>
                  <a:gd name="T2" fmla="*/ 103 w 105"/>
                  <a:gd name="T3" fmla="*/ 72 h 115"/>
                  <a:gd name="T4" fmla="*/ 105 w 105"/>
                  <a:gd name="T5" fmla="*/ 81 h 115"/>
                  <a:gd name="T6" fmla="*/ 104 w 105"/>
                  <a:gd name="T7" fmla="*/ 88 h 115"/>
                  <a:gd name="T8" fmla="*/ 98 w 105"/>
                  <a:gd name="T9" fmla="*/ 101 h 115"/>
                  <a:gd name="T10" fmla="*/ 93 w 105"/>
                  <a:gd name="T11" fmla="*/ 106 h 115"/>
                  <a:gd name="T12" fmla="*/ 77 w 105"/>
                  <a:gd name="T13" fmla="*/ 113 h 115"/>
                  <a:gd name="T14" fmla="*/ 59 w 105"/>
                  <a:gd name="T15" fmla="*/ 115 h 115"/>
                  <a:gd name="T16" fmla="*/ 0 w 105"/>
                  <a:gd name="T17" fmla="*/ 0 h 115"/>
                  <a:gd name="T18" fmla="*/ 56 w 105"/>
                  <a:gd name="T19" fmla="*/ 0 h 115"/>
                  <a:gd name="T20" fmla="*/ 73 w 105"/>
                  <a:gd name="T21" fmla="*/ 2 h 115"/>
                  <a:gd name="T22" fmla="*/ 88 w 105"/>
                  <a:gd name="T23" fmla="*/ 8 h 115"/>
                  <a:gd name="T24" fmla="*/ 93 w 105"/>
                  <a:gd name="T25" fmla="*/ 12 h 115"/>
                  <a:gd name="T26" fmla="*/ 99 w 105"/>
                  <a:gd name="T27" fmla="*/ 23 h 115"/>
                  <a:gd name="T28" fmla="*/ 99 w 105"/>
                  <a:gd name="T29" fmla="*/ 30 h 115"/>
                  <a:gd name="T30" fmla="*/ 95 w 105"/>
                  <a:gd name="T31" fmla="*/ 45 h 115"/>
                  <a:gd name="T32" fmla="*/ 90 w 105"/>
                  <a:gd name="T33" fmla="*/ 50 h 115"/>
                  <a:gd name="T34" fmla="*/ 84 w 105"/>
                  <a:gd name="T35" fmla="*/ 54 h 115"/>
                  <a:gd name="T36" fmla="*/ 92 w 105"/>
                  <a:gd name="T37" fmla="*/ 58 h 115"/>
                  <a:gd name="T38" fmla="*/ 99 w 105"/>
                  <a:gd name="T39" fmla="*/ 64 h 115"/>
                  <a:gd name="T40" fmla="*/ 32 w 105"/>
                  <a:gd name="T41" fmla="*/ 46 h 115"/>
                  <a:gd name="T42" fmla="*/ 53 w 105"/>
                  <a:gd name="T43" fmla="*/ 46 h 115"/>
                  <a:gd name="T44" fmla="*/ 63 w 105"/>
                  <a:gd name="T45" fmla="*/ 43 h 115"/>
                  <a:gd name="T46" fmla="*/ 67 w 105"/>
                  <a:gd name="T47" fmla="*/ 34 h 115"/>
                  <a:gd name="T48" fmla="*/ 66 w 105"/>
                  <a:gd name="T49" fmla="*/ 29 h 115"/>
                  <a:gd name="T50" fmla="*/ 59 w 105"/>
                  <a:gd name="T51" fmla="*/ 24 h 115"/>
                  <a:gd name="T52" fmla="*/ 32 w 105"/>
                  <a:gd name="T53" fmla="*/ 23 h 115"/>
                  <a:gd name="T54" fmla="*/ 72 w 105"/>
                  <a:gd name="T55" fmla="*/ 79 h 115"/>
                  <a:gd name="T56" fmla="*/ 71 w 105"/>
                  <a:gd name="T57" fmla="*/ 74 h 115"/>
                  <a:gd name="T58" fmla="*/ 64 w 105"/>
                  <a:gd name="T59" fmla="*/ 68 h 115"/>
                  <a:gd name="T60" fmla="*/ 32 w 105"/>
                  <a:gd name="T61" fmla="*/ 67 h 115"/>
                  <a:gd name="T62" fmla="*/ 58 w 105"/>
                  <a:gd name="T63" fmla="*/ 91 h 115"/>
                  <a:gd name="T64" fmla="*/ 64 w 105"/>
                  <a:gd name="T65" fmla="*/ 90 h 115"/>
                  <a:gd name="T66" fmla="*/ 71 w 105"/>
                  <a:gd name="T67" fmla="*/ 84 h 115"/>
                  <a:gd name="T68" fmla="*/ 72 w 105"/>
                  <a:gd name="T69" fmla="*/ 79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5" h="115">
                    <a:moveTo>
                      <a:pt x="99" y="64"/>
                    </a:moveTo>
                    <a:lnTo>
                      <a:pt x="99" y="64"/>
                    </a:lnTo>
                    <a:lnTo>
                      <a:pt x="102" y="68"/>
                    </a:lnTo>
                    <a:lnTo>
                      <a:pt x="103" y="72"/>
                    </a:lnTo>
                    <a:lnTo>
                      <a:pt x="104" y="77"/>
                    </a:lnTo>
                    <a:lnTo>
                      <a:pt x="105" y="81"/>
                    </a:lnTo>
                    <a:lnTo>
                      <a:pt x="105" y="81"/>
                    </a:lnTo>
                    <a:lnTo>
                      <a:pt x="104" y="88"/>
                    </a:lnTo>
                    <a:lnTo>
                      <a:pt x="102" y="95"/>
                    </a:lnTo>
                    <a:lnTo>
                      <a:pt x="98" y="101"/>
                    </a:lnTo>
                    <a:lnTo>
                      <a:pt x="93" y="106"/>
                    </a:lnTo>
                    <a:lnTo>
                      <a:pt x="93" y="106"/>
                    </a:lnTo>
                    <a:lnTo>
                      <a:pt x="85" y="110"/>
                    </a:lnTo>
                    <a:lnTo>
                      <a:pt x="77" y="113"/>
                    </a:lnTo>
                    <a:lnTo>
                      <a:pt x="68" y="115"/>
                    </a:lnTo>
                    <a:lnTo>
                      <a:pt x="59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5" y="0"/>
                    </a:lnTo>
                    <a:lnTo>
                      <a:pt x="73" y="2"/>
                    </a:lnTo>
                    <a:lnTo>
                      <a:pt x="81" y="4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93" y="12"/>
                    </a:lnTo>
                    <a:lnTo>
                      <a:pt x="97" y="17"/>
                    </a:lnTo>
                    <a:lnTo>
                      <a:pt x="99" y="23"/>
                    </a:lnTo>
                    <a:lnTo>
                      <a:pt x="99" y="30"/>
                    </a:lnTo>
                    <a:lnTo>
                      <a:pt x="99" y="30"/>
                    </a:lnTo>
                    <a:lnTo>
                      <a:pt x="98" y="37"/>
                    </a:lnTo>
                    <a:lnTo>
                      <a:pt x="95" y="45"/>
                    </a:lnTo>
                    <a:lnTo>
                      <a:pt x="95" y="45"/>
                    </a:lnTo>
                    <a:lnTo>
                      <a:pt x="90" y="50"/>
                    </a:lnTo>
                    <a:lnTo>
                      <a:pt x="84" y="54"/>
                    </a:lnTo>
                    <a:lnTo>
                      <a:pt x="84" y="54"/>
                    </a:lnTo>
                    <a:lnTo>
                      <a:pt x="88" y="56"/>
                    </a:lnTo>
                    <a:lnTo>
                      <a:pt x="92" y="58"/>
                    </a:lnTo>
                    <a:lnTo>
                      <a:pt x="96" y="61"/>
                    </a:lnTo>
                    <a:lnTo>
                      <a:pt x="99" y="64"/>
                    </a:lnTo>
                    <a:lnTo>
                      <a:pt x="99" y="64"/>
                    </a:lnTo>
                    <a:close/>
                    <a:moveTo>
                      <a:pt x="32" y="46"/>
                    </a:moveTo>
                    <a:lnTo>
                      <a:pt x="53" y="46"/>
                    </a:lnTo>
                    <a:lnTo>
                      <a:pt x="53" y="46"/>
                    </a:lnTo>
                    <a:lnTo>
                      <a:pt x="59" y="45"/>
                    </a:lnTo>
                    <a:lnTo>
                      <a:pt x="63" y="43"/>
                    </a:lnTo>
                    <a:lnTo>
                      <a:pt x="66" y="39"/>
                    </a:lnTo>
                    <a:lnTo>
                      <a:pt x="67" y="34"/>
                    </a:lnTo>
                    <a:lnTo>
                      <a:pt x="67" y="34"/>
                    </a:lnTo>
                    <a:lnTo>
                      <a:pt x="66" y="29"/>
                    </a:lnTo>
                    <a:lnTo>
                      <a:pt x="63" y="26"/>
                    </a:lnTo>
                    <a:lnTo>
                      <a:pt x="59" y="24"/>
                    </a:lnTo>
                    <a:lnTo>
                      <a:pt x="53" y="23"/>
                    </a:lnTo>
                    <a:lnTo>
                      <a:pt x="32" y="23"/>
                    </a:lnTo>
                    <a:lnTo>
                      <a:pt x="32" y="46"/>
                    </a:lnTo>
                    <a:close/>
                    <a:moveTo>
                      <a:pt x="72" y="79"/>
                    </a:moveTo>
                    <a:lnTo>
                      <a:pt x="72" y="79"/>
                    </a:lnTo>
                    <a:lnTo>
                      <a:pt x="71" y="74"/>
                    </a:lnTo>
                    <a:lnTo>
                      <a:pt x="69" y="70"/>
                    </a:lnTo>
                    <a:lnTo>
                      <a:pt x="64" y="68"/>
                    </a:lnTo>
                    <a:lnTo>
                      <a:pt x="58" y="67"/>
                    </a:lnTo>
                    <a:lnTo>
                      <a:pt x="32" y="67"/>
                    </a:lnTo>
                    <a:lnTo>
                      <a:pt x="32" y="91"/>
                    </a:lnTo>
                    <a:lnTo>
                      <a:pt x="58" y="91"/>
                    </a:lnTo>
                    <a:lnTo>
                      <a:pt x="58" y="91"/>
                    </a:lnTo>
                    <a:lnTo>
                      <a:pt x="64" y="90"/>
                    </a:lnTo>
                    <a:lnTo>
                      <a:pt x="69" y="88"/>
                    </a:lnTo>
                    <a:lnTo>
                      <a:pt x="71" y="84"/>
                    </a:lnTo>
                    <a:lnTo>
                      <a:pt x="72" y="79"/>
                    </a:lnTo>
                    <a:lnTo>
                      <a:pt x="72" y="79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8">
                <a:extLst>
                  <a:ext uri="{FF2B5EF4-FFF2-40B4-BE49-F238E27FC236}">
                    <a16:creationId xmlns:a16="http://schemas.microsoft.com/office/drawing/2014/main" id="{2610A4EC-2160-46B6-8423-9ED9A7410136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664829" y="1379538"/>
                <a:ext cx="115888" cy="90487"/>
              </a:xfrm>
              <a:custGeom>
                <a:avLst/>
                <a:gdLst>
                  <a:gd name="T0" fmla="*/ 92 w 147"/>
                  <a:gd name="T1" fmla="*/ 46 h 115"/>
                  <a:gd name="T2" fmla="*/ 92 w 147"/>
                  <a:gd name="T3" fmla="*/ 46 h 115"/>
                  <a:gd name="T4" fmla="*/ 97 w 147"/>
                  <a:gd name="T5" fmla="*/ 51 h 115"/>
                  <a:gd name="T6" fmla="*/ 101 w 147"/>
                  <a:gd name="T7" fmla="*/ 58 h 115"/>
                  <a:gd name="T8" fmla="*/ 103 w 147"/>
                  <a:gd name="T9" fmla="*/ 66 h 115"/>
                  <a:gd name="T10" fmla="*/ 103 w 147"/>
                  <a:gd name="T11" fmla="*/ 73 h 115"/>
                  <a:gd name="T12" fmla="*/ 103 w 147"/>
                  <a:gd name="T13" fmla="*/ 73 h 115"/>
                  <a:gd name="T14" fmla="*/ 103 w 147"/>
                  <a:gd name="T15" fmla="*/ 82 h 115"/>
                  <a:gd name="T16" fmla="*/ 100 w 147"/>
                  <a:gd name="T17" fmla="*/ 90 h 115"/>
                  <a:gd name="T18" fmla="*/ 96 w 147"/>
                  <a:gd name="T19" fmla="*/ 97 h 115"/>
                  <a:gd name="T20" fmla="*/ 90 w 147"/>
                  <a:gd name="T21" fmla="*/ 104 h 115"/>
                  <a:gd name="T22" fmla="*/ 90 w 147"/>
                  <a:gd name="T23" fmla="*/ 104 h 115"/>
                  <a:gd name="T24" fmla="*/ 82 w 147"/>
                  <a:gd name="T25" fmla="*/ 109 h 115"/>
                  <a:gd name="T26" fmla="*/ 74 w 147"/>
                  <a:gd name="T27" fmla="*/ 113 h 115"/>
                  <a:gd name="T28" fmla="*/ 65 w 147"/>
                  <a:gd name="T29" fmla="*/ 115 h 115"/>
                  <a:gd name="T30" fmla="*/ 55 w 147"/>
                  <a:gd name="T31" fmla="*/ 115 h 115"/>
                  <a:gd name="T32" fmla="*/ 0 w 147"/>
                  <a:gd name="T33" fmla="*/ 115 h 115"/>
                  <a:gd name="T34" fmla="*/ 0 w 147"/>
                  <a:gd name="T35" fmla="*/ 0 h 115"/>
                  <a:gd name="T36" fmla="*/ 32 w 147"/>
                  <a:gd name="T37" fmla="*/ 0 h 115"/>
                  <a:gd name="T38" fmla="*/ 32 w 147"/>
                  <a:gd name="T39" fmla="*/ 36 h 115"/>
                  <a:gd name="T40" fmla="*/ 59 w 147"/>
                  <a:gd name="T41" fmla="*/ 36 h 115"/>
                  <a:gd name="T42" fmla="*/ 59 w 147"/>
                  <a:gd name="T43" fmla="*/ 36 h 115"/>
                  <a:gd name="T44" fmla="*/ 68 w 147"/>
                  <a:gd name="T45" fmla="*/ 37 h 115"/>
                  <a:gd name="T46" fmla="*/ 76 w 147"/>
                  <a:gd name="T47" fmla="*/ 38 h 115"/>
                  <a:gd name="T48" fmla="*/ 84 w 147"/>
                  <a:gd name="T49" fmla="*/ 41 h 115"/>
                  <a:gd name="T50" fmla="*/ 92 w 147"/>
                  <a:gd name="T51" fmla="*/ 46 h 115"/>
                  <a:gd name="T52" fmla="*/ 92 w 147"/>
                  <a:gd name="T53" fmla="*/ 46 h 115"/>
                  <a:gd name="T54" fmla="*/ 66 w 147"/>
                  <a:gd name="T55" fmla="*/ 86 h 115"/>
                  <a:gd name="T56" fmla="*/ 66 w 147"/>
                  <a:gd name="T57" fmla="*/ 86 h 115"/>
                  <a:gd name="T58" fmla="*/ 68 w 147"/>
                  <a:gd name="T59" fmla="*/ 84 h 115"/>
                  <a:gd name="T60" fmla="*/ 70 w 147"/>
                  <a:gd name="T61" fmla="*/ 81 h 115"/>
                  <a:gd name="T62" fmla="*/ 71 w 147"/>
                  <a:gd name="T63" fmla="*/ 77 h 115"/>
                  <a:gd name="T64" fmla="*/ 71 w 147"/>
                  <a:gd name="T65" fmla="*/ 74 h 115"/>
                  <a:gd name="T66" fmla="*/ 71 w 147"/>
                  <a:gd name="T67" fmla="*/ 74 h 115"/>
                  <a:gd name="T68" fmla="*/ 71 w 147"/>
                  <a:gd name="T69" fmla="*/ 71 h 115"/>
                  <a:gd name="T70" fmla="*/ 70 w 147"/>
                  <a:gd name="T71" fmla="*/ 68 h 115"/>
                  <a:gd name="T72" fmla="*/ 68 w 147"/>
                  <a:gd name="T73" fmla="*/ 65 h 115"/>
                  <a:gd name="T74" fmla="*/ 67 w 147"/>
                  <a:gd name="T75" fmla="*/ 63 h 115"/>
                  <a:gd name="T76" fmla="*/ 64 w 147"/>
                  <a:gd name="T77" fmla="*/ 61 h 115"/>
                  <a:gd name="T78" fmla="*/ 61 w 147"/>
                  <a:gd name="T79" fmla="*/ 60 h 115"/>
                  <a:gd name="T80" fmla="*/ 53 w 147"/>
                  <a:gd name="T81" fmla="*/ 59 h 115"/>
                  <a:gd name="T82" fmla="*/ 32 w 147"/>
                  <a:gd name="T83" fmla="*/ 59 h 115"/>
                  <a:gd name="T84" fmla="*/ 32 w 147"/>
                  <a:gd name="T85" fmla="*/ 91 h 115"/>
                  <a:gd name="T86" fmla="*/ 53 w 147"/>
                  <a:gd name="T87" fmla="*/ 91 h 115"/>
                  <a:gd name="T88" fmla="*/ 53 w 147"/>
                  <a:gd name="T89" fmla="*/ 91 h 115"/>
                  <a:gd name="T90" fmla="*/ 57 w 147"/>
                  <a:gd name="T91" fmla="*/ 91 h 115"/>
                  <a:gd name="T92" fmla="*/ 60 w 147"/>
                  <a:gd name="T93" fmla="*/ 90 h 115"/>
                  <a:gd name="T94" fmla="*/ 63 w 147"/>
                  <a:gd name="T95" fmla="*/ 88 h 115"/>
                  <a:gd name="T96" fmla="*/ 66 w 147"/>
                  <a:gd name="T97" fmla="*/ 86 h 115"/>
                  <a:gd name="T98" fmla="*/ 66 w 147"/>
                  <a:gd name="T99" fmla="*/ 86 h 115"/>
                  <a:gd name="T100" fmla="*/ 116 w 147"/>
                  <a:gd name="T101" fmla="*/ 0 h 115"/>
                  <a:gd name="T102" fmla="*/ 147 w 147"/>
                  <a:gd name="T103" fmla="*/ 0 h 115"/>
                  <a:gd name="T104" fmla="*/ 147 w 147"/>
                  <a:gd name="T105" fmla="*/ 115 h 115"/>
                  <a:gd name="T106" fmla="*/ 116 w 147"/>
                  <a:gd name="T107" fmla="*/ 115 h 115"/>
                  <a:gd name="T108" fmla="*/ 116 w 147"/>
                  <a:gd name="T109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47" h="115">
                    <a:moveTo>
                      <a:pt x="92" y="46"/>
                    </a:moveTo>
                    <a:lnTo>
                      <a:pt x="92" y="46"/>
                    </a:lnTo>
                    <a:lnTo>
                      <a:pt x="97" y="51"/>
                    </a:lnTo>
                    <a:lnTo>
                      <a:pt x="101" y="58"/>
                    </a:lnTo>
                    <a:lnTo>
                      <a:pt x="103" y="66"/>
                    </a:lnTo>
                    <a:lnTo>
                      <a:pt x="103" y="73"/>
                    </a:lnTo>
                    <a:lnTo>
                      <a:pt x="103" y="73"/>
                    </a:lnTo>
                    <a:lnTo>
                      <a:pt x="103" y="82"/>
                    </a:lnTo>
                    <a:lnTo>
                      <a:pt x="100" y="90"/>
                    </a:lnTo>
                    <a:lnTo>
                      <a:pt x="96" y="97"/>
                    </a:lnTo>
                    <a:lnTo>
                      <a:pt x="90" y="104"/>
                    </a:lnTo>
                    <a:lnTo>
                      <a:pt x="90" y="104"/>
                    </a:lnTo>
                    <a:lnTo>
                      <a:pt x="82" y="109"/>
                    </a:lnTo>
                    <a:lnTo>
                      <a:pt x="74" y="113"/>
                    </a:lnTo>
                    <a:lnTo>
                      <a:pt x="65" y="115"/>
                    </a:lnTo>
                    <a:lnTo>
                      <a:pt x="55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2" y="0"/>
                    </a:lnTo>
                    <a:lnTo>
                      <a:pt x="32" y="36"/>
                    </a:lnTo>
                    <a:lnTo>
                      <a:pt x="59" y="36"/>
                    </a:lnTo>
                    <a:lnTo>
                      <a:pt x="59" y="36"/>
                    </a:lnTo>
                    <a:lnTo>
                      <a:pt x="68" y="37"/>
                    </a:lnTo>
                    <a:lnTo>
                      <a:pt x="76" y="38"/>
                    </a:lnTo>
                    <a:lnTo>
                      <a:pt x="84" y="41"/>
                    </a:lnTo>
                    <a:lnTo>
                      <a:pt x="92" y="46"/>
                    </a:lnTo>
                    <a:lnTo>
                      <a:pt x="92" y="46"/>
                    </a:lnTo>
                    <a:close/>
                    <a:moveTo>
                      <a:pt x="66" y="86"/>
                    </a:moveTo>
                    <a:lnTo>
                      <a:pt x="66" y="86"/>
                    </a:lnTo>
                    <a:lnTo>
                      <a:pt x="68" y="84"/>
                    </a:lnTo>
                    <a:lnTo>
                      <a:pt x="70" y="81"/>
                    </a:lnTo>
                    <a:lnTo>
                      <a:pt x="71" y="77"/>
                    </a:lnTo>
                    <a:lnTo>
                      <a:pt x="71" y="74"/>
                    </a:lnTo>
                    <a:lnTo>
                      <a:pt x="71" y="74"/>
                    </a:lnTo>
                    <a:lnTo>
                      <a:pt x="71" y="71"/>
                    </a:lnTo>
                    <a:lnTo>
                      <a:pt x="70" y="68"/>
                    </a:lnTo>
                    <a:lnTo>
                      <a:pt x="68" y="65"/>
                    </a:lnTo>
                    <a:lnTo>
                      <a:pt x="67" y="63"/>
                    </a:lnTo>
                    <a:lnTo>
                      <a:pt x="64" y="61"/>
                    </a:lnTo>
                    <a:lnTo>
                      <a:pt x="61" y="60"/>
                    </a:lnTo>
                    <a:lnTo>
                      <a:pt x="53" y="59"/>
                    </a:lnTo>
                    <a:lnTo>
                      <a:pt x="32" y="59"/>
                    </a:lnTo>
                    <a:lnTo>
                      <a:pt x="32" y="91"/>
                    </a:lnTo>
                    <a:lnTo>
                      <a:pt x="53" y="91"/>
                    </a:lnTo>
                    <a:lnTo>
                      <a:pt x="53" y="91"/>
                    </a:lnTo>
                    <a:lnTo>
                      <a:pt x="57" y="91"/>
                    </a:lnTo>
                    <a:lnTo>
                      <a:pt x="60" y="90"/>
                    </a:lnTo>
                    <a:lnTo>
                      <a:pt x="63" y="88"/>
                    </a:lnTo>
                    <a:lnTo>
                      <a:pt x="66" y="86"/>
                    </a:lnTo>
                    <a:lnTo>
                      <a:pt x="66" y="86"/>
                    </a:lnTo>
                    <a:close/>
                    <a:moveTo>
                      <a:pt x="116" y="0"/>
                    </a:moveTo>
                    <a:lnTo>
                      <a:pt x="147" y="0"/>
                    </a:lnTo>
                    <a:lnTo>
                      <a:pt x="147" y="115"/>
                    </a:lnTo>
                    <a:lnTo>
                      <a:pt x="116" y="115"/>
                    </a:lnTo>
                    <a:lnTo>
                      <a:pt x="116" y="0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9">
                <a:extLst>
                  <a:ext uri="{FF2B5EF4-FFF2-40B4-BE49-F238E27FC236}">
                    <a16:creationId xmlns:a16="http://schemas.microsoft.com/office/drawing/2014/main" id="{9762A3A5-BAF9-4A32-8514-022111309ED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802941" y="1379538"/>
                <a:ext cx="74613" cy="90487"/>
              </a:xfrm>
              <a:custGeom>
                <a:avLst/>
                <a:gdLst>
                  <a:gd name="T0" fmla="*/ 92 w 92"/>
                  <a:gd name="T1" fmla="*/ 89 h 115"/>
                  <a:gd name="T2" fmla="*/ 92 w 92"/>
                  <a:gd name="T3" fmla="*/ 115 h 115"/>
                  <a:gd name="T4" fmla="*/ 0 w 92"/>
                  <a:gd name="T5" fmla="*/ 115 h 115"/>
                  <a:gd name="T6" fmla="*/ 0 w 92"/>
                  <a:gd name="T7" fmla="*/ 0 h 115"/>
                  <a:gd name="T8" fmla="*/ 90 w 92"/>
                  <a:gd name="T9" fmla="*/ 0 h 115"/>
                  <a:gd name="T10" fmla="*/ 90 w 92"/>
                  <a:gd name="T11" fmla="*/ 25 h 115"/>
                  <a:gd name="T12" fmla="*/ 32 w 92"/>
                  <a:gd name="T13" fmla="*/ 25 h 115"/>
                  <a:gd name="T14" fmla="*/ 32 w 92"/>
                  <a:gd name="T15" fmla="*/ 44 h 115"/>
                  <a:gd name="T16" fmla="*/ 83 w 92"/>
                  <a:gd name="T17" fmla="*/ 44 h 115"/>
                  <a:gd name="T18" fmla="*/ 83 w 92"/>
                  <a:gd name="T19" fmla="*/ 68 h 115"/>
                  <a:gd name="T20" fmla="*/ 32 w 92"/>
                  <a:gd name="T21" fmla="*/ 68 h 115"/>
                  <a:gd name="T22" fmla="*/ 32 w 92"/>
                  <a:gd name="T23" fmla="*/ 89 h 115"/>
                  <a:gd name="T24" fmla="*/ 92 w 92"/>
                  <a:gd name="T25" fmla="*/ 89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2" h="115">
                    <a:moveTo>
                      <a:pt x="92" y="89"/>
                    </a:moveTo>
                    <a:lnTo>
                      <a:pt x="9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25"/>
                    </a:lnTo>
                    <a:lnTo>
                      <a:pt x="32" y="25"/>
                    </a:lnTo>
                    <a:lnTo>
                      <a:pt x="32" y="44"/>
                    </a:lnTo>
                    <a:lnTo>
                      <a:pt x="83" y="44"/>
                    </a:lnTo>
                    <a:lnTo>
                      <a:pt x="83" y="68"/>
                    </a:lnTo>
                    <a:lnTo>
                      <a:pt x="32" y="68"/>
                    </a:lnTo>
                    <a:lnTo>
                      <a:pt x="32" y="89"/>
                    </a:lnTo>
                    <a:lnTo>
                      <a:pt x="92" y="89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10">
                <a:extLst>
                  <a:ext uri="{FF2B5EF4-FFF2-40B4-BE49-F238E27FC236}">
                    <a16:creationId xmlns:a16="http://schemas.microsoft.com/office/drawing/2014/main" id="{72E9F77D-A03B-4D2D-AD64-4E6DAE648A34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934704" y="1379538"/>
                <a:ext cx="82550" cy="90487"/>
              </a:xfrm>
              <a:custGeom>
                <a:avLst/>
                <a:gdLst>
                  <a:gd name="T0" fmla="*/ 99 w 105"/>
                  <a:gd name="T1" fmla="*/ 64 h 115"/>
                  <a:gd name="T2" fmla="*/ 104 w 105"/>
                  <a:gd name="T3" fmla="*/ 72 h 115"/>
                  <a:gd name="T4" fmla="*/ 105 w 105"/>
                  <a:gd name="T5" fmla="*/ 81 h 115"/>
                  <a:gd name="T6" fmla="*/ 104 w 105"/>
                  <a:gd name="T7" fmla="*/ 88 h 115"/>
                  <a:gd name="T8" fmla="*/ 98 w 105"/>
                  <a:gd name="T9" fmla="*/ 101 h 115"/>
                  <a:gd name="T10" fmla="*/ 93 w 105"/>
                  <a:gd name="T11" fmla="*/ 106 h 115"/>
                  <a:gd name="T12" fmla="*/ 78 w 105"/>
                  <a:gd name="T13" fmla="*/ 113 h 115"/>
                  <a:gd name="T14" fmla="*/ 58 w 105"/>
                  <a:gd name="T15" fmla="*/ 115 h 115"/>
                  <a:gd name="T16" fmla="*/ 0 w 105"/>
                  <a:gd name="T17" fmla="*/ 0 h 115"/>
                  <a:gd name="T18" fmla="*/ 55 w 105"/>
                  <a:gd name="T19" fmla="*/ 0 h 115"/>
                  <a:gd name="T20" fmla="*/ 72 w 105"/>
                  <a:gd name="T21" fmla="*/ 2 h 115"/>
                  <a:gd name="T22" fmla="*/ 88 w 105"/>
                  <a:gd name="T23" fmla="*/ 8 h 115"/>
                  <a:gd name="T24" fmla="*/ 93 w 105"/>
                  <a:gd name="T25" fmla="*/ 12 h 115"/>
                  <a:gd name="T26" fmla="*/ 99 w 105"/>
                  <a:gd name="T27" fmla="*/ 23 h 115"/>
                  <a:gd name="T28" fmla="*/ 100 w 105"/>
                  <a:gd name="T29" fmla="*/ 30 h 115"/>
                  <a:gd name="T30" fmla="*/ 96 w 105"/>
                  <a:gd name="T31" fmla="*/ 45 h 115"/>
                  <a:gd name="T32" fmla="*/ 91 w 105"/>
                  <a:gd name="T33" fmla="*/ 50 h 115"/>
                  <a:gd name="T34" fmla="*/ 84 w 105"/>
                  <a:gd name="T35" fmla="*/ 54 h 115"/>
                  <a:gd name="T36" fmla="*/ 93 w 105"/>
                  <a:gd name="T37" fmla="*/ 58 h 115"/>
                  <a:gd name="T38" fmla="*/ 99 w 105"/>
                  <a:gd name="T39" fmla="*/ 64 h 115"/>
                  <a:gd name="T40" fmla="*/ 32 w 105"/>
                  <a:gd name="T41" fmla="*/ 46 h 115"/>
                  <a:gd name="T42" fmla="*/ 52 w 105"/>
                  <a:gd name="T43" fmla="*/ 46 h 115"/>
                  <a:gd name="T44" fmla="*/ 63 w 105"/>
                  <a:gd name="T45" fmla="*/ 43 h 115"/>
                  <a:gd name="T46" fmla="*/ 66 w 105"/>
                  <a:gd name="T47" fmla="*/ 34 h 115"/>
                  <a:gd name="T48" fmla="*/ 65 w 105"/>
                  <a:gd name="T49" fmla="*/ 29 h 115"/>
                  <a:gd name="T50" fmla="*/ 58 w 105"/>
                  <a:gd name="T51" fmla="*/ 24 h 115"/>
                  <a:gd name="T52" fmla="*/ 32 w 105"/>
                  <a:gd name="T53" fmla="*/ 23 h 115"/>
                  <a:gd name="T54" fmla="*/ 71 w 105"/>
                  <a:gd name="T55" fmla="*/ 79 h 115"/>
                  <a:gd name="T56" fmla="*/ 70 w 105"/>
                  <a:gd name="T57" fmla="*/ 74 h 115"/>
                  <a:gd name="T58" fmla="*/ 63 w 105"/>
                  <a:gd name="T59" fmla="*/ 68 h 115"/>
                  <a:gd name="T60" fmla="*/ 32 w 105"/>
                  <a:gd name="T61" fmla="*/ 67 h 115"/>
                  <a:gd name="T62" fmla="*/ 57 w 105"/>
                  <a:gd name="T63" fmla="*/ 91 h 115"/>
                  <a:gd name="T64" fmla="*/ 63 w 105"/>
                  <a:gd name="T65" fmla="*/ 90 h 115"/>
                  <a:gd name="T66" fmla="*/ 70 w 105"/>
                  <a:gd name="T67" fmla="*/ 84 h 115"/>
                  <a:gd name="T68" fmla="*/ 71 w 105"/>
                  <a:gd name="T69" fmla="*/ 79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5" h="115">
                    <a:moveTo>
                      <a:pt x="99" y="64"/>
                    </a:moveTo>
                    <a:lnTo>
                      <a:pt x="99" y="64"/>
                    </a:lnTo>
                    <a:lnTo>
                      <a:pt x="102" y="68"/>
                    </a:lnTo>
                    <a:lnTo>
                      <a:pt x="104" y="72"/>
                    </a:lnTo>
                    <a:lnTo>
                      <a:pt x="105" y="77"/>
                    </a:lnTo>
                    <a:lnTo>
                      <a:pt x="105" y="81"/>
                    </a:lnTo>
                    <a:lnTo>
                      <a:pt x="105" y="81"/>
                    </a:lnTo>
                    <a:lnTo>
                      <a:pt x="104" y="88"/>
                    </a:lnTo>
                    <a:lnTo>
                      <a:pt x="102" y="95"/>
                    </a:lnTo>
                    <a:lnTo>
                      <a:pt x="98" y="101"/>
                    </a:lnTo>
                    <a:lnTo>
                      <a:pt x="93" y="106"/>
                    </a:lnTo>
                    <a:lnTo>
                      <a:pt x="93" y="106"/>
                    </a:lnTo>
                    <a:lnTo>
                      <a:pt x="86" y="110"/>
                    </a:lnTo>
                    <a:lnTo>
                      <a:pt x="78" y="113"/>
                    </a:lnTo>
                    <a:lnTo>
                      <a:pt x="69" y="114"/>
                    </a:lnTo>
                    <a:lnTo>
                      <a:pt x="58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55" y="0"/>
                    </a:lnTo>
                    <a:lnTo>
                      <a:pt x="55" y="0"/>
                    </a:lnTo>
                    <a:lnTo>
                      <a:pt x="64" y="0"/>
                    </a:lnTo>
                    <a:lnTo>
                      <a:pt x="72" y="2"/>
                    </a:lnTo>
                    <a:lnTo>
                      <a:pt x="81" y="4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93" y="12"/>
                    </a:lnTo>
                    <a:lnTo>
                      <a:pt x="97" y="17"/>
                    </a:lnTo>
                    <a:lnTo>
                      <a:pt x="99" y="23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99" y="37"/>
                    </a:lnTo>
                    <a:lnTo>
                      <a:pt x="96" y="45"/>
                    </a:lnTo>
                    <a:lnTo>
                      <a:pt x="96" y="45"/>
                    </a:lnTo>
                    <a:lnTo>
                      <a:pt x="91" y="50"/>
                    </a:lnTo>
                    <a:lnTo>
                      <a:pt x="84" y="54"/>
                    </a:lnTo>
                    <a:lnTo>
                      <a:pt x="84" y="54"/>
                    </a:lnTo>
                    <a:lnTo>
                      <a:pt x="88" y="56"/>
                    </a:lnTo>
                    <a:lnTo>
                      <a:pt x="93" y="58"/>
                    </a:lnTo>
                    <a:lnTo>
                      <a:pt x="96" y="61"/>
                    </a:lnTo>
                    <a:lnTo>
                      <a:pt x="99" y="64"/>
                    </a:lnTo>
                    <a:lnTo>
                      <a:pt x="99" y="64"/>
                    </a:lnTo>
                    <a:close/>
                    <a:moveTo>
                      <a:pt x="32" y="46"/>
                    </a:moveTo>
                    <a:lnTo>
                      <a:pt x="52" y="46"/>
                    </a:lnTo>
                    <a:lnTo>
                      <a:pt x="52" y="46"/>
                    </a:lnTo>
                    <a:lnTo>
                      <a:pt x="58" y="45"/>
                    </a:lnTo>
                    <a:lnTo>
                      <a:pt x="63" y="43"/>
                    </a:lnTo>
                    <a:lnTo>
                      <a:pt x="65" y="39"/>
                    </a:lnTo>
                    <a:lnTo>
                      <a:pt x="66" y="34"/>
                    </a:lnTo>
                    <a:lnTo>
                      <a:pt x="66" y="34"/>
                    </a:lnTo>
                    <a:lnTo>
                      <a:pt x="65" y="29"/>
                    </a:lnTo>
                    <a:lnTo>
                      <a:pt x="63" y="26"/>
                    </a:lnTo>
                    <a:lnTo>
                      <a:pt x="58" y="24"/>
                    </a:lnTo>
                    <a:lnTo>
                      <a:pt x="52" y="23"/>
                    </a:lnTo>
                    <a:lnTo>
                      <a:pt x="32" y="23"/>
                    </a:lnTo>
                    <a:lnTo>
                      <a:pt x="32" y="46"/>
                    </a:lnTo>
                    <a:close/>
                    <a:moveTo>
                      <a:pt x="71" y="79"/>
                    </a:moveTo>
                    <a:lnTo>
                      <a:pt x="71" y="79"/>
                    </a:lnTo>
                    <a:lnTo>
                      <a:pt x="70" y="74"/>
                    </a:lnTo>
                    <a:lnTo>
                      <a:pt x="68" y="70"/>
                    </a:lnTo>
                    <a:lnTo>
                      <a:pt x="63" y="68"/>
                    </a:lnTo>
                    <a:lnTo>
                      <a:pt x="57" y="67"/>
                    </a:lnTo>
                    <a:lnTo>
                      <a:pt x="32" y="67"/>
                    </a:lnTo>
                    <a:lnTo>
                      <a:pt x="32" y="91"/>
                    </a:lnTo>
                    <a:lnTo>
                      <a:pt x="57" y="91"/>
                    </a:lnTo>
                    <a:lnTo>
                      <a:pt x="57" y="91"/>
                    </a:lnTo>
                    <a:lnTo>
                      <a:pt x="63" y="90"/>
                    </a:lnTo>
                    <a:lnTo>
                      <a:pt x="68" y="88"/>
                    </a:lnTo>
                    <a:lnTo>
                      <a:pt x="70" y="84"/>
                    </a:lnTo>
                    <a:lnTo>
                      <a:pt x="71" y="79"/>
                    </a:lnTo>
                    <a:lnTo>
                      <a:pt x="71" y="79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11">
                <a:extLst>
                  <a:ext uri="{FF2B5EF4-FFF2-40B4-BE49-F238E27FC236}">
                    <a16:creationId xmlns:a16="http://schemas.microsoft.com/office/drawing/2014/main" id="{EFA07958-DD80-4E61-AD9B-E844A07B0FEF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1033129" y="1379538"/>
                <a:ext cx="119063" cy="90487"/>
              </a:xfrm>
              <a:custGeom>
                <a:avLst/>
                <a:gdLst>
                  <a:gd name="T0" fmla="*/ 92 w 148"/>
                  <a:gd name="T1" fmla="*/ 46 h 115"/>
                  <a:gd name="T2" fmla="*/ 92 w 148"/>
                  <a:gd name="T3" fmla="*/ 46 h 115"/>
                  <a:gd name="T4" fmla="*/ 97 w 148"/>
                  <a:gd name="T5" fmla="*/ 51 h 115"/>
                  <a:gd name="T6" fmla="*/ 101 w 148"/>
                  <a:gd name="T7" fmla="*/ 58 h 115"/>
                  <a:gd name="T8" fmla="*/ 103 w 148"/>
                  <a:gd name="T9" fmla="*/ 66 h 115"/>
                  <a:gd name="T10" fmla="*/ 103 w 148"/>
                  <a:gd name="T11" fmla="*/ 73 h 115"/>
                  <a:gd name="T12" fmla="*/ 103 w 148"/>
                  <a:gd name="T13" fmla="*/ 73 h 115"/>
                  <a:gd name="T14" fmla="*/ 103 w 148"/>
                  <a:gd name="T15" fmla="*/ 82 h 115"/>
                  <a:gd name="T16" fmla="*/ 100 w 148"/>
                  <a:gd name="T17" fmla="*/ 90 h 115"/>
                  <a:gd name="T18" fmla="*/ 96 w 148"/>
                  <a:gd name="T19" fmla="*/ 97 h 115"/>
                  <a:gd name="T20" fmla="*/ 91 w 148"/>
                  <a:gd name="T21" fmla="*/ 104 h 115"/>
                  <a:gd name="T22" fmla="*/ 91 w 148"/>
                  <a:gd name="T23" fmla="*/ 104 h 115"/>
                  <a:gd name="T24" fmla="*/ 83 w 148"/>
                  <a:gd name="T25" fmla="*/ 109 h 115"/>
                  <a:gd name="T26" fmla="*/ 73 w 148"/>
                  <a:gd name="T27" fmla="*/ 113 h 115"/>
                  <a:gd name="T28" fmla="*/ 64 w 148"/>
                  <a:gd name="T29" fmla="*/ 115 h 115"/>
                  <a:gd name="T30" fmla="*/ 54 w 148"/>
                  <a:gd name="T31" fmla="*/ 115 h 115"/>
                  <a:gd name="T32" fmla="*/ 0 w 148"/>
                  <a:gd name="T33" fmla="*/ 115 h 115"/>
                  <a:gd name="T34" fmla="*/ 0 w 148"/>
                  <a:gd name="T35" fmla="*/ 0 h 115"/>
                  <a:gd name="T36" fmla="*/ 32 w 148"/>
                  <a:gd name="T37" fmla="*/ 0 h 115"/>
                  <a:gd name="T38" fmla="*/ 32 w 148"/>
                  <a:gd name="T39" fmla="*/ 36 h 115"/>
                  <a:gd name="T40" fmla="*/ 59 w 148"/>
                  <a:gd name="T41" fmla="*/ 36 h 115"/>
                  <a:gd name="T42" fmla="*/ 59 w 148"/>
                  <a:gd name="T43" fmla="*/ 36 h 115"/>
                  <a:gd name="T44" fmla="*/ 67 w 148"/>
                  <a:gd name="T45" fmla="*/ 37 h 115"/>
                  <a:gd name="T46" fmla="*/ 76 w 148"/>
                  <a:gd name="T47" fmla="*/ 38 h 115"/>
                  <a:gd name="T48" fmla="*/ 85 w 148"/>
                  <a:gd name="T49" fmla="*/ 41 h 115"/>
                  <a:gd name="T50" fmla="*/ 92 w 148"/>
                  <a:gd name="T51" fmla="*/ 46 h 115"/>
                  <a:gd name="T52" fmla="*/ 92 w 148"/>
                  <a:gd name="T53" fmla="*/ 46 h 115"/>
                  <a:gd name="T54" fmla="*/ 65 w 148"/>
                  <a:gd name="T55" fmla="*/ 86 h 115"/>
                  <a:gd name="T56" fmla="*/ 65 w 148"/>
                  <a:gd name="T57" fmla="*/ 86 h 115"/>
                  <a:gd name="T58" fmla="*/ 67 w 148"/>
                  <a:gd name="T59" fmla="*/ 84 h 115"/>
                  <a:gd name="T60" fmla="*/ 69 w 148"/>
                  <a:gd name="T61" fmla="*/ 81 h 115"/>
                  <a:gd name="T62" fmla="*/ 70 w 148"/>
                  <a:gd name="T63" fmla="*/ 77 h 115"/>
                  <a:gd name="T64" fmla="*/ 70 w 148"/>
                  <a:gd name="T65" fmla="*/ 74 h 115"/>
                  <a:gd name="T66" fmla="*/ 70 w 148"/>
                  <a:gd name="T67" fmla="*/ 74 h 115"/>
                  <a:gd name="T68" fmla="*/ 70 w 148"/>
                  <a:gd name="T69" fmla="*/ 71 h 115"/>
                  <a:gd name="T70" fmla="*/ 69 w 148"/>
                  <a:gd name="T71" fmla="*/ 68 h 115"/>
                  <a:gd name="T72" fmla="*/ 68 w 148"/>
                  <a:gd name="T73" fmla="*/ 65 h 115"/>
                  <a:gd name="T74" fmla="*/ 66 w 148"/>
                  <a:gd name="T75" fmla="*/ 63 h 115"/>
                  <a:gd name="T76" fmla="*/ 63 w 148"/>
                  <a:gd name="T77" fmla="*/ 61 h 115"/>
                  <a:gd name="T78" fmla="*/ 60 w 148"/>
                  <a:gd name="T79" fmla="*/ 60 h 115"/>
                  <a:gd name="T80" fmla="*/ 52 w 148"/>
                  <a:gd name="T81" fmla="*/ 59 h 115"/>
                  <a:gd name="T82" fmla="*/ 33 w 148"/>
                  <a:gd name="T83" fmla="*/ 59 h 115"/>
                  <a:gd name="T84" fmla="*/ 33 w 148"/>
                  <a:gd name="T85" fmla="*/ 91 h 115"/>
                  <a:gd name="T86" fmla="*/ 52 w 148"/>
                  <a:gd name="T87" fmla="*/ 91 h 115"/>
                  <a:gd name="T88" fmla="*/ 52 w 148"/>
                  <a:gd name="T89" fmla="*/ 91 h 115"/>
                  <a:gd name="T90" fmla="*/ 56 w 148"/>
                  <a:gd name="T91" fmla="*/ 91 h 115"/>
                  <a:gd name="T92" fmla="*/ 59 w 148"/>
                  <a:gd name="T93" fmla="*/ 90 h 115"/>
                  <a:gd name="T94" fmla="*/ 62 w 148"/>
                  <a:gd name="T95" fmla="*/ 88 h 115"/>
                  <a:gd name="T96" fmla="*/ 65 w 148"/>
                  <a:gd name="T97" fmla="*/ 86 h 115"/>
                  <a:gd name="T98" fmla="*/ 65 w 148"/>
                  <a:gd name="T99" fmla="*/ 86 h 115"/>
                  <a:gd name="T100" fmla="*/ 116 w 148"/>
                  <a:gd name="T101" fmla="*/ 0 h 115"/>
                  <a:gd name="T102" fmla="*/ 148 w 148"/>
                  <a:gd name="T103" fmla="*/ 0 h 115"/>
                  <a:gd name="T104" fmla="*/ 148 w 148"/>
                  <a:gd name="T105" fmla="*/ 115 h 115"/>
                  <a:gd name="T106" fmla="*/ 116 w 148"/>
                  <a:gd name="T107" fmla="*/ 115 h 115"/>
                  <a:gd name="T108" fmla="*/ 116 w 148"/>
                  <a:gd name="T109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48" h="115">
                    <a:moveTo>
                      <a:pt x="92" y="46"/>
                    </a:moveTo>
                    <a:lnTo>
                      <a:pt x="92" y="46"/>
                    </a:lnTo>
                    <a:lnTo>
                      <a:pt x="97" y="51"/>
                    </a:lnTo>
                    <a:lnTo>
                      <a:pt x="101" y="58"/>
                    </a:lnTo>
                    <a:lnTo>
                      <a:pt x="103" y="66"/>
                    </a:lnTo>
                    <a:lnTo>
                      <a:pt x="103" y="73"/>
                    </a:lnTo>
                    <a:lnTo>
                      <a:pt x="103" y="73"/>
                    </a:lnTo>
                    <a:lnTo>
                      <a:pt x="103" y="82"/>
                    </a:lnTo>
                    <a:lnTo>
                      <a:pt x="100" y="90"/>
                    </a:lnTo>
                    <a:lnTo>
                      <a:pt x="96" y="97"/>
                    </a:lnTo>
                    <a:lnTo>
                      <a:pt x="91" y="104"/>
                    </a:lnTo>
                    <a:lnTo>
                      <a:pt x="91" y="104"/>
                    </a:lnTo>
                    <a:lnTo>
                      <a:pt x="83" y="109"/>
                    </a:lnTo>
                    <a:lnTo>
                      <a:pt x="73" y="113"/>
                    </a:lnTo>
                    <a:lnTo>
                      <a:pt x="64" y="115"/>
                    </a:lnTo>
                    <a:lnTo>
                      <a:pt x="54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2" y="0"/>
                    </a:lnTo>
                    <a:lnTo>
                      <a:pt x="32" y="36"/>
                    </a:lnTo>
                    <a:lnTo>
                      <a:pt x="59" y="36"/>
                    </a:lnTo>
                    <a:lnTo>
                      <a:pt x="59" y="36"/>
                    </a:lnTo>
                    <a:lnTo>
                      <a:pt x="67" y="37"/>
                    </a:lnTo>
                    <a:lnTo>
                      <a:pt x="76" y="38"/>
                    </a:lnTo>
                    <a:lnTo>
                      <a:pt x="85" y="41"/>
                    </a:lnTo>
                    <a:lnTo>
                      <a:pt x="92" y="46"/>
                    </a:lnTo>
                    <a:lnTo>
                      <a:pt x="92" y="46"/>
                    </a:lnTo>
                    <a:close/>
                    <a:moveTo>
                      <a:pt x="65" y="86"/>
                    </a:moveTo>
                    <a:lnTo>
                      <a:pt x="65" y="86"/>
                    </a:lnTo>
                    <a:lnTo>
                      <a:pt x="67" y="84"/>
                    </a:lnTo>
                    <a:lnTo>
                      <a:pt x="69" y="81"/>
                    </a:lnTo>
                    <a:lnTo>
                      <a:pt x="70" y="77"/>
                    </a:lnTo>
                    <a:lnTo>
                      <a:pt x="70" y="74"/>
                    </a:lnTo>
                    <a:lnTo>
                      <a:pt x="70" y="74"/>
                    </a:lnTo>
                    <a:lnTo>
                      <a:pt x="70" y="71"/>
                    </a:lnTo>
                    <a:lnTo>
                      <a:pt x="69" y="68"/>
                    </a:lnTo>
                    <a:lnTo>
                      <a:pt x="68" y="65"/>
                    </a:lnTo>
                    <a:lnTo>
                      <a:pt x="66" y="63"/>
                    </a:lnTo>
                    <a:lnTo>
                      <a:pt x="63" y="61"/>
                    </a:lnTo>
                    <a:lnTo>
                      <a:pt x="60" y="60"/>
                    </a:lnTo>
                    <a:lnTo>
                      <a:pt x="52" y="59"/>
                    </a:lnTo>
                    <a:lnTo>
                      <a:pt x="33" y="59"/>
                    </a:lnTo>
                    <a:lnTo>
                      <a:pt x="33" y="91"/>
                    </a:lnTo>
                    <a:lnTo>
                      <a:pt x="52" y="91"/>
                    </a:lnTo>
                    <a:lnTo>
                      <a:pt x="52" y="91"/>
                    </a:lnTo>
                    <a:lnTo>
                      <a:pt x="56" y="91"/>
                    </a:lnTo>
                    <a:lnTo>
                      <a:pt x="59" y="90"/>
                    </a:lnTo>
                    <a:lnTo>
                      <a:pt x="62" y="88"/>
                    </a:lnTo>
                    <a:lnTo>
                      <a:pt x="65" y="86"/>
                    </a:lnTo>
                    <a:lnTo>
                      <a:pt x="65" y="86"/>
                    </a:lnTo>
                    <a:close/>
                    <a:moveTo>
                      <a:pt x="116" y="0"/>
                    </a:moveTo>
                    <a:lnTo>
                      <a:pt x="148" y="0"/>
                    </a:lnTo>
                    <a:lnTo>
                      <a:pt x="148" y="115"/>
                    </a:lnTo>
                    <a:lnTo>
                      <a:pt x="116" y="115"/>
                    </a:lnTo>
                    <a:lnTo>
                      <a:pt x="116" y="0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12">
                <a:extLst>
                  <a:ext uri="{FF2B5EF4-FFF2-40B4-BE49-F238E27FC236}">
                    <a16:creationId xmlns:a16="http://schemas.microsoft.com/office/drawing/2014/main" id="{ECA34042-40A5-41C3-90DC-19A5E9AEB2C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166479" y="1376363"/>
                <a:ext cx="79375" cy="95250"/>
              </a:xfrm>
              <a:custGeom>
                <a:avLst/>
                <a:gdLst>
                  <a:gd name="T0" fmla="*/ 96 w 101"/>
                  <a:gd name="T1" fmla="*/ 68 h 120"/>
                  <a:gd name="T2" fmla="*/ 100 w 101"/>
                  <a:gd name="T3" fmla="*/ 76 h 120"/>
                  <a:gd name="T4" fmla="*/ 101 w 101"/>
                  <a:gd name="T5" fmla="*/ 85 h 120"/>
                  <a:gd name="T6" fmla="*/ 101 w 101"/>
                  <a:gd name="T7" fmla="*/ 90 h 120"/>
                  <a:gd name="T8" fmla="*/ 97 w 101"/>
                  <a:gd name="T9" fmla="*/ 99 h 120"/>
                  <a:gd name="T10" fmla="*/ 94 w 101"/>
                  <a:gd name="T11" fmla="*/ 104 h 120"/>
                  <a:gd name="T12" fmla="*/ 85 w 101"/>
                  <a:gd name="T13" fmla="*/ 111 h 120"/>
                  <a:gd name="T14" fmla="*/ 75 w 101"/>
                  <a:gd name="T15" fmla="*/ 116 h 120"/>
                  <a:gd name="T16" fmla="*/ 61 w 101"/>
                  <a:gd name="T17" fmla="*/ 119 h 120"/>
                  <a:gd name="T18" fmla="*/ 48 w 101"/>
                  <a:gd name="T19" fmla="*/ 120 h 120"/>
                  <a:gd name="T20" fmla="*/ 23 w 101"/>
                  <a:gd name="T21" fmla="*/ 118 h 120"/>
                  <a:gd name="T22" fmla="*/ 12 w 101"/>
                  <a:gd name="T23" fmla="*/ 114 h 120"/>
                  <a:gd name="T24" fmla="*/ 10 w 101"/>
                  <a:gd name="T25" fmla="*/ 86 h 120"/>
                  <a:gd name="T26" fmla="*/ 18 w 101"/>
                  <a:gd name="T27" fmla="*/ 89 h 120"/>
                  <a:gd name="T28" fmla="*/ 26 w 101"/>
                  <a:gd name="T29" fmla="*/ 92 h 120"/>
                  <a:gd name="T30" fmla="*/ 44 w 101"/>
                  <a:gd name="T31" fmla="*/ 94 h 120"/>
                  <a:gd name="T32" fmla="*/ 53 w 101"/>
                  <a:gd name="T33" fmla="*/ 93 h 120"/>
                  <a:gd name="T34" fmla="*/ 62 w 101"/>
                  <a:gd name="T35" fmla="*/ 90 h 120"/>
                  <a:gd name="T36" fmla="*/ 67 w 101"/>
                  <a:gd name="T37" fmla="*/ 86 h 120"/>
                  <a:gd name="T38" fmla="*/ 69 w 101"/>
                  <a:gd name="T39" fmla="*/ 80 h 120"/>
                  <a:gd name="T40" fmla="*/ 68 w 101"/>
                  <a:gd name="T41" fmla="*/ 78 h 120"/>
                  <a:gd name="T42" fmla="*/ 66 w 101"/>
                  <a:gd name="T43" fmla="*/ 74 h 120"/>
                  <a:gd name="T44" fmla="*/ 64 w 101"/>
                  <a:gd name="T45" fmla="*/ 73 h 120"/>
                  <a:gd name="T46" fmla="*/ 53 w 101"/>
                  <a:gd name="T47" fmla="*/ 70 h 120"/>
                  <a:gd name="T48" fmla="*/ 23 w 101"/>
                  <a:gd name="T49" fmla="*/ 47 h 120"/>
                  <a:gd name="T50" fmla="*/ 50 w 101"/>
                  <a:gd name="T51" fmla="*/ 47 h 120"/>
                  <a:gd name="T52" fmla="*/ 60 w 101"/>
                  <a:gd name="T53" fmla="*/ 44 h 120"/>
                  <a:gd name="T54" fmla="*/ 63 w 101"/>
                  <a:gd name="T55" fmla="*/ 41 h 120"/>
                  <a:gd name="T56" fmla="*/ 64 w 101"/>
                  <a:gd name="T57" fmla="*/ 37 h 120"/>
                  <a:gd name="T58" fmla="*/ 62 w 101"/>
                  <a:gd name="T59" fmla="*/ 32 h 120"/>
                  <a:gd name="T60" fmla="*/ 58 w 101"/>
                  <a:gd name="T61" fmla="*/ 29 h 120"/>
                  <a:gd name="T62" fmla="*/ 51 w 101"/>
                  <a:gd name="T63" fmla="*/ 26 h 120"/>
                  <a:gd name="T64" fmla="*/ 44 w 101"/>
                  <a:gd name="T65" fmla="*/ 26 h 120"/>
                  <a:gd name="T66" fmla="*/ 28 w 101"/>
                  <a:gd name="T67" fmla="*/ 28 h 120"/>
                  <a:gd name="T68" fmla="*/ 20 w 101"/>
                  <a:gd name="T69" fmla="*/ 30 h 120"/>
                  <a:gd name="T70" fmla="*/ 3 w 101"/>
                  <a:gd name="T71" fmla="*/ 9 h 120"/>
                  <a:gd name="T72" fmla="*/ 13 w 101"/>
                  <a:gd name="T73" fmla="*/ 5 h 120"/>
                  <a:gd name="T74" fmla="*/ 33 w 101"/>
                  <a:gd name="T75" fmla="*/ 1 h 120"/>
                  <a:gd name="T76" fmla="*/ 44 w 101"/>
                  <a:gd name="T77" fmla="*/ 0 h 120"/>
                  <a:gd name="T78" fmla="*/ 70 w 101"/>
                  <a:gd name="T79" fmla="*/ 4 h 120"/>
                  <a:gd name="T80" fmla="*/ 75 w 101"/>
                  <a:gd name="T81" fmla="*/ 6 h 120"/>
                  <a:gd name="T82" fmla="*/ 85 w 101"/>
                  <a:gd name="T83" fmla="*/ 12 h 120"/>
                  <a:gd name="T84" fmla="*/ 89 w 101"/>
                  <a:gd name="T85" fmla="*/ 16 h 120"/>
                  <a:gd name="T86" fmla="*/ 95 w 101"/>
                  <a:gd name="T87" fmla="*/ 24 h 120"/>
                  <a:gd name="T88" fmla="*/ 96 w 101"/>
                  <a:gd name="T89" fmla="*/ 34 h 120"/>
                  <a:gd name="T90" fmla="*/ 95 w 101"/>
                  <a:gd name="T91" fmla="*/ 41 h 120"/>
                  <a:gd name="T92" fmla="*/ 92 w 101"/>
                  <a:gd name="T93" fmla="*/ 48 h 120"/>
                  <a:gd name="T94" fmla="*/ 81 w 101"/>
                  <a:gd name="T95" fmla="*/ 58 h 120"/>
                  <a:gd name="T96" fmla="*/ 85 w 101"/>
                  <a:gd name="T97" fmla="*/ 59 h 120"/>
                  <a:gd name="T98" fmla="*/ 93 w 101"/>
                  <a:gd name="T99" fmla="*/ 65 h 120"/>
                  <a:gd name="T100" fmla="*/ 96 w 101"/>
                  <a:gd name="T101" fmla="*/ 68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01" h="120">
                    <a:moveTo>
                      <a:pt x="96" y="68"/>
                    </a:moveTo>
                    <a:lnTo>
                      <a:pt x="96" y="68"/>
                    </a:lnTo>
                    <a:lnTo>
                      <a:pt x="98" y="72"/>
                    </a:lnTo>
                    <a:lnTo>
                      <a:pt x="100" y="76"/>
                    </a:lnTo>
                    <a:lnTo>
                      <a:pt x="101" y="80"/>
                    </a:lnTo>
                    <a:lnTo>
                      <a:pt x="101" y="85"/>
                    </a:lnTo>
                    <a:lnTo>
                      <a:pt x="101" y="85"/>
                    </a:lnTo>
                    <a:lnTo>
                      <a:pt x="101" y="90"/>
                    </a:lnTo>
                    <a:lnTo>
                      <a:pt x="99" y="95"/>
                    </a:lnTo>
                    <a:lnTo>
                      <a:pt x="97" y="99"/>
                    </a:lnTo>
                    <a:lnTo>
                      <a:pt x="94" y="104"/>
                    </a:lnTo>
                    <a:lnTo>
                      <a:pt x="94" y="104"/>
                    </a:lnTo>
                    <a:lnTo>
                      <a:pt x="90" y="108"/>
                    </a:lnTo>
                    <a:lnTo>
                      <a:pt x="85" y="111"/>
                    </a:lnTo>
                    <a:lnTo>
                      <a:pt x="80" y="114"/>
                    </a:lnTo>
                    <a:lnTo>
                      <a:pt x="75" y="116"/>
                    </a:lnTo>
                    <a:lnTo>
                      <a:pt x="75" y="116"/>
                    </a:lnTo>
                    <a:lnTo>
                      <a:pt x="61" y="119"/>
                    </a:lnTo>
                    <a:lnTo>
                      <a:pt x="48" y="120"/>
                    </a:lnTo>
                    <a:lnTo>
                      <a:pt x="48" y="120"/>
                    </a:lnTo>
                    <a:lnTo>
                      <a:pt x="35" y="120"/>
                    </a:lnTo>
                    <a:lnTo>
                      <a:pt x="23" y="118"/>
                    </a:lnTo>
                    <a:lnTo>
                      <a:pt x="23" y="118"/>
                    </a:lnTo>
                    <a:lnTo>
                      <a:pt x="12" y="114"/>
                    </a:lnTo>
                    <a:lnTo>
                      <a:pt x="0" y="109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8" y="89"/>
                    </a:lnTo>
                    <a:lnTo>
                      <a:pt x="26" y="92"/>
                    </a:lnTo>
                    <a:lnTo>
                      <a:pt x="26" y="92"/>
                    </a:lnTo>
                    <a:lnTo>
                      <a:pt x="35" y="93"/>
                    </a:lnTo>
                    <a:lnTo>
                      <a:pt x="44" y="94"/>
                    </a:lnTo>
                    <a:lnTo>
                      <a:pt x="44" y="94"/>
                    </a:lnTo>
                    <a:lnTo>
                      <a:pt x="53" y="93"/>
                    </a:lnTo>
                    <a:lnTo>
                      <a:pt x="62" y="90"/>
                    </a:lnTo>
                    <a:lnTo>
                      <a:pt x="62" y="90"/>
                    </a:lnTo>
                    <a:lnTo>
                      <a:pt x="64" y="89"/>
                    </a:lnTo>
                    <a:lnTo>
                      <a:pt x="67" y="86"/>
                    </a:lnTo>
                    <a:lnTo>
                      <a:pt x="68" y="84"/>
                    </a:lnTo>
                    <a:lnTo>
                      <a:pt x="69" y="80"/>
                    </a:lnTo>
                    <a:lnTo>
                      <a:pt x="69" y="80"/>
                    </a:lnTo>
                    <a:lnTo>
                      <a:pt x="68" y="78"/>
                    </a:lnTo>
                    <a:lnTo>
                      <a:pt x="67" y="76"/>
                    </a:lnTo>
                    <a:lnTo>
                      <a:pt x="66" y="74"/>
                    </a:lnTo>
                    <a:lnTo>
                      <a:pt x="64" y="73"/>
                    </a:lnTo>
                    <a:lnTo>
                      <a:pt x="64" y="73"/>
                    </a:lnTo>
                    <a:lnTo>
                      <a:pt x="59" y="71"/>
                    </a:lnTo>
                    <a:lnTo>
                      <a:pt x="53" y="70"/>
                    </a:lnTo>
                    <a:lnTo>
                      <a:pt x="23" y="70"/>
                    </a:lnTo>
                    <a:lnTo>
                      <a:pt x="23" y="47"/>
                    </a:lnTo>
                    <a:lnTo>
                      <a:pt x="50" y="47"/>
                    </a:lnTo>
                    <a:lnTo>
                      <a:pt x="50" y="47"/>
                    </a:lnTo>
                    <a:lnTo>
                      <a:pt x="55" y="46"/>
                    </a:lnTo>
                    <a:lnTo>
                      <a:pt x="60" y="44"/>
                    </a:lnTo>
                    <a:lnTo>
                      <a:pt x="60" y="44"/>
                    </a:lnTo>
                    <a:lnTo>
                      <a:pt x="63" y="41"/>
                    </a:lnTo>
                    <a:lnTo>
                      <a:pt x="64" y="37"/>
                    </a:lnTo>
                    <a:lnTo>
                      <a:pt x="64" y="37"/>
                    </a:lnTo>
                    <a:lnTo>
                      <a:pt x="63" y="35"/>
                    </a:lnTo>
                    <a:lnTo>
                      <a:pt x="62" y="32"/>
                    </a:lnTo>
                    <a:lnTo>
                      <a:pt x="61" y="30"/>
                    </a:lnTo>
                    <a:lnTo>
                      <a:pt x="58" y="29"/>
                    </a:lnTo>
                    <a:lnTo>
                      <a:pt x="58" y="29"/>
                    </a:lnTo>
                    <a:lnTo>
                      <a:pt x="51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35" y="26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0" y="30"/>
                    </a:lnTo>
                    <a:lnTo>
                      <a:pt x="13" y="34"/>
                    </a:lnTo>
                    <a:lnTo>
                      <a:pt x="3" y="9"/>
                    </a:lnTo>
                    <a:lnTo>
                      <a:pt x="3" y="9"/>
                    </a:lnTo>
                    <a:lnTo>
                      <a:pt x="13" y="5"/>
                    </a:lnTo>
                    <a:lnTo>
                      <a:pt x="23" y="2"/>
                    </a:lnTo>
                    <a:lnTo>
                      <a:pt x="33" y="1"/>
                    </a:lnTo>
                    <a:lnTo>
                      <a:pt x="44" y="0"/>
                    </a:lnTo>
                    <a:lnTo>
                      <a:pt x="44" y="0"/>
                    </a:lnTo>
                    <a:lnTo>
                      <a:pt x="57" y="1"/>
                    </a:lnTo>
                    <a:lnTo>
                      <a:pt x="70" y="4"/>
                    </a:lnTo>
                    <a:lnTo>
                      <a:pt x="70" y="4"/>
                    </a:lnTo>
                    <a:lnTo>
                      <a:pt x="75" y="6"/>
                    </a:lnTo>
                    <a:lnTo>
                      <a:pt x="80" y="9"/>
                    </a:lnTo>
                    <a:lnTo>
                      <a:pt x="85" y="12"/>
                    </a:lnTo>
                    <a:lnTo>
                      <a:pt x="89" y="16"/>
                    </a:lnTo>
                    <a:lnTo>
                      <a:pt x="89" y="16"/>
                    </a:lnTo>
                    <a:lnTo>
                      <a:pt x="92" y="20"/>
                    </a:lnTo>
                    <a:lnTo>
                      <a:pt x="95" y="24"/>
                    </a:lnTo>
                    <a:lnTo>
                      <a:pt x="96" y="29"/>
                    </a:lnTo>
                    <a:lnTo>
                      <a:pt x="96" y="34"/>
                    </a:lnTo>
                    <a:lnTo>
                      <a:pt x="96" y="34"/>
                    </a:lnTo>
                    <a:lnTo>
                      <a:pt x="95" y="41"/>
                    </a:lnTo>
                    <a:lnTo>
                      <a:pt x="92" y="48"/>
                    </a:lnTo>
                    <a:lnTo>
                      <a:pt x="92" y="48"/>
                    </a:lnTo>
                    <a:lnTo>
                      <a:pt x="87" y="53"/>
                    </a:lnTo>
                    <a:lnTo>
                      <a:pt x="81" y="58"/>
                    </a:lnTo>
                    <a:lnTo>
                      <a:pt x="81" y="58"/>
                    </a:lnTo>
                    <a:lnTo>
                      <a:pt x="85" y="59"/>
                    </a:lnTo>
                    <a:lnTo>
                      <a:pt x="89" y="62"/>
                    </a:lnTo>
                    <a:lnTo>
                      <a:pt x="93" y="65"/>
                    </a:lnTo>
                    <a:lnTo>
                      <a:pt x="96" y="68"/>
                    </a:lnTo>
                    <a:lnTo>
                      <a:pt x="96" y="68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13">
                <a:extLst>
                  <a:ext uri="{FF2B5EF4-FFF2-40B4-BE49-F238E27FC236}">
                    <a16:creationId xmlns:a16="http://schemas.microsoft.com/office/drawing/2014/main" id="{01ED8053-166B-40B6-A2BF-3A8E03F6873F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1256966" y="1377950"/>
                <a:ext cx="101600" cy="93662"/>
              </a:xfrm>
              <a:custGeom>
                <a:avLst/>
                <a:gdLst>
                  <a:gd name="T0" fmla="*/ 31 w 128"/>
                  <a:gd name="T1" fmla="*/ 112 h 119"/>
                  <a:gd name="T2" fmla="*/ 21 w 128"/>
                  <a:gd name="T3" fmla="*/ 105 h 119"/>
                  <a:gd name="T4" fmla="*/ 7 w 128"/>
                  <a:gd name="T5" fmla="*/ 87 h 119"/>
                  <a:gd name="T6" fmla="*/ 0 w 128"/>
                  <a:gd name="T7" fmla="*/ 65 h 119"/>
                  <a:gd name="T8" fmla="*/ 2 w 128"/>
                  <a:gd name="T9" fmla="*/ 43 h 119"/>
                  <a:gd name="T10" fmla="*/ 7 w 128"/>
                  <a:gd name="T11" fmla="*/ 32 h 119"/>
                  <a:gd name="T12" fmla="*/ 11 w 128"/>
                  <a:gd name="T13" fmla="*/ 24 h 119"/>
                  <a:gd name="T14" fmla="*/ 24 w 128"/>
                  <a:gd name="T15" fmla="*/ 12 h 119"/>
                  <a:gd name="T16" fmla="*/ 31 w 128"/>
                  <a:gd name="T17" fmla="*/ 7 h 119"/>
                  <a:gd name="T18" fmla="*/ 47 w 128"/>
                  <a:gd name="T19" fmla="*/ 2 h 119"/>
                  <a:gd name="T20" fmla="*/ 65 w 128"/>
                  <a:gd name="T21" fmla="*/ 0 h 119"/>
                  <a:gd name="T22" fmla="*/ 81 w 128"/>
                  <a:gd name="T23" fmla="*/ 2 h 119"/>
                  <a:gd name="T24" fmla="*/ 97 w 128"/>
                  <a:gd name="T25" fmla="*/ 7 h 119"/>
                  <a:gd name="T26" fmla="*/ 102 w 128"/>
                  <a:gd name="T27" fmla="*/ 10 h 119"/>
                  <a:gd name="T28" fmla="*/ 115 w 128"/>
                  <a:gd name="T29" fmla="*/ 22 h 119"/>
                  <a:gd name="T30" fmla="*/ 126 w 128"/>
                  <a:gd name="T31" fmla="*/ 42 h 119"/>
                  <a:gd name="T32" fmla="*/ 128 w 128"/>
                  <a:gd name="T33" fmla="*/ 64 h 119"/>
                  <a:gd name="T34" fmla="*/ 124 w 128"/>
                  <a:gd name="T35" fmla="*/ 81 h 119"/>
                  <a:gd name="T36" fmla="*/ 122 w 128"/>
                  <a:gd name="T37" fmla="*/ 86 h 119"/>
                  <a:gd name="T38" fmla="*/ 111 w 128"/>
                  <a:gd name="T39" fmla="*/ 100 h 119"/>
                  <a:gd name="T40" fmla="*/ 97 w 128"/>
                  <a:gd name="T41" fmla="*/ 112 h 119"/>
                  <a:gd name="T42" fmla="*/ 89 w 128"/>
                  <a:gd name="T43" fmla="*/ 115 h 119"/>
                  <a:gd name="T44" fmla="*/ 73 w 128"/>
                  <a:gd name="T45" fmla="*/ 119 h 119"/>
                  <a:gd name="T46" fmla="*/ 56 w 128"/>
                  <a:gd name="T47" fmla="*/ 119 h 119"/>
                  <a:gd name="T48" fmla="*/ 39 w 128"/>
                  <a:gd name="T49" fmla="*/ 115 h 119"/>
                  <a:gd name="T50" fmla="*/ 31 w 128"/>
                  <a:gd name="T51" fmla="*/ 112 h 119"/>
                  <a:gd name="T52" fmla="*/ 80 w 128"/>
                  <a:gd name="T53" fmla="*/ 87 h 119"/>
                  <a:gd name="T54" fmla="*/ 91 w 128"/>
                  <a:gd name="T55" fmla="*/ 76 h 119"/>
                  <a:gd name="T56" fmla="*/ 94 w 128"/>
                  <a:gd name="T57" fmla="*/ 68 h 119"/>
                  <a:gd name="T58" fmla="*/ 94 w 128"/>
                  <a:gd name="T59" fmla="*/ 50 h 119"/>
                  <a:gd name="T60" fmla="*/ 91 w 128"/>
                  <a:gd name="T61" fmla="*/ 42 h 119"/>
                  <a:gd name="T62" fmla="*/ 80 w 128"/>
                  <a:gd name="T63" fmla="*/ 30 h 119"/>
                  <a:gd name="T64" fmla="*/ 73 w 128"/>
                  <a:gd name="T65" fmla="*/ 27 h 119"/>
                  <a:gd name="T66" fmla="*/ 57 w 128"/>
                  <a:gd name="T67" fmla="*/ 27 h 119"/>
                  <a:gd name="T68" fmla="*/ 48 w 128"/>
                  <a:gd name="T69" fmla="*/ 30 h 119"/>
                  <a:gd name="T70" fmla="*/ 37 w 128"/>
                  <a:gd name="T71" fmla="*/ 42 h 119"/>
                  <a:gd name="T72" fmla="*/ 34 w 128"/>
                  <a:gd name="T73" fmla="*/ 50 h 119"/>
                  <a:gd name="T74" fmla="*/ 34 w 128"/>
                  <a:gd name="T75" fmla="*/ 68 h 119"/>
                  <a:gd name="T76" fmla="*/ 37 w 128"/>
                  <a:gd name="T77" fmla="*/ 76 h 119"/>
                  <a:gd name="T78" fmla="*/ 48 w 128"/>
                  <a:gd name="T79" fmla="*/ 87 h 119"/>
                  <a:gd name="T80" fmla="*/ 57 w 128"/>
                  <a:gd name="T81" fmla="*/ 90 h 119"/>
                  <a:gd name="T82" fmla="*/ 73 w 128"/>
                  <a:gd name="T83" fmla="*/ 90 h 119"/>
                  <a:gd name="T84" fmla="*/ 80 w 128"/>
                  <a:gd name="T85" fmla="*/ 87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28" h="119">
                    <a:moveTo>
                      <a:pt x="31" y="112"/>
                    </a:moveTo>
                    <a:lnTo>
                      <a:pt x="31" y="112"/>
                    </a:lnTo>
                    <a:lnTo>
                      <a:pt x="26" y="109"/>
                    </a:lnTo>
                    <a:lnTo>
                      <a:pt x="21" y="105"/>
                    </a:lnTo>
                    <a:lnTo>
                      <a:pt x="13" y="96"/>
                    </a:lnTo>
                    <a:lnTo>
                      <a:pt x="7" y="87"/>
                    </a:lnTo>
                    <a:lnTo>
                      <a:pt x="3" y="76"/>
                    </a:lnTo>
                    <a:lnTo>
                      <a:pt x="0" y="65"/>
                    </a:lnTo>
                    <a:lnTo>
                      <a:pt x="0" y="54"/>
                    </a:lnTo>
                    <a:lnTo>
                      <a:pt x="2" y="43"/>
                    </a:lnTo>
                    <a:lnTo>
                      <a:pt x="4" y="37"/>
                    </a:lnTo>
                    <a:lnTo>
                      <a:pt x="7" y="32"/>
                    </a:lnTo>
                    <a:lnTo>
                      <a:pt x="7" y="32"/>
                    </a:lnTo>
                    <a:lnTo>
                      <a:pt x="11" y="24"/>
                    </a:lnTo>
                    <a:lnTo>
                      <a:pt x="17" y="18"/>
                    </a:lnTo>
                    <a:lnTo>
                      <a:pt x="24" y="12"/>
                    </a:lnTo>
                    <a:lnTo>
                      <a:pt x="31" y="7"/>
                    </a:lnTo>
                    <a:lnTo>
                      <a:pt x="31" y="7"/>
                    </a:lnTo>
                    <a:lnTo>
                      <a:pt x="39" y="4"/>
                    </a:lnTo>
                    <a:lnTo>
                      <a:pt x="47" y="2"/>
                    </a:lnTo>
                    <a:lnTo>
                      <a:pt x="56" y="0"/>
                    </a:lnTo>
                    <a:lnTo>
                      <a:pt x="65" y="0"/>
                    </a:lnTo>
                    <a:lnTo>
                      <a:pt x="73" y="0"/>
                    </a:lnTo>
                    <a:lnTo>
                      <a:pt x="81" y="2"/>
                    </a:lnTo>
                    <a:lnTo>
                      <a:pt x="89" y="4"/>
                    </a:lnTo>
                    <a:lnTo>
                      <a:pt x="97" y="7"/>
                    </a:lnTo>
                    <a:lnTo>
                      <a:pt x="97" y="7"/>
                    </a:lnTo>
                    <a:lnTo>
                      <a:pt x="102" y="10"/>
                    </a:lnTo>
                    <a:lnTo>
                      <a:pt x="107" y="14"/>
                    </a:lnTo>
                    <a:lnTo>
                      <a:pt x="115" y="22"/>
                    </a:lnTo>
                    <a:lnTo>
                      <a:pt x="121" y="31"/>
                    </a:lnTo>
                    <a:lnTo>
                      <a:pt x="126" y="42"/>
                    </a:lnTo>
                    <a:lnTo>
                      <a:pt x="128" y="53"/>
                    </a:lnTo>
                    <a:lnTo>
                      <a:pt x="128" y="64"/>
                    </a:lnTo>
                    <a:lnTo>
                      <a:pt x="126" y="75"/>
                    </a:lnTo>
                    <a:lnTo>
                      <a:pt x="124" y="81"/>
                    </a:lnTo>
                    <a:lnTo>
                      <a:pt x="122" y="86"/>
                    </a:lnTo>
                    <a:lnTo>
                      <a:pt x="122" y="86"/>
                    </a:lnTo>
                    <a:lnTo>
                      <a:pt x="117" y="94"/>
                    </a:lnTo>
                    <a:lnTo>
                      <a:pt x="111" y="100"/>
                    </a:lnTo>
                    <a:lnTo>
                      <a:pt x="105" y="107"/>
                    </a:lnTo>
                    <a:lnTo>
                      <a:pt x="97" y="112"/>
                    </a:lnTo>
                    <a:lnTo>
                      <a:pt x="97" y="112"/>
                    </a:lnTo>
                    <a:lnTo>
                      <a:pt x="89" y="115"/>
                    </a:lnTo>
                    <a:lnTo>
                      <a:pt x="81" y="117"/>
                    </a:lnTo>
                    <a:lnTo>
                      <a:pt x="73" y="119"/>
                    </a:lnTo>
                    <a:lnTo>
                      <a:pt x="65" y="119"/>
                    </a:lnTo>
                    <a:lnTo>
                      <a:pt x="56" y="119"/>
                    </a:lnTo>
                    <a:lnTo>
                      <a:pt x="47" y="117"/>
                    </a:lnTo>
                    <a:lnTo>
                      <a:pt x="39" y="115"/>
                    </a:lnTo>
                    <a:lnTo>
                      <a:pt x="31" y="112"/>
                    </a:lnTo>
                    <a:lnTo>
                      <a:pt x="31" y="112"/>
                    </a:lnTo>
                    <a:close/>
                    <a:moveTo>
                      <a:pt x="80" y="87"/>
                    </a:moveTo>
                    <a:lnTo>
                      <a:pt x="80" y="87"/>
                    </a:lnTo>
                    <a:lnTo>
                      <a:pt x="87" y="82"/>
                    </a:lnTo>
                    <a:lnTo>
                      <a:pt x="91" y="76"/>
                    </a:lnTo>
                    <a:lnTo>
                      <a:pt x="91" y="76"/>
                    </a:lnTo>
                    <a:lnTo>
                      <a:pt x="94" y="68"/>
                    </a:lnTo>
                    <a:lnTo>
                      <a:pt x="96" y="59"/>
                    </a:lnTo>
                    <a:lnTo>
                      <a:pt x="94" y="50"/>
                    </a:lnTo>
                    <a:lnTo>
                      <a:pt x="91" y="42"/>
                    </a:lnTo>
                    <a:lnTo>
                      <a:pt x="91" y="42"/>
                    </a:lnTo>
                    <a:lnTo>
                      <a:pt x="87" y="35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73" y="27"/>
                    </a:lnTo>
                    <a:lnTo>
                      <a:pt x="65" y="26"/>
                    </a:lnTo>
                    <a:lnTo>
                      <a:pt x="57" y="27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2" y="35"/>
                    </a:lnTo>
                    <a:lnTo>
                      <a:pt x="37" y="42"/>
                    </a:lnTo>
                    <a:lnTo>
                      <a:pt x="37" y="42"/>
                    </a:lnTo>
                    <a:lnTo>
                      <a:pt x="34" y="50"/>
                    </a:lnTo>
                    <a:lnTo>
                      <a:pt x="33" y="59"/>
                    </a:lnTo>
                    <a:lnTo>
                      <a:pt x="34" y="68"/>
                    </a:lnTo>
                    <a:lnTo>
                      <a:pt x="37" y="76"/>
                    </a:lnTo>
                    <a:lnTo>
                      <a:pt x="37" y="76"/>
                    </a:lnTo>
                    <a:lnTo>
                      <a:pt x="42" y="82"/>
                    </a:lnTo>
                    <a:lnTo>
                      <a:pt x="48" y="87"/>
                    </a:lnTo>
                    <a:lnTo>
                      <a:pt x="48" y="87"/>
                    </a:lnTo>
                    <a:lnTo>
                      <a:pt x="57" y="90"/>
                    </a:lnTo>
                    <a:lnTo>
                      <a:pt x="65" y="91"/>
                    </a:lnTo>
                    <a:lnTo>
                      <a:pt x="73" y="90"/>
                    </a:lnTo>
                    <a:lnTo>
                      <a:pt x="80" y="87"/>
                    </a:lnTo>
                    <a:lnTo>
                      <a:pt x="80" y="87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14">
                <a:extLst>
                  <a:ext uri="{FF2B5EF4-FFF2-40B4-BE49-F238E27FC236}">
                    <a16:creationId xmlns:a16="http://schemas.microsoft.com/office/drawing/2014/main" id="{8907F028-2397-41DC-AD3A-814AC2382BD6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1374441" y="1379538"/>
                <a:ext cx="82550" cy="90487"/>
              </a:xfrm>
              <a:custGeom>
                <a:avLst/>
                <a:gdLst>
                  <a:gd name="T0" fmla="*/ 99 w 104"/>
                  <a:gd name="T1" fmla="*/ 64 h 115"/>
                  <a:gd name="T2" fmla="*/ 103 w 104"/>
                  <a:gd name="T3" fmla="*/ 72 h 115"/>
                  <a:gd name="T4" fmla="*/ 104 w 104"/>
                  <a:gd name="T5" fmla="*/ 81 h 115"/>
                  <a:gd name="T6" fmla="*/ 104 w 104"/>
                  <a:gd name="T7" fmla="*/ 88 h 115"/>
                  <a:gd name="T8" fmla="*/ 98 w 104"/>
                  <a:gd name="T9" fmla="*/ 101 h 115"/>
                  <a:gd name="T10" fmla="*/ 92 w 104"/>
                  <a:gd name="T11" fmla="*/ 106 h 115"/>
                  <a:gd name="T12" fmla="*/ 78 w 104"/>
                  <a:gd name="T13" fmla="*/ 113 h 115"/>
                  <a:gd name="T14" fmla="*/ 59 w 104"/>
                  <a:gd name="T15" fmla="*/ 115 h 115"/>
                  <a:gd name="T16" fmla="*/ 0 w 104"/>
                  <a:gd name="T17" fmla="*/ 0 h 115"/>
                  <a:gd name="T18" fmla="*/ 56 w 104"/>
                  <a:gd name="T19" fmla="*/ 0 h 115"/>
                  <a:gd name="T20" fmla="*/ 72 w 104"/>
                  <a:gd name="T21" fmla="*/ 2 h 115"/>
                  <a:gd name="T22" fmla="*/ 88 w 104"/>
                  <a:gd name="T23" fmla="*/ 8 h 115"/>
                  <a:gd name="T24" fmla="*/ 93 w 104"/>
                  <a:gd name="T25" fmla="*/ 12 h 115"/>
                  <a:gd name="T26" fmla="*/ 99 w 104"/>
                  <a:gd name="T27" fmla="*/ 23 h 115"/>
                  <a:gd name="T28" fmla="*/ 99 w 104"/>
                  <a:gd name="T29" fmla="*/ 30 h 115"/>
                  <a:gd name="T30" fmla="*/ 95 w 104"/>
                  <a:gd name="T31" fmla="*/ 45 h 115"/>
                  <a:gd name="T32" fmla="*/ 90 w 104"/>
                  <a:gd name="T33" fmla="*/ 50 h 115"/>
                  <a:gd name="T34" fmla="*/ 84 w 104"/>
                  <a:gd name="T35" fmla="*/ 54 h 115"/>
                  <a:gd name="T36" fmla="*/ 92 w 104"/>
                  <a:gd name="T37" fmla="*/ 58 h 115"/>
                  <a:gd name="T38" fmla="*/ 99 w 104"/>
                  <a:gd name="T39" fmla="*/ 64 h 115"/>
                  <a:gd name="T40" fmla="*/ 31 w 104"/>
                  <a:gd name="T41" fmla="*/ 46 h 115"/>
                  <a:gd name="T42" fmla="*/ 53 w 104"/>
                  <a:gd name="T43" fmla="*/ 46 h 115"/>
                  <a:gd name="T44" fmla="*/ 63 w 104"/>
                  <a:gd name="T45" fmla="*/ 43 h 115"/>
                  <a:gd name="T46" fmla="*/ 67 w 104"/>
                  <a:gd name="T47" fmla="*/ 34 h 115"/>
                  <a:gd name="T48" fmla="*/ 66 w 104"/>
                  <a:gd name="T49" fmla="*/ 29 h 115"/>
                  <a:gd name="T50" fmla="*/ 59 w 104"/>
                  <a:gd name="T51" fmla="*/ 24 h 115"/>
                  <a:gd name="T52" fmla="*/ 31 w 104"/>
                  <a:gd name="T53" fmla="*/ 23 h 115"/>
                  <a:gd name="T54" fmla="*/ 72 w 104"/>
                  <a:gd name="T55" fmla="*/ 79 h 115"/>
                  <a:gd name="T56" fmla="*/ 71 w 104"/>
                  <a:gd name="T57" fmla="*/ 74 h 115"/>
                  <a:gd name="T58" fmla="*/ 64 w 104"/>
                  <a:gd name="T59" fmla="*/ 68 h 115"/>
                  <a:gd name="T60" fmla="*/ 32 w 104"/>
                  <a:gd name="T61" fmla="*/ 67 h 115"/>
                  <a:gd name="T62" fmla="*/ 58 w 104"/>
                  <a:gd name="T63" fmla="*/ 91 h 115"/>
                  <a:gd name="T64" fmla="*/ 64 w 104"/>
                  <a:gd name="T65" fmla="*/ 90 h 115"/>
                  <a:gd name="T66" fmla="*/ 71 w 104"/>
                  <a:gd name="T67" fmla="*/ 84 h 115"/>
                  <a:gd name="T68" fmla="*/ 72 w 104"/>
                  <a:gd name="T69" fmla="*/ 79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4" h="115">
                    <a:moveTo>
                      <a:pt x="99" y="64"/>
                    </a:moveTo>
                    <a:lnTo>
                      <a:pt x="99" y="64"/>
                    </a:lnTo>
                    <a:lnTo>
                      <a:pt x="101" y="68"/>
                    </a:lnTo>
                    <a:lnTo>
                      <a:pt x="103" y="72"/>
                    </a:lnTo>
                    <a:lnTo>
                      <a:pt x="104" y="77"/>
                    </a:lnTo>
                    <a:lnTo>
                      <a:pt x="104" y="81"/>
                    </a:lnTo>
                    <a:lnTo>
                      <a:pt x="104" y="81"/>
                    </a:lnTo>
                    <a:lnTo>
                      <a:pt x="104" y="88"/>
                    </a:lnTo>
                    <a:lnTo>
                      <a:pt x="101" y="95"/>
                    </a:lnTo>
                    <a:lnTo>
                      <a:pt x="98" y="101"/>
                    </a:lnTo>
                    <a:lnTo>
                      <a:pt x="92" y="106"/>
                    </a:lnTo>
                    <a:lnTo>
                      <a:pt x="92" y="106"/>
                    </a:lnTo>
                    <a:lnTo>
                      <a:pt x="86" y="110"/>
                    </a:lnTo>
                    <a:lnTo>
                      <a:pt x="78" y="113"/>
                    </a:lnTo>
                    <a:lnTo>
                      <a:pt x="69" y="114"/>
                    </a:lnTo>
                    <a:lnTo>
                      <a:pt x="59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4" y="0"/>
                    </a:lnTo>
                    <a:lnTo>
                      <a:pt x="72" y="2"/>
                    </a:lnTo>
                    <a:lnTo>
                      <a:pt x="80" y="4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93" y="12"/>
                    </a:lnTo>
                    <a:lnTo>
                      <a:pt x="96" y="17"/>
                    </a:lnTo>
                    <a:lnTo>
                      <a:pt x="99" y="23"/>
                    </a:lnTo>
                    <a:lnTo>
                      <a:pt x="99" y="30"/>
                    </a:lnTo>
                    <a:lnTo>
                      <a:pt x="99" y="30"/>
                    </a:lnTo>
                    <a:lnTo>
                      <a:pt x="98" y="37"/>
                    </a:lnTo>
                    <a:lnTo>
                      <a:pt x="95" y="45"/>
                    </a:lnTo>
                    <a:lnTo>
                      <a:pt x="95" y="45"/>
                    </a:lnTo>
                    <a:lnTo>
                      <a:pt x="90" y="50"/>
                    </a:lnTo>
                    <a:lnTo>
                      <a:pt x="84" y="54"/>
                    </a:lnTo>
                    <a:lnTo>
                      <a:pt x="84" y="54"/>
                    </a:lnTo>
                    <a:lnTo>
                      <a:pt x="88" y="56"/>
                    </a:lnTo>
                    <a:lnTo>
                      <a:pt x="92" y="58"/>
                    </a:lnTo>
                    <a:lnTo>
                      <a:pt x="96" y="61"/>
                    </a:lnTo>
                    <a:lnTo>
                      <a:pt x="99" y="64"/>
                    </a:lnTo>
                    <a:lnTo>
                      <a:pt x="99" y="64"/>
                    </a:lnTo>
                    <a:close/>
                    <a:moveTo>
                      <a:pt x="31" y="46"/>
                    </a:moveTo>
                    <a:lnTo>
                      <a:pt x="53" y="46"/>
                    </a:lnTo>
                    <a:lnTo>
                      <a:pt x="53" y="46"/>
                    </a:lnTo>
                    <a:lnTo>
                      <a:pt x="59" y="45"/>
                    </a:lnTo>
                    <a:lnTo>
                      <a:pt x="63" y="43"/>
                    </a:lnTo>
                    <a:lnTo>
                      <a:pt x="66" y="39"/>
                    </a:lnTo>
                    <a:lnTo>
                      <a:pt x="67" y="34"/>
                    </a:lnTo>
                    <a:lnTo>
                      <a:pt x="67" y="34"/>
                    </a:lnTo>
                    <a:lnTo>
                      <a:pt x="66" y="29"/>
                    </a:lnTo>
                    <a:lnTo>
                      <a:pt x="63" y="26"/>
                    </a:lnTo>
                    <a:lnTo>
                      <a:pt x="59" y="24"/>
                    </a:lnTo>
                    <a:lnTo>
                      <a:pt x="53" y="23"/>
                    </a:lnTo>
                    <a:lnTo>
                      <a:pt x="31" y="23"/>
                    </a:lnTo>
                    <a:lnTo>
                      <a:pt x="31" y="46"/>
                    </a:lnTo>
                    <a:close/>
                    <a:moveTo>
                      <a:pt x="72" y="79"/>
                    </a:moveTo>
                    <a:lnTo>
                      <a:pt x="72" y="79"/>
                    </a:lnTo>
                    <a:lnTo>
                      <a:pt x="71" y="74"/>
                    </a:lnTo>
                    <a:lnTo>
                      <a:pt x="68" y="70"/>
                    </a:lnTo>
                    <a:lnTo>
                      <a:pt x="64" y="68"/>
                    </a:lnTo>
                    <a:lnTo>
                      <a:pt x="58" y="67"/>
                    </a:lnTo>
                    <a:lnTo>
                      <a:pt x="32" y="67"/>
                    </a:lnTo>
                    <a:lnTo>
                      <a:pt x="32" y="91"/>
                    </a:lnTo>
                    <a:lnTo>
                      <a:pt x="58" y="91"/>
                    </a:lnTo>
                    <a:lnTo>
                      <a:pt x="58" y="91"/>
                    </a:lnTo>
                    <a:lnTo>
                      <a:pt x="64" y="90"/>
                    </a:lnTo>
                    <a:lnTo>
                      <a:pt x="68" y="88"/>
                    </a:lnTo>
                    <a:lnTo>
                      <a:pt x="71" y="84"/>
                    </a:lnTo>
                    <a:lnTo>
                      <a:pt x="72" y="79"/>
                    </a:lnTo>
                    <a:lnTo>
                      <a:pt x="72" y="79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15">
                <a:extLst>
                  <a:ext uri="{FF2B5EF4-FFF2-40B4-BE49-F238E27FC236}">
                    <a16:creationId xmlns:a16="http://schemas.microsoft.com/office/drawing/2014/main" id="{28E22B33-EE78-4A49-A8D2-DAC2761B57E4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1474454" y="1379538"/>
                <a:ext cx="115888" cy="90487"/>
              </a:xfrm>
              <a:custGeom>
                <a:avLst/>
                <a:gdLst>
                  <a:gd name="T0" fmla="*/ 91 w 147"/>
                  <a:gd name="T1" fmla="*/ 46 h 115"/>
                  <a:gd name="T2" fmla="*/ 91 w 147"/>
                  <a:gd name="T3" fmla="*/ 46 h 115"/>
                  <a:gd name="T4" fmla="*/ 97 w 147"/>
                  <a:gd name="T5" fmla="*/ 51 h 115"/>
                  <a:gd name="T6" fmla="*/ 100 w 147"/>
                  <a:gd name="T7" fmla="*/ 58 h 115"/>
                  <a:gd name="T8" fmla="*/ 103 w 147"/>
                  <a:gd name="T9" fmla="*/ 66 h 115"/>
                  <a:gd name="T10" fmla="*/ 103 w 147"/>
                  <a:gd name="T11" fmla="*/ 73 h 115"/>
                  <a:gd name="T12" fmla="*/ 103 w 147"/>
                  <a:gd name="T13" fmla="*/ 73 h 115"/>
                  <a:gd name="T14" fmla="*/ 102 w 147"/>
                  <a:gd name="T15" fmla="*/ 82 h 115"/>
                  <a:gd name="T16" fmla="*/ 100 w 147"/>
                  <a:gd name="T17" fmla="*/ 90 h 115"/>
                  <a:gd name="T18" fmla="*/ 96 w 147"/>
                  <a:gd name="T19" fmla="*/ 97 h 115"/>
                  <a:gd name="T20" fmla="*/ 90 w 147"/>
                  <a:gd name="T21" fmla="*/ 104 h 115"/>
                  <a:gd name="T22" fmla="*/ 90 w 147"/>
                  <a:gd name="T23" fmla="*/ 104 h 115"/>
                  <a:gd name="T24" fmla="*/ 82 w 147"/>
                  <a:gd name="T25" fmla="*/ 109 h 115"/>
                  <a:gd name="T26" fmla="*/ 73 w 147"/>
                  <a:gd name="T27" fmla="*/ 113 h 115"/>
                  <a:gd name="T28" fmla="*/ 64 w 147"/>
                  <a:gd name="T29" fmla="*/ 115 h 115"/>
                  <a:gd name="T30" fmla="*/ 55 w 147"/>
                  <a:gd name="T31" fmla="*/ 115 h 115"/>
                  <a:gd name="T32" fmla="*/ 0 w 147"/>
                  <a:gd name="T33" fmla="*/ 115 h 115"/>
                  <a:gd name="T34" fmla="*/ 0 w 147"/>
                  <a:gd name="T35" fmla="*/ 0 h 115"/>
                  <a:gd name="T36" fmla="*/ 32 w 147"/>
                  <a:gd name="T37" fmla="*/ 0 h 115"/>
                  <a:gd name="T38" fmla="*/ 32 w 147"/>
                  <a:gd name="T39" fmla="*/ 36 h 115"/>
                  <a:gd name="T40" fmla="*/ 59 w 147"/>
                  <a:gd name="T41" fmla="*/ 36 h 115"/>
                  <a:gd name="T42" fmla="*/ 59 w 147"/>
                  <a:gd name="T43" fmla="*/ 36 h 115"/>
                  <a:gd name="T44" fmla="*/ 68 w 147"/>
                  <a:gd name="T45" fmla="*/ 37 h 115"/>
                  <a:gd name="T46" fmla="*/ 76 w 147"/>
                  <a:gd name="T47" fmla="*/ 38 h 115"/>
                  <a:gd name="T48" fmla="*/ 84 w 147"/>
                  <a:gd name="T49" fmla="*/ 41 h 115"/>
                  <a:gd name="T50" fmla="*/ 91 w 147"/>
                  <a:gd name="T51" fmla="*/ 46 h 115"/>
                  <a:gd name="T52" fmla="*/ 91 w 147"/>
                  <a:gd name="T53" fmla="*/ 46 h 115"/>
                  <a:gd name="T54" fmla="*/ 66 w 147"/>
                  <a:gd name="T55" fmla="*/ 86 h 115"/>
                  <a:gd name="T56" fmla="*/ 66 w 147"/>
                  <a:gd name="T57" fmla="*/ 86 h 115"/>
                  <a:gd name="T58" fmla="*/ 68 w 147"/>
                  <a:gd name="T59" fmla="*/ 84 h 115"/>
                  <a:gd name="T60" fmla="*/ 69 w 147"/>
                  <a:gd name="T61" fmla="*/ 81 h 115"/>
                  <a:gd name="T62" fmla="*/ 70 w 147"/>
                  <a:gd name="T63" fmla="*/ 77 h 115"/>
                  <a:gd name="T64" fmla="*/ 71 w 147"/>
                  <a:gd name="T65" fmla="*/ 74 h 115"/>
                  <a:gd name="T66" fmla="*/ 71 w 147"/>
                  <a:gd name="T67" fmla="*/ 74 h 115"/>
                  <a:gd name="T68" fmla="*/ 70 w 147"/>
                  <a:gd name="T69" fmla="*/ 71 h 115"/>
                  <a:gd name="T70" fmla="*/ 70 w 147"/>
                  <a:gd name="T71" fmla="*/ 68 h 115"/>
                  <a:gd name="T72" fmla="*/ 68 w 147"/>
                  <a:gd name="T73" fmla="*/ 65 h 115"/>
                  <a:gd name="T74" fmla="*/ 66 w 147"/>
                  <a:gd name="T75" fmla="*/ 63 h 115"/>
                  <a:gd name="T76" fmla="*/ 64 w 147"/>
                  <a:gd name="T77" fmla="*/ 61 h 115"/>
                  <a:gd name="T78" fmla="*/ 61 w 147"/>
                  <a:gd name="T79" fmla="*/ 60 h 115"/>
                  <a:gd name="T80" fmla="*/ 53 w 147"/>
                  <a:gd name="T81" fmla="*/ 59 h 115"/>
                  <a:gd name="T82" fmla="*/ 32 w 147"/>
                  <a:gd name="T83" fmla="*/ 59 h 115"/>
                  <a:gd name="T84" fmla="*/ 32 w 147"/>
                  <a:gd name="T85" fmla="*/ 91 h 115"/>
                  <a:gd name="T86" fmla="*/ 53 w 147"/>
                  <a:gd name="T87" fmla="*/ 91 h 115"/>
                  <a:gd name="T88" fmla="*/ 53 w 147"/>
                  <a:gd name="T89" fmla="*/ 91 h 115"/>
                  <a:gd name="T90" fmla="*/ 56 w 147"/>
                  <a:gd name="T91" fmla="*/ 91 h 115"/>
                  <a:gd name="T92" fmla="*/ 60 w 147"/>
                  <a:gd name="T93" fmla="*/ 90 h 115"/>
                  <a:gd name="T94" fmla="*/ 63 w 147"/>
                  <a:gd name="T95" fmla="*/ 88 h 115"/>
                  <a:gd name="T96" fmla="*/ 66 w 147"/>
                  <a:gd name="T97" fmla="*/ 86 h 115"/>
                  <a:gd name="T98" fmla="*/ 66 w 147"/>
                  <a:gd name="T99" fmla="*/ 86 h 115"/>
                  <a:gd name="T100" fmla="*/ 115 w 147"/>
                  <a:gd name="T101" fmla="*/ 0 h 115"/>
                  <a:gd name="T102" fmla="*/ 147 w 147"/>
                  <a:gd name="T103" fmla="*/ 0 h 115"/>
                  <a:gd name="T104" fmla="*/ 147 w 147"/>
                  <a:gd name="T105" fmla="*/ 115 h 115"/>
                  <a:gd name="T106" fmla="*/ 115 w 147"/>
                  <a:gd name="T107" fmla="*/ 115 h 115"/>
                  <a:gd name="T108" fmla="*/ 115 w 147"/>
                  <a:gd name="T109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47" h="115">
                    <a:moveTo>
                      <a:pt x="91" y="46"/>
                    </a:moveTo>
                    <a:lnTo>
                      <a:pt x="91" y="46"/>
                    </a:lnTo>
                    <a:lnTo>
                      <a:pt x="97" y="51"/>
                    </a:lnTo>
                    <a:lnTo>
                      <a:pt x="100" y="58"/>
                    </a:lnTo>
                    <a:lnTo>
                      <a:pt x="103" y="66"/>
                    </a:lnTo>
                    <a:lnTo>
                      <a:pt x="103" y="73"/>
                    </a:lnTo>
                    <a:lnTo>
                      <a:pt x="103" y="73"/>
                    </a:lnTo>
                    <a:lnTo>
                      <a:pt x="102" y="82"/>
                    </a:lnTo>
                    <a:lnTo>
                      <a:pt x="100" y="90"/>
                    </a:lnTo>
                    <a:lnTo>
                      <a:pt x="96" y="97"/>
                    </a:lnTo>
                    <a:lnTo>
                      <a:pt x="90" y="104"/>
                    </a:lnTo>
                    <a:lnTo>
                      <a:pt x="90" y="104"/>
                    </a:lnTo>
                    <a:lnTo>
                      <a:pt x="82" y="109"/>
                    </a:lnTo>
                    <a:lnTo>
                      <a:pt x="73" y="113"/>
                    </a:lnTo>
                    <a:lnTo>
                      <a:pt x="64" y="115"/>
                    </a:lnTo>
                    <a:lnTo>
                      <a:pt x="55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2" y="0"/>
                    </a:lnTo>
                    <a:lnTo>
                      <a:pt x="32" y="36"/>
                    </a:lnTo>
                    <a:lnTo>
                      <a:pt x="59" y="36"/>
                    </a:lnTo>
                    <a:lnTo>
                      <a:pt x="59" y="36"/>
                    </a:lnTo>
                    <a:lnTo>
                      <a:pt x="68" y="37"/>
                    </a:lnTo>
                    <a:lnTo>
                      <a:pt x="76" y="38"/>
                    </a:lnTo>
                    <a:lnTo>
                      <a:pt x="84" y="41"/>
                    </a:lnTo>
                    <a:lnTo>
                      <a:pt x="91" y="46"/>
                    </a:lnTo>
                    <a:lnTo>
                      <a:pt x="91" y="46"/>
                    </a:lnTo>
                    <a:close/>
                    <a:moveTo>
                      <a:pt x="66" y="86"/>
                    </a:moveTo>
                    <a:lnTo>
                      <a:pt x="66" y="86"/>
                    </a:lnTo>
                    <a:lnTo>
                      <a:pt x="68" y="84"/>
                    </a:lnTo>
                    <a:lnTo>
                      <a:pt x="69" y="81"/>
                    </a:lnTo>
                    <a:lnTo>
                      <a:pt x="70" y="77"/>
                    </a:lnTo>
                    <a:lnTo>
                      <a:pt x="71" y="74"/>
                    </a:lnTo>
                    <a:lnTo>
                      <a:pt x="71" y="74"/>
                    </a:lnTo>
                    <a:lnTo>
                      <a:pt x="70" y="71"/>
                    </a:lnTo>
                    <a:lnTo>
                      <a:pt x="70" y="68"/>
                    </a:lnTo>
                    <a:lnTo>
                      <a:pt x="68" y="65"/>
                    </a:lnTo>
                    <a:lnTo>
                      <a:pt x="66" y="63"/>
                    </a:lnTo>
                    <a:lnTo>
                      <a:pt x="64" y="61"/>
                    </a:lnTo>
                    <a:lnTo>
                      <a:pt x="61" y="60"/>
                    </a:lnTo>
                    <a:lnTo>
                      <a:pt x="53" y="59"/>
                    </a:lnTo>
                    <a:lnTo>
                      <a:pt x="32" y="59"/>
                    </a:lnTo>
                    <a:lnTo>
                      <a:pt x="32" y="91"/>
                    </a:lnTo>
                    <a:lnTo>
                      <a:pt x="53" y="91"/>
                    </a:lnTo>
                    <a:lnTo>
                      <a:pt x="53" y="91"/>
                    </a:lnTo>
                    <a:lnTo>
                      <a:pt x="56" y="91"/>
                    </a:lnTo>
                    <a:lnTo>
                      <a:pt x="60" y="90"/>
                    </a:lnTo>
                    <a:lnTo>
                      <a:pt x="63" y="88"/>
                    </a:lnTo>
                    <a:lnTo>
                      <a:pt x="66" y="86"/>
                    </a:lnTo>
                    <a:lnTo>
                      <a:pt x="66" y="86"/>
                    </a:lnTo>
                    <a:close/>
                    <a:moveTo>
                      <a:pt x="115" y="0"/>
                    </a:moveTo>
                    <a:lnTo>
                      <a:pt x="147" y="0"/>
                    </a:lnTo>
                    <a:lnTo>
                      <a:pt x="147" y="115"/>
                    </a:lnTo>
                    <a:lnTo>
                      <a:pt x="115" y="115"/>
                    </a:lnTo>
                    <a:lnTo>
                      <a:pt x="115" y="0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16">
                <a:extLst>
                  <a:ext uri="{FF2B5EF4-FFF2-40B4-BE49-F238E27FC236}">
                    <a16:creationId xmlns:a16="http://schemas.microsoft.com/office/drawing/2014/main" id="{9FFE81F4-79B4-4E6A-A77B-635F4A57C5F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344154" y="1535113"/>
                <a:ext cx="85725" cy="90487"/>
              </a:xfrm>
              <a:custGeom>
                <a:avLst/>
                <a:gdLst>
                  <a:gd name="T0" fmla="*/ 109 w 109"/>
                  <a:gd name="T1" fmla="*/ 0 h 115"/>
                  <a:gd name="T2" fmla="*/ 109 w 109"/>
                  <a:gd name="T3" fmla="*/ 115 h 115"/>
                  <a:gd name="T4" fmla="*/ 77 w 109"/>
                  <a:gd name="T5" fmla="*/ 115 h 115"/>
                  <a:gd name="T6" fmla="*/ 77 w 109"/>
                  <a:gd name="T7" fmla="*/ 71 h 115"/>
                  <a:gd name="T8" fmla="*/ 32 w 109"/>
                  <a:gd name="T9" fmla="*/ 71 h 115"/>
                  <a:gd name="T10" fmla="*/ 32 w 109"/>
                  <a:gd name="T11" fmla="*/ 115 h 115"/>
                  <a:gd name="T12" fmla="*/ 0 w 109"/>
                  <a:gd name="T13" fmla="*/ 115 h 115"/>
                  <a:gd name="T14" fmla="*/ 0 w 109"/>
                  <a:gd name="T15" fmla="*/ 0 h 115"/>
                  <a:gd name="T16" fmla="*/ 32 w 109"/>
                  <a:gd name="T17" fmla="*/ 0 h 115"/>
                  <a:gd name="T18" fmla="*/ 32 w 109"/>
                  <a:gd name="T19" fmla="*/ 43 h 115"/>
                  <a:gd name="T20" fmla="*/ 77 w 109"/>
                  <a:gd name="T21" fmla="*/ 43 h 115"/>
                  <a:gd name="T22" fmla="*/ 77 w 109"/>
                  <a:gd name="T23" fmla="*/ 0 h 115"/>
                  <a:gd name="T24" fmla="*/ 109 w 109"/>
                  <a:gd name="T25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9" h="115">
                    <a:moveTo>
                      <a:pt x="109" y="0"/>
                    </a:moveTo>
                    <a:lnTo>
                      <a:pt x="109" y="115"/>
                    </a:lnTo>
                    <a:lnTo>
                      <a:pt x="77" y="115"/>
                    </a:lnTo>
                    <a:lnTo>
                      <a:pt x="77" y="71"/>
                    </a:lnTo>
                    <a:lnTo>
                      <a:pt x="32" y="71"/>
                    </a:lnTo>
                    <a:lnTo>
                      <a:pt x="3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2" y="0"/>
                    </a:lnTo>
                    <a:lnTo>
                      <a:pt x="32" y="43"/>
                    </a:lnTo>
                    <a:lnTo>
                      <a:pt x="77" y="43"/>
                    </a:lnTo>
                    <a:lnTo>
                      <a:pt x="77" y="0"/>
                    </a:lnTo>
                    <a:lnTo>
                      <a:pt x="109" y="0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17">
                <a:extLst>
                  <a:ext uri="{FF2B5EF4-FFF2-40B4-BE49-F238E27FC236}">
                    <a16:creationId xmlns:a16="http://schemas.microsoft.com/office/drawing/2014/main" id="{6F1CE4D6-FC81-4FDD-9A6B-B63EF7521BD4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447341" y="1533525"/>
                <a:ext cx="101600" cy="95250"/>
              </a:xfrm>
              <a:custGeom>
                <a:avLst/>
                <a:gdLst>
                  <a:gd name="T0" fmla="*/ 31 w 128"/>
                  <a:gd name="T1" fmla="*/ 112 h 120"/>
                  <a:gd name="T2" fmla="*/ 21 w 128"/>
                  <a:gd name="T3" fmla="*/ 105 h 120"/>
                  <a:gd name="T4" fmla="*/ 6 w 128"/>
                  <a:gd name="T5" fmla="*/ 88 h 120"/>
                  <a:gd name="T6" fmla="*/ 0 w 128"/>
                  <a:gd name="T7" fmla="*/ 67 h 120"/>
                  <a:gd name="T8" fmla="*/ 2 w 128"/>
                  <a:gd name="T9" fmla="*/ 43 h 120"/>
                  <a:gd name="T10" fmla="*/ 6 w 128"/>
                  <a:gd name="T11" fmla="*/ 32 h 120"/>
                  <a:gd name="T12" fmla="*/ 11 w 128"/>
                  <a:gd name="T13" fmla="*/ 25 h 120"/>
                  <a:gd name="T14" fmla="*/ 23 w 128"/>
                  <a:gd name="T15" fmla="*/ 12 h 120"/>
                  <a:gd name="T16" fmla="*/ 31 w 128"/>
                  <a:gd name="T17" fmla="*/ 8 h 120"/>
                  <a:gd name="T18" fmla="*/ 46 w 128"/>
                  <a:gd name="T19" fmla="*/ 2 h 120"/>
                  <a:gd name="T20" fmla="*/ 64 w 128"/>
                  <a:gd name="T21" fmla="*/ 0 h 120"/>
                  <a:gd name="T22" fmla="*/ 81 w 128"/>
                  <a:gd name="T23" fmla="*/ 2 h 120"/>
                  <a:gd name="T24" fmla="*/ 97 w 128"/>
                  <a:gd name="T25" fmla="*/ 8 h 120"/>
                  <a:gd name="T26" fmla="*/ 102 w 128"/>
                  <a:gd name="T27" fmla="*/ 11 h 120"/>
                  <a:gd name="T28" fmla="*/ 115 w 128"/>
                  <a:gd name="T29" fmla="*/ 22 h 120"/>
                  <a:gd name="T30" fmla="*/ 125 w 128"/>
                  <a:gd name="T31" fmla="*/ 42 h 120"/>
                  <a:gd name="T32" fmla="*/ 128 w 128"/>
                  <a:gd name="T33" fmla="*/ 65 h 120"/>
                  <a:gd name="T34" fmla="*/ 124 w 128"/>
                  <a:gd name="T35" fmla="*/ 82 h 120"/>
                  <a:gd name="T36" fmla="*/ 121 w 128"/>
                  <a:gd name="T37" fmla="*/ 87 h 120"/>
                  <a:gd name="T38" fmla="*/ 111 w 128"/>
                  <a:gd name="T39" fmla="*/ 101 h 120"/>
                  <a:gd name="T40" fmla="*/ 97 w 128"/>
                  <a:gd name="T41" fmla="*/ 112 h 120"/>
                  <a:gd name="T42" fmla="*/ 89 w 128"/>
                  <a:gd name="T43" fmla="*/ 115 h 120"/>
                  <a:gd name="T44" fmla="*/ 72 w 128"/>
                  <a:gd name="T45" fmla="*/ 119 h 120"/>
                  <a:gd name="T46" fmla="*/ 55 w 128"/>
                  <a:gd name="T47" fmla="*/ 119 h 120"/>
                  <a:gd name="T48" fmla="*/ 38 w 128"/>
                  <a:gd name="T49" fmla="*/ 115 h 120"/>
                  <a:gd name="T50" fmla="*/ 31 w 128"/>
                  <a:gd name="T51" fmla="*/ 112 h 120"/>
                  <a:gd name="T52" fmla="*/ 80 w 128"/>
                  <a:gd name="T53" fmla="*/ 89 h 120"/>
                  <a:gd name="T54" fmla="*/ 91 w 128"/>
                  <a:gd name="T55" fmla="*/ 77 h 120"/>
                  <a:gd name="T56" fmla="*/ 94 w 128"/>
                  <a:gd name="T57" fmla="*/ 69 h 120"/>
                  <a:gd name="T58" fmla="*/ 94 w 128"/>
                  <a:gd name="T59" fmla="*/ 52 h 120"/>
                  <a:gd name="T60" fmla="*/ 91 w 128"/>
                  <a:gd name="T61" fmla="*/ 42 h 120"/>
                  <a:gd name="T62" fmla="*/ 80 w 128"/>
                  <a:gd name="T63" fmla="*/ 31 h 120"/>
                  <a:gd name="T64" fmla="*/ 72 w 128"/>
                  <a:gd name="T65" fmla="*/ 28 h 120"/>
                  <a:gd name="T66" fmla="*/ 55 w 128"/>
                  <a:gd name="T67" fmla="*/ 28 h 120"/>
                  <a:gd name="T68" fmla="*/ 47 w 128"/>
                  <a:gd name="T69" fmla="*/ 31 h 120"/>
                  <a:gd name="T70" fmla="*/ 36 w 128"/>
                  <a:gd name="T71" fmla="*/ 42 h 120"/>
                  <a:gd name="T72" fmla="*/ 33 w 128"/>
                  <a:gd name="T73" fmla="*/ 52 h 120"/>
                  <a:gd name="T74" fmla="*/ 33 w 128"/>
                  <a:gd name="T75" fmla="*/ 69 h 120"/>
                  <a:gd name="T76" fmla="*/ 36 w 128"/>
                  <a:gd name="T77" fmla="*/ 77 h 120"/>
                  <a:gd name="T78" fmla="*/ 47 w 128"/>
                  <a:gd name="T79" fmla="*/ 89 h 120"/>
                  <a:gd name="T80" fmla="*/ 55 w 128"/>
                  <a:gd name="T81" fmla="*/ 92 h 120"/>
                  <a:gd name="T82" fmla="*/ 72 w 128"/>
                  <a:gd name="T83" fmla="*/ 92 h 120"/>
                  <a:gd name="T84" fmla="*/ 80 w 128"/>
                  <a:gd name="T85" fmla="*/ 89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28" h="120">
                    <a:moveTo>
                      <a:pt x="31" y="112"/>
                    </a:moveTo>
                    <a:lnTo>
                      <a:pt x="31" y="112"/>
                    </a:lnTo>
                    <a:lnTo>
                      <a:pt x="25" y="109"/>
                    </a:lnTo>
                    <a:lnTo>
                      <a:pt x="21" y="105"/>
                    </a:lnTo>
                    <a:lnTo>
                      <a:pt x="13" y="97"/>
                    </a:lnTo>
                    <a:lnTo>
                      <a:pt x="6" y="88"/>
                    </a:lnTo>
                    <a:lnTo>
                      <a:pt x="2" y="78"/>
                    </a:lnTo>
                    <a:lnTo>
                      <a:pt x="0" y="67"/>
                    </a:lnTo>
                    <a:lnTo>
                      <a:pt x="0" y="55"/>
                    </a:lnTo>
                    <a:lnTo>
                      <a:pt x="2" y="43"/>
                    </a:lnTo>
                    <a:lnTo>
                      <a:pt x="4" y="38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11" y="25"/>
                    </a:lnTo>
                    <a:lnTo>
                      <a:pt x="16" y="18"/>
                    </a:lnTo>
                    <a:lnTo>
                      <a:pt x="23" y="12"/>
                    </a:lnTo>
                    <a:lnTo>
                      <a:pt x="31" y="8"/>
                    </a:lnTo>
                    <a:lnTo>
                      <a:pt x="31" y="8"/>
                    </a:lnTo>
                    <a:lnTo>
                      <a:pt x="38" y="4"/>
                    </a:lnTo>
                    <a:lnTo>
                      <a:pt x="46" y="2"/>
                    </a:lnTo>
                    <a:lnTo>
                      <a:pt x="55" y="0"/>
                    </a:lnTo>
                    <a:lnTo>
                      <a:pt x="64" y="0"/>
                    </a:lnTo>
                    <a:lnTo>
                      <a:pt x="72" y="0"/>
                    </a:lnTo>
                    <a:lnTo>
                      <a:pt x="81" y="2"/>
                    </a:lnTo>
                    <a:lnTo>
                      <a:pt x="89" y="4"/>
                    </a:lnTo>
                    <a:lnTo>
                      <a:pt x="97" y="8"/>
                    </a:lnTo>
                    <a:lnTo>
                      <a:pt x="97" y="8"/>
                    </a:lnTo>
                    <a:lnTo>
                      <a:pt x="102" y="11"/>
                    </a:lnTo>
                    <a:lnTo>
                      <a:pt x="106" y="14"/>
                    </a:lnTo>
                    <a:lnTo>
                      <a:pt x="115" y="22"/>
                    </a:lnTo>
                    <a:lnTo>
                      <a:pt x="121" y="32"/>
                    </a:lnTo>
                    <a:lnTo>
                      <a:pt x="125" y="42"/>
                    </a:lnTo>
                    <a:lnTo>
                      <a:pt x="127" y="54"/>
                    </a:lnTo>
                    <a:lnTo>
                      <a:pt x="128" y="65"/>
                    </a:lnTo>
                    <a:lnTo>
                      <a:pt x="126" y="76"/>
                    </a:lnTo>
                    <a:lnTo>
                      <a:pt x="124" y="82"/>
                    </a:lnTo>
                    <a:lnTo>
                      <a:pt x="121" y="87"/>
                    </a:lnTo>
                    <a:lnTo>
                      <a:pt x="121" y="87"/>
                    </a:lnTo>
                    <a:lnTo>
                      <a:pt x="116" y="95"/>
                    </a:lnTo>
                    <a:lnTo>
                      <a:pt x="111" y="101"/>
                    </a:lnTo>
                    <a:lnTo>
                      <a:pt x="104" y="107"/>
                    </a:lnTo>
                    <a:lnTo>
                      <a:pt x="97" y="112"/>
                    </a:lnTo>
                    <a:lnTo>
                      <a:pt x="97" y="112"/>
                    </a:lnTo>
                    <a:lnTo>
                      <a:pt x="89" y="115"/>
                    </a:lnTo>
                    <a:lnTo>
                      <a:pt x="81" y="118"/>
                    </a:lnTo>
                    <a:lnTo>
                      <a:pt x="72" y="119"/>
                    </a:lnTo>
                    <a:lnTo>
                      <a:pt x="64" y="120"/>
                    </a:lnTo>
                    <a:lnTo>
                      <a:pt x="55" y="119"/>
                    </a:lnTo>
                    <a:lnTo>
                      <a:pt x="46" y="118"/>
                    </a:lnTo>
                    <a:lnTo>
                      <a:pt x="38" y="115"/>
                    </a:lnTo>
                    <a:lnTo>
                      <a:pt x="31" y="112"/>
                    </a:lnTo>
                    <a:lnTo>
                      <a:pt x="31" y="112"/>
                    </a:lnTo>
                    <a:close/>
                    <a:moveTo>
                      <a:pt x="80" y="89"/>
                    </a:moveTo>
                    <a:lnTo>
                      <a:pt x="80" y="89"/>
                    </a:lnTo>
                    <a:lnTo>
                      <a:pt x="86" y="84"/>
                    </a:lnTo>
                    <a:lnTo>
                      <a:pt x="91" y="77"/>
                    </a:lnTo>
                    <a:lnTo>
                      <a:pt x="91" y="77"/>
                    </a:lnTo>
                    <a:lnTo>
                      <a:pt x="94" y="69"/>
                    </a:lnTo>
                    <a:lnTo>
                      <a:pt x="95" y="60"/>
                    </a:lnTo>
                    <a:lnTo>
                      <a:pt x="94" y="52"/>
                    </a:lnTo>
                    <a:lnTo>
                      <a:pt x="91" y="42"/>
                    </a:lnTo>
                    <a:lnTo>
                      <a:pt x="91" y="42"/>
                    </a:lnTo>
                    <a:lnTo>
                      <a:pt x="86" y="36"/>
                    </a:lnTo>
                    <a:lnTo>
                      <a:pt x="80" y="31"/>
                    </a:lnTo>
                    <a:lnTo>
                      <a:pt x="80" y="31"/>
                    </a:lnTo>
                    <a:lnTo>
                      <a:pt x="72" y="28"/>
                    </a:lnTo>
                    <a:lnTo>
                      <a:pt x="64" y="27"/>
                    </a:lnTo>
                    <a:lnTo>
                      <a:pt x="55" y="28"/>
                    </a:lnTo>
                    <a:lnTo>
                      <a:pt x="47" y="31"/>
                    </a:lnTo>
                    <a:lnTo>
                      <a:pt x="47" y="31"/>
                    </a:lnTo>
                    <a:lnTo>
                      <a:pt x="41" y="36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3" y="52"/>
                    </a:lnTo>
                    <a:lnTo>
                      <a:pt x="32" y="60"/>
                    </a:lnTo>
                    <a:lnTo>
                      <a:pt x="33" y="69"/>
                    </a:lnTo>
                    <a:lnTo>
                      <a:pt x="36" y="77"/>
                    </a:lnTo>
                    <a:lnTo>
                      <a:pt x="36" y="77"/>
                    </a:lnTo>
                    <a:lnTo>
                      <a:pt x="41" y="84"/>
                    </a:lnTo>
                    <a:lnTo>
                      <a:pt x="47" y="89"/>
                    </a:lnTo>
                    <a:lnTo>
                      <a:pt x="47" y="89"/>
                    </a:lnTo>
                    <a:lnTo>
                      <a:pt x="55" y="92"/>
                    </a:lnTo>
                    <a:lnTo>
                      <a:pt x="64" y="93"/>
                    </a:lnTo>
                    <a:lnTo>
                      <a:pt x="72" y="92"/>
                    </a:lnTo>
                    <a:lnTo>
                      <a:pt x="80" y="89"/>
                    </a:lnTo>
                    <a:lnTo>
                      <a:pt x="80" y="89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18">
                <a:extLst>
                  <a:ext uri="{FF2B5EF4-FFF2-40B4-BE49-F238E27FC236}">
                    <a16:creationId xmlns:a16="http://schemas.microsoft.com/office/drawing/2014/main" id="{52E23461-415F-4C60-B094-99062ECAC296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564816" y="1535113"/>
                <a:ext cx="84138" cy="90487"/>
              </a:xfrm>
              <a:custGeom>
                <a:avLst/>
                <a:gdLst>
                  <a:gd name="T0" fmla="*/ 99 w 105"/>
                  <a:gd name="T1" fmla="*/ 66 h 115"/>
                  <a:gd name="T2" fmla="*/ 103 w 105"/>
                  <a:gd name="T3" fmla="*/ 74 h 115"/>
                  <a:gd name="T4" fmla="*/ 105 w 105"/>
                  <a:gd name="T5" fmla="*/ 83 h 115"/>
                  <a:gd name="T6" fmla="*/ 104 w 105"/>
                  <a:gd name="T7" fmla="*/ 90 h 115"/>
                  <a:gd name="T8" fmla="*/ 98 w 105"/>
                  <a:gd name="T9" fmla="*/ 102 h 115"/>
                  <a:gd name="T10" fmla="*/ 93 w 105"/>
                  <a:gd name="T11" fmla="*/ 107 h 115"/>
                  <a:gd name="T12" fmla="*/ 77 w 105"/>
                  <a:gd name="T13" fmla="*/ 114 h 115"/>
                  <a:gd name="T14" fmla="*/ 59 w 105"/>
                  <a:gd name="T15" fmla="*/ 115 h 115"/>
                  <a:gd name="T16" fmla="*/ 0 w 105"/>
                  <a:gd name="T17" fmla="*/ 0 h 115"/>
                  <a:gd name="T18" fmla="*/ 56 w 105"/>
                  <a:gd name="T19" fmla="*/ 0 h 115"/>
                  <a:gd name="T20" fmla="*/ 73 w 105"/>
                  <a:gd name="T21" fmla="*/ 2 h 115"/>
                  <a:gd name="T22" fmla="*/ 88 w 105"/>
                  <a:gd name="T23" fmla="*/ 8 h 115"/>
                  <a:gd name="T24" fmla="*/ 93 w 105"/>
                  <a:gd name="T25" fmla="*/ 12 h 115"/>
                  <a:gd name="T26" fmla="*/ 99 w 105"/>
                  <a:gd name="T27" fmla="*/ 24 h 115"/>
                  <a:gd name="T28" fmla="*/ 99 w 105"/>
                  <a:gd name="T29" fmla="*/ 30 h 115"/>
                  <a:gd name="T30" fmla="*/ 95 w 105"/>
                  <a:gd name="T31" fmla="*/ 45 h 115"/>
                  <a:gd name="T32" fmla="*/ 90 w 105"/>
                  <a:gd name="T33" fmla="*/ 52 h 115"/>
                  <a:gd name="T34" fmla="*/ 84 w 105"/>
                  <a:gd name="T35" fmla="*/ 56 h 115"/>
                  <a:gd name="T36" fmla="*/ 92 w 105"/>
                  <a:gd name="T37" fmla="*/ 60 h 115"/>
                  <a:gd name="T38" fmla="*/ 99 w 105"/>
                  <a:gd name="T39" fmla="*/ 66 h 115"/>
                  <a:gd name="T40" fmla="*/ 32 w 105"/>
                  <a:gd name="T41" fmla="*/ 46 h 115"/>
                  <a:gd name="T42" fmla="*/ 53 w 105"/>
                  <a:gd name="T43" fmla="*/ 46 h 115"/>
                  <a:gd name="T44" fmla="*/ 63 w 105"/>
                  <a:gd name="T45" fmla="*/ 43 h 115"/>
                  <a:gd name="T46" fmla="*/ 67 w 105"/>
                  <a:gd name="T47" fmla="*/ 35 h 115"/>
                  <a:gd name="T48" fmla="*/ 66 w 105"/>
                  <a:gd name="T49" fmla="*/ 30 h 115"/>
                  <a:gd name="T50" fmla="*/ 59 w 105"/>
                  <a:gd name="T51" fmla="*/ 24 h 115"/>
                  <a:gd name="T52" fmla="*/ 32 w 105"/>
                  <a:gd name="T53" fmla="*/ 23 h 115"/>
                  <a:gd name="T54" fmla="*/ 72 w 105"/>
                  <a:gd name="T55" fmla="*/ 80 h 115"/>
                  <a:gd name="T56" fmla="*/ 71 w 105"/>
                  <a:gd name="T57" fmla="*/ 75 h 115"/>
                  <a:gd name="T58" fmla="*/ 64 w 105"/>
                  <a:gd name="T59" fmla="*/ 69 h 115"/>
                  <a:gd name="T60" fmla="*/ 32 w 105"/>
                  <a:gd name="T61" fmla="*/ 69 h 115"/>
                  <a:gd name="T62" fmla="*/ 58 w 105"/>
                  <a:gd name="T63" fmla="*/ 92 h 115"/>
                  <a:gd name="T64" fmla="*/ 64 w 105"/>
                  <a:gd name="T65" fmla="*/ 91 h 115"/>
                  <a:gd name="T66" fmla="*/ 71 w 105"/>
                  <a:gd name="T67" fmla="*/ 85 h 115"/>
                  <a:gd name="T68" fmla="*/ 72 w 105"/>
                  <a:gd name="T69" fmla="*/ 8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5" h="115">
                    <a:moveTo>
                      <a:pt x="99" y="66"/>
                    </a:moveTo>
                    <a:lnTo>
                      <a:pt x="99" y="66"/>
                    </a:lnTo>
                    <a:lnTo>
                      <a:pt x="102" y="70"/>
                    </a:lnTo>
                    <a:lnTo>
                      <a:pt x="103" y="74"/>
                    </a:lnTo>
                    <a:lnTo>
                      <a:pt x="104" y="78"/>
                    </a:lnTo>
                    <a:lnTo>
                      <a:pt x="105" y="83"/>
                    </a:lnTo>
                    <a:lnTo>
                      <a:pt x="105" y="83"/>
                    </a:lnTo>
                    <a:lnTo>
                      <a:pt x="104" y="90"/>
                    </a:lnTo>
                    <a:lnTo>
                      <a:pt x="102" y="96"/>
                    </a:lnTo>
                    <a:lnTo>
                      <a:pt x="98" y="102"/>
                    </a:lnTo>
                    <a:lnTo>
                      <a:pt x="93" y="107"/>
                    </a:lnTo>
                    <a:lnTo>
                      <a:pt x="93" y="107"/>
                    </a:lnTo>
                    <a:lnTo>
                      <a:pt x="85" y="111"/>
                    </a:lnTo>
                    <a:lnTo>
                      <a:pt x="77" y="114"/>
                    </a:lnTo>
                    <a:lnTo>
                      <a:pt x="68" y="115"/>
                    </a:lnTo>
                    <a:lnTo>
                      <a:pt x="59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5" y="1"/>
                    </a:lnTo>
                    <a:lnTo>
                      <a:pt x="73" y="2"/>
                    </a:lnTo>
                    <a:lnTo>
                      <a:pt x="81" y="4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93" y="12"/>
                    </a:lnTo>
                    <a:lnTo>
                      <a:pt x="97" y="18"/>
                    </a:lnTo>
                    <a:lnTo>
                      <a:pt x="99" y="24"/>
                    </a:lnTo>
                    <a:lnTo>
                      <a:pt x="99" y="30"/>
                    </a:lnTo>
                    <a:lnTo>
                      <a:pt x="99" y="30"/>
                    </a:lnTo>
                    <a:lnTo>
                      <a:pt x="98" y="38"/>
                    </a:lnTo>
                    <a:lnTo>
                      <a:pt x="95" y="45"/>
                    </a:lnTo>
                    <a:lnTo>
                      <a:pt x="95" y="45"/>
                    </a:lnTo>
                    <a:lnTo>
                      <a:pt x="90" y="52"/>
                    </a:lnTo>
                    <a:lnTo>
                      <a:pt x="84" y="56"/>
                    </a:lnTo>
                    <a:lnTo>
                      <a:pt x="84" y="56"/>
                    </a:lnTo>
                    <a:lnTo>
                      <a:pt x="88" y="57"/>
                    </a:lnTo>
                    <a:lnTo>
                      <a:pt x="92" y="60"/>
                    </a:lnTo>
                    <a:lnTo>
                      <a:pt x="96" y="62"/>
                    </a:lnTo>
                    <a:lnTo>
                      <a:pt x="99" y="66"/>
                    </a:lnTo>
                    <a:lnTo>
                      <a:pt x="99" y="66"/>
                    </a:lnTo>
                    <a:close/>
                    <a:moveTo>
                      <a:pt x="32" y="46"/>
                    </a:moveTo>
                    <a:lnTo>
                      <a:pt x="53" y="46"/>
                    </a:lnTo>
                    <a:lnTo>
                      <a:pt x="53" y="46"/>
                    </a:lnTo>
                    <a:lnTo>
                      <a:pt x="59" y="45"/>
                    </a:lnTo>
                    <a:lnTo>
                      <a:pt x="63" y="43"/>
                    </a:lnTo>
                    <a:lnTo>
                      <a:pt x="66" y="40"/>
                    </a:lnTo>
                    <a:lnTo>
                      <a:pt x="67" y="35"/>
                    </a:lnTo>
                    <a:lnTo>
                      <a:pt x="67" y="35"/>
                    </a:lnTo>
                    <a:lnTo>
                      <a:pt x="66" y="30"/>
                    </a:lnTo>
                    <a:lnTo>
                      <a:pt x="63" y="26"/>
                    </a:lnTo>
                    <a:lnTo>
                      <a:pt x="59" y="24"/>
                    </a:lnTo>
                    <a:lnTo>
                      <a:pt x="53" y="23"/>
                    </a:lnTo>
                    <a:lnTo>
                      <a:pt x="32" y="23"/>
                    </a:lnTo>
                    <a:lnTo>
                      <a:pt x="32" y="46"/>
                    </a:lnTo>
                    <a:close/>
                    <a:moveTo>
                      <a:pt x="72" y="80"/>
                    </a:moveTo>
                    <a:lnTo>
                      <a:pt x="72" y="80"/>
                    </a:lnTo>
                    <a:lnTo>
                      <a:pt x="71" y="75"/>
                    </a:lnTo>
                    <a:lnTo>
                      <a:pt x="69" y="72"/>
                    </a:lnTo>
                    <a:lnTo>
                      <a:pt x="64" y="69"/>
                    </a:lnTo>
                    <a:lnTo>
                      <a:pt x="58" y="69"/>
                    </a:lnTo>
                    <a:lnTo>
                      <a:pt x="32" y="69"/>
                    </a:lnTo>
                    <a:lnTo>
                      <a:pt x="32" y="92"/>
                    </a:lnTo>
                    <a:lnTo>
                      <a:pt x="58" y="92"/>
                    </a:lnTo>
                    <a:lnTo>
                      <a:pt x="58" y="92"/>
                    </a:lnTo>
                    <a:lnTo>
                      <a:pt x="64" y="91"/>
                    </a:lnTo>
                    <a:lnTo>
                      <a:pt x="69" y="89"/>
                    </a:lnTo>
                    <a:lnTo>
                      <a:pt x="71" y="85"/>
                    </a:lnTo>
                    <a:lnTo>
                      <a:pt x="72" y="80"/>
                    </a:lnTo>
                    <a:lnTo>
                      <a:pt x="72" y="80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19">
                <a:extLst>
                  <a:ext uri="{FF2B5EF4-FFF2-40B4-BE49-F238E27FC236}">
                    <a16:creationId xmlns:a16="http://schemas.microsoft.com/office/drawing/2014/main" id="{E8146DD5-FB9B-470F-84F4-4881EE44BE3A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664829" y="1535113"/>
                <a:ext cx="115888" cy="90487"/>
              </a:xfrm>
              <a:custGeom>
                <a:avLst/>
                <a:gdLst>
                  <a:gd name="T0" fmla="*/ 92 w 147"/>
                  <a:gd name="T1" fmla="*/ 46 h 115"/>
                  <a:gd name="T2" fmla="*/ 92 w 147"/>
                  <a:gd name="T3" fmla="*/ 46 h 115"/>
                  <a:gd name="T4" fmla="*/ 97 w 147"/>
                  <a:gd name="T5" fmla="*/ 53 h 115"/>
                  <a:gd name="T6" fmla="*/ 101 w 147"/>
                  <a:gd name="T7" fmla="*/ 60 h 115"/>
                  <a:gd name="T8" fmla="*/ 103 w 147"/>
                  <a:gd name="T9" fmla="*/ 67 h 115"/>
                  <a:gd name="T10" fmla="*/ 103 w 147"/>
                  <a:gd name="T11" fmla="*/ 75 h 115"/>
                  <a:gd name="T12" fmla="*/ 103 w 147"/>
                  <a:gd name="T13" fmla="*/ 75 h 115"/>
                  <a:gd name="T14" fmla="*/ 103 w 147"/>
                  <a:gd name="T15" fmla="*/ 83 h 115"/>
                  <a:gd name="T16" fmla="*/ 100 w 147"/>
                  <a:gd name="T17" fmla="*/ 91 h 115"/>
                  <a:gd name="T18" fmla="*/ 96 w 147"/>
                  <a:gd name="T19" fmla="*/ 99 h 115"/>
                  <a:gd name="T20" fmla="*/ 90 w 147"/>
                  <a:gd name="T21" fmla="*/ 105 h 115"/>
                  <a:gd name="T22" fmla="*/ 90 w 147"/>
                  <a:gd name="T23" fmla="*/ 105 h 115"/>
                  <a:gd name="T24" fmla="*/ 82 w 147"/>
                  <a:gd name="T25" fmla="*/ 110 h 115"/>
                  <a:gd name="T26" fmla="*/ 74 w 147"/>
                  <a:gd name="T27" fmla="*/ 113 h 115"/>
                  <a:gd name="T28" fmla="*/ 65 w 147"/>
                  <a:gd name="T29" fmla="*/ 115 h 115"/>
                  <a:gd name="T30" fmla="*/ 55 w 147"/>
                  <a:gd name="T31" fmla="*/ 115 h 115"/>
                  <a:gd name="T32" fmla="*/ 0 w 147"/>
                  <a:gd name="T33" fmla="*/ 115 h 115"/>
                  <a:gd name="T34" fmla="*/ 0 w 147"/>
                  <a:gd name="T35" fmla="*/ 1 h 115"/>
                  <a:gd name="T36" fmla="*/ 32 w 147"/>
                  <a:gd name="T37" fmla="*/ 1 h 115"/>
                  <a:gd name="T38" fmla="*/ 32 w 147"/>
                  <a:gd name="T39" fmla="*/ 37 h 115"/>
                  <a:gd name="T40" fmla="*/ 59 w 147"/>
                  <a:gd name="T41" fmla="*/ 37 h 115"/>
                  <a:gd name="T42" fmla="*/ 59 w 147"/>
                  <a:gd name="T43" fmla="*/ 37 h 115"/>
                  <a:gd name="T44" fmla="*/ 68 w 147"/>
                  <a:gd name="T45" fmla="*/ 37 h 115"/>
                  <a:gd name="T46" fmla="*/ 76 w 147"/>
                  <a:gd name="T47" fmla="*/ 39 h 115"/>
                  <a:gd name="T48" fmla="*/ 84 w 147"/>
                  <a:gd name="T49" fmla="*/ 42 h 115"/>
                  <a:gd name="T50" fmla="*/ 92 w 147"/>
                  <a:gd name="T51" fmla="*/ 46 h 115"/>
                  <a:gd name="T52" fmla="*/ 92 w 147"/>
                  <a:gd name="T53" fmla="*/ 46 h 115"/>
                  <a:gd name="T54" fmla="*/ 66 w 147"/>
                  <a:gd name="T55" fmla="*/ 88 h 115"/>
                  <a:gd name="T56" fmla="*/ 66 w 147"/>
                  <a:gd name="T57" fmla="*/ 88 h 115"/>
                  <a:gd name="T58" fmla="*/ 68 w 147"/>
                  <a:gd name="T59" fmla="*/ 85 h 115"/>
                  <a:gd name="T60" fmla="*/ 70 w 147"/>
                  <a:gd name="T61" fmla="*/ 82 h 115"/>
                  <a:gd name="T62" fmla="*/ 71 w 147"/>
                  <a:gd name="T63" fmla="*/ 79 h 115"/>
                  <a:gd name="T64" fmla="*/ 71 w 147"/>
                  <a:gd name="T65" fmla="*/ 76 h 115"/>
                  <a:gd name="T66" fmla="*/ 71 w 147"/>
                  <a:gd name="T67" fmla="*/ 76 h 115"/>
                  <a:gd name="T68" fmla="*/ 71 w 147"/>
                  <a:gd name="T69" fmla="*/ 72 h 115"/>
                  <a:gd name="T70" fmla="*/ 70 w 147"/>
                  <a:gd name="T71" fmla="*/ 69 h 115"/>
                  <a:gd name="T72" fmla="*/ 68 w 147"/>
                  <a:gd name="T73" fmla="*/ 67 h 115"/>
                  <a:gd name="T74" fmla="*/ 66 w 147"/>
                  <a:gd name="T75" fmla="*/ 64 h 115"/>
                  <a:gd name="T76" fmla="*/ 64 w 147"/>
                  <a:gd name="T77" fmla="*/ 63 h 115"/>
                  <a:gd name="T78" fmla="*/ 61 w 147"/>
                  <a:gd name="T79" fmla="*/ 62 h 115"/>
                  <a:gd name="T80" fmla="*/ 53 w 147"/>
                  <a:gd name="T81" fmla="*/ 61 h 115"/>
                  <a:gd name="T82" fmla="*/ 32 w 147"/>
                  <a:gd name="T83" fmla="*/ 61 h 115"/>
                  <a:gd name="T84" fmla="*/ 32 w 147"/>
                  <a:gd name="T85" fmla="*/ 92 h 115"/>
                  <a:gd name="T86" fmla="*/ 53 w 147"/>
                  <a:gd name="T87" fmla="*/ 92 h 115"/>
                  <a:gd name="T88" fmla="*/ 53 w 147"/>
                  <a:gd name="T89" fmla="*/ 92 h 115"/>
                  <a:gd name="T90" fmla="*/ 57 w 147"/>
                  <a:gd name="T91" fmla="*/ 92 h 115"/>
                  <a:gd name="T92" fmla="*/ 60 w 147"/>
                  <a:gd name="T93" fmla="*/ 91 h 115"/>
                  <a:gd name="T94" fmla="*/ 63 w 147"/>
                  <a:gd name="T95" fmla="*/ 90 h 115"/>
                  <a:gd name="T96" fmla="*/ 66 w 147"/>
                  <a:gd name="T97" fmla="*/ 88 h 115"/>
                  <a:gd name="T98" fmla="*/ 66 w 147"/>
                  <a:gd name="T99" fmla="*/ 88 h 115"/>
                  <a:gd name="T100" fmla="*/ 116 w 147"/>
                  <a:gd name="T101" fmla="*/ 0 h 115"/>
                  <a:gd name="T102" fmla="*/ 147 w 147"/>
                  <a:gd name="T103" fmla="*/ 0 h 115"/>
                  <a:gd name="T104" fmla="*/ 147 w 147"/>
                  <a:gd name="T105" fmla="*/ 115 h 115"/>
                  <a:gd name="T106" fmla="*/ 116 w 147"/>
                  <a:gd name="T107" fmla="*/ 115 h 115"/>
                  <a:gd name="T108" fmla="*/ 116 w 147"/>
                  <a:gd name="T109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47" h="115">
                    <a:moveTo>
                      <a:pt x="92" y="46"/>
                    </a:moveTo>
                    <a:lnTo>
                      <a:pt x="92" y="46"/>
                    </a:lnTo>
                    <a:lnTo>
                      <a:pt x="97" y="53"/>
                    </a:lnTo>
                    <a:lnTo>
                      <a:pt x="101" y="60"/>
                    </a:lnTo>
                    <a:lnTo>
                      <a:pt x="103" y="67"/>
                    </a:lnTo>
                    <a:lnTo>
                      <a:pt x="103" y="75"/>
                    </a:lnTo>
                    <a:lnTo>
                      <a:pt x="103" y="75"/>
                    </a:lnTo>
                    <a:lnTo>
                      <a:pt x="103" y="83"/>
                    </a:lnTo>
                    <a:lnTo>
                      <a:pt x="100" y="91"/>
                    </a:lnTo>
                    <a:lnTo>
                      <a:pt x="96" y="99"/>
                    </a:lnTo>
                    <a:lnTo>
                      <a:pt x="90" y="105"/>
                    </a:lnTo>
                    <a:lnTo>
                      <a:pt x="90" y="105"/>
                    </a:lnTo>
                    <a:lnTo>
                      <a:pt x="82" y="110"/>
                    </a:lnTo>
                    <a:lnTo>
                      <a:pt x="74" y="113"/>
                    </a:lnTo>
                    <a:lnTo>
                      <a:pt x="65" y="115"/>
                    </a:lnTo>
                    <a:lnTo>
                      <a:pt x="55" y="115"/>
                    </a:lnTo>
                    <a:lnTo>
                      <a:pt x="0" y="115"/>
                    </a:lnTo>
                    <a:lnTo>
                      <a:pt x="0" y="1"/>
                    </a:lnTo>
                    <a:lnTo>
                      <a:pt x="32" y="1"/>
                    </a:lnTo>
                    <a:lnTo>
                      <a:pt x="32" y="37"/>
                    </a:lnTo>
                    <a:lnTo>
                      <a:pt x="59" y="37"/>
                    </a:lnTo>
                    <a:lnTo>
                      <a:pt x="59" y="37"/>
                    </a:lnTo>
                    <a:lnTo>
                      <a:pt x="68" y="37"/>
                    </a:lnTo>
                    <a:lnTo>
                      <a:pt x="76" y="39"/>
                    </a:lnTo>
                    <a:lnTo>
                      <a:pt x="84" y="42"/>
                    </a:lnTo>
                    <a:lnTo>
                      <a:pt x="92" y="46"/>
                    </a:lnTo>
                    <a:lnTo>
                      <a:pt x="92" y="46"/>
                    </a:lnTo>
                    <a:close/>
                    <a:moveTo>
                      <a:pt x="66" y="88"/>
                    </a:moveTo>
                    <a:lnTo>
                      <a:pt x="66" y="88"/>
                    </a:lnTo>
                    <a:lnTo>
                      <a:pt x="68" y="85"/>
                    </a:lnTo>
                    <a:lnTo>
                      <a:pt x="70" y="82"/>
                    </a:lnTo>
                    <a:lnTo>
                      <a:pt x="71" y="79"/>
                    </a:lnTo>
                    <a:lnTo>
                      <a:pt x="71" y="76"/>
                    </a:lnTo>
                    <a:lnTo>
                      <a:pt x="71" y="76"/>
                    </a:lnTo>
                    <a:lnTo>
                      <a:pt x="71" y="72"/>
                    </a:lnTo>
                    <a:lnTo>
                      <a:pt x="70" y="69"/>
                    </a:lnTo>
                    <a:lnTo>
                      <a:pt x="68" y="67"/>
                    </a:lnTo>
                    <a:lnTo>
                      <a:pt x="66" y="64"/>
                    </a:lnTo>
                    <a:lnTo>
                      <a:pt x="64" y="63"/>
                    </a:lnTo>
                    <a:lnTo>
                      <a:pt x="61" y="62"/>
                    </a:lnTo>
                    <a:lnTo>
                      <a:pt x="53" y="61"/>
                    </a:lnTo>
                    <a:lnTo>
                      <a:pt x="32" y="61"/>
                    </a:lnTo>
                    <a:lnTo>
                      <a:pt x="32" y="92"/>
                    </a:lnTo>
                    <a:lnTo>
                      <a:pt x="53" y="92"/>
                    </a:lnTo>
                    <a:lnTo>
                      <a:pt x="53" y="92"/>
                    </a:lnTo>
                    <a:lnTo>
                      <a:pt x="57" y="92"/>
                    </a:lnTo>
                    <a:lnTo>
                      <a:pt x="60" y="91"/>
                    </a:lnTo>
                    <a:lnTo>
                      <a:pt x="63" y="90"/>
                    </a:lnTo>
                    <a:lnTo>
                      <a:pt x="66" y="88"/>
                    </a:lnTo>
                    <a:lnTo>
                      <a:pt x="66" y="88"/>
                    </a:lnTo>
                    <a:close/>
                    <a:moveTo>
                      <a:pt x="116" y="0"/>
                    </a:moveTo>
                    <a:lnTo>
                      <a:pt x="147" y="0"/>
                    </a:lnTo>
                    <a:lnTo>
                      <a:pt x="147" y="115"/>
                    </a:lnTo>
                    <a:lnTo>
                      <a:pt x="116" y="115"/>
                    </a:lnTo>
                    <a:lnTo>
                      <a:pt x="116" y="0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20">
                <a:extLst>
                  <a:ext uri="{FF2B5EF4-FFF2-40B4-BE49-F238E27FC236}">
                    <a16:creationId xmlns:a16="http://schemas.microsoft.com/office/drawing/2014/main" id="{ED55E494-EA54-4C2B-9177-3DB6AB55F65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802941" y="1535113"/>
                <a:ext cx="74613" cy="90487"/>
              </a:xfrm>
              <a:custGeom>
                <a:avLst/>
                <a:gdLst>
                  <a:gd name="T0" fmla="*/ 92 w 92"/>
                  <a:gd name="T1" fmla="*/ 90 h 115"/>
                  <a:gd name="T2" fmla="*/ 92 w 92"/>
                  <a:gd name="T3" fmla="*/ 115 h 115"/>
                  <a:gd name="T4" fmla="*/ 0 w 92"/>
                  <a:gd name="T5" fmla="*/ 115 h 115"/>
                  <a:gd name="T6" fmla="*/ 0 w 92"/>
                  <a:gd name="T7" fmla="*/ 0 h 115"/>
                  <a:gd name="T8" fmla="*/ 90 w 92"/>
                  <a:gd name="T9" fmla="*/ 0 h 115"/>
                  <a:gd name="T10" fmla="*/ 90 w 92"/>
                  <a:gd name="T11" fmla="*/ 25 h 115"/>
                  <a:gd name="T12" fmla="*/ 32 w 92"/>
                  <a:gd name="T13" fmla="*/ 25 h 115"/>
                  <a:gd name="T14" fmla="*/ 32 w 92"/>
                  <a:gd name="T15" fmla="*/ 44 h 115"/>
                  <a:gd name="T16" fmla="*/ 83 w 92"/>
                  <a:gd name="T17" fmla="*/ 44 h 115"/>
                  <a:gd name="T18" fmla="*/ 83 w 92"/>
                  <a:gd name="T19" fmla="*/ 69 h 115"/>
                  <a:gd name="T20" fmla="*/ 32 w 92"/>
                  <a:gd name="T21" fmla="*/ 69 h 115"/>
                  <a:gd name="T22" fmla="*/ 32 w 92"/>
                  <a:gd name="T23" fmla="*/ 90 h 115"/>
                  <a:gd name="T24" fmla="*/ 92 w 92"/>
                  <a:gd name="T25" fmla="*/ 9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2" h="115">
                    <a:moveTo>
                      <a:pt x="92" y="90"/>
                    </a:moveTo>
                    <a:lnTo>
                      <a:pt x="9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25"/>
                    </a:lnTo>
                    <a:lnTo>
                      <a:pt x="32" y="25"/>
                    </a:lnTo>
                    <a:lnTo>
                      <a:pt x="32" y="44"/>
                    </a:lnTo>
                    <a:lnTo>
                      <a:pt x="83" y="44"/>
                    </a:lnTo>
                    <a:lnTo>
                      <a:pt x="83" y="69"/>
                    </a:lnTo>
                    <a:lnTo>
                      <a:pt x="32" y="69"/>
                    </a:lnTo>
                    <a:lnTo>
                      <a:pt x="32" y="90"/>
                    </a:lnTo>
                    <a:lnTo>
                      <a:pt x="92" y="90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21">
                <a:extLst>
                  <a:ext uri="{FF2B5EF4-FFF2-40B4-BE49-F238E27FC236}">
                    <a16:creationId xmlns:a16="http://schemas.microsoft.com/office/drawing/2014/main" id="{8D71F938-342E-4149-A82B-C782B85BA67C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934704" y="1535113"/>
                <a:ext cx="82550" cy="90487"/>
              </a:xfrm>
              <a:custGeom>
                <a:avLst/>
                <a:gdLst>
                  <a:gd name="T0" fmla="*/ 79 w 104"/>
                  <a:gd name="T1" fmla="*/ 5 h 115"/>
                  <a:gd name="T2" fmla="*/ 79 w 104"/>
                  <a:gd name="T3" fmla="*/ 5 h 115"/>
                  <a:gd name="T4" fmla="*/ 85 w 104"/>
                  <a:gd name="T5" fmla="*/ 8 h 115"/>
                  <a:gd name="T6" fmla="*/ 90 w 104"/>
                  <a:gd name="T7" fmla="*/ 12 h 115"/>
                  <a:gd name="T8" fmla="*/ 94 w 104"/>
                  <a:gd name="T9" fmla="*/ 16 h 115"/>
                  <a:gd name="T10" fmla="*/ 98 w 104"/>
                  <a:gd name="T11" fmla="*/ 20 h 115"/>
                  <a:gd name="T12" fmla="*/ 98 w 104"/>
                  <a:gd name="T13" fmla="*/ 20 h 115"/>
                  <a:gd name="T14" fmla="*/ 101 w 104"/>
                  <a:gd name="T15" fmla="*/ 27 h 115"/>
                  <a:gd name="T16" fmla="*/ 104 w 104"/>
                  <a:gd name="T17" fmla="*/ 35 h 115"/>
                  <a:gd name="T18" fmla="*/ 104 w 104"/>
                  <a:gd name="T19" fmla="*/ 43 h 115"/>
                  <a:gd name="T20" fmla="*/ 104 w 104"/>
                  <a:gd name="T21" fmla="*/ 51 h 115"/>
                  <a:gd name="T22" fmla="*/ 102 w 104"/>
                  <a:gd name="T23" fmla="*/ 59 h 115"/>
                  <a:gd name="T24" fmla="*/ 98 w 104"/>
                  <a:gd name="T25" fmla="*/ 66 h 115"/>
                  <a:gd name="T26" fmla="*/ 93 w 104"/>
                  <a:gd name="T27" fmla="*/ 72 h 115"/>
                  <a:gd name="T28" fmla="*/ 87 w 104"/>
                  <a:gd name="T29" fmla="*/ 77 h 115"/>
                  <a:gd name="T30" fmla="*/ 87 w 104"/>
                  <a:gd name="T31" fmla="*/ 77 h 115"/>
                  <a:gd name="T32" fmla="*/ 79 w 104"/>
                  <a:gd name="T33" fmla="*/ 81 h 115"/>
                  <a:gd name="T34" fmla="*/ 79 w 104"/>
                  <a:gd name="T35" fmla="*/ 81 h 115"/>
                  <a:gd name="T36" fmla="*/ 72 w 104"/>
                  <a:gd name="T37" fmla="*/ 83 h 115"/>
                  <a:gd name="T38" fmla="*/ 66 w 104"/>
                  <a:gd name="T39" fmla="*/ 85 h 115"/>
                  <a:gd name="T40" fmla="*/ 59 w 104"/>
                  <a:gd name="T41" fmla="*/ 85 h 115"/>
                  <a:gd name="T42" fmla="*/ 52 w 104"/>
                  <a:gd name="T43" fmla="*/ 86 h 115"/>
                  <a:gd name="T44" fmla="*/ 32 w 104"/>
                  <a:gd name="T45" fmla="*/ 86 h 115"/>
                  <a:gd name="T46" fmla="*/ 32 w 104"/>
                  <a:gd name="T47" fmla="*/ 115 h 115"/>
                  <a:gd name="T48" fmla="*/ 0 w 104"/>
                  <a:gd name="T49" fmla="*/ 115 h 115"/>
                  <a:gd name="T50" fmla="*/ 0 w 104"/>
                  <a:gd name="T51" fmla="*/ 0 h 115"/>
                  <a:gd name="T52" fmla="*/ 52 w 104"/>
                  <a:gd name="T53" fmla="*/ 0 h 115"/>
                  <a:gd name="T54" fmla="*/ 52 w 104"/>
                  <a:gd name="T55" fmla="*/ 0 h 115"/>
                  <a:gd name="T56" fmla="*/ 59 w 104"/>
                  <a:gd name="T57" fmla="*/ 1 h 115"/>
                  <a:gd name="T58" fmla="*/ 66 w 104"/>
                  <a:gd name="T59" fmla="*/ 2 h 115"/>
                  <a:gd name="T60" fmla="*/ 73 w 104"/>
                  <a:gd name="T61" fmla="*/ 3 h 115"/>
                  <a:gd name="T62" fmla="*/ 79 w 104"/>
                  <a:gd name="T63" fmla="*/ 5 h 115"/>
                  <a:gd name="T64" fmla="*/ 79 w 104"/>
                  <a:gd name="T65" fmla="*/ 5 h 115"/>
                  <a:gd name="T66" fmla="*/ 65 w 104"/>
                  <a:gd name="T67" fmla="*/ 56 h 115"/>
                  <a:gd name="T68" fmla="*/ 65 w 104"/>
                  <a:gd name="T69" fmla="*/ 56 h 115"/>
                  <a:gd name="T70" fmla="*/ 67 w 104"/>
                  <a:gd name="T71" fmla="*/ 53 h 115"/>
                  <a:gd name="T72" fmla="*/ 69 w 104"/>
                  <a:gd name="T73" fmla="*/ 50 h 115"/>
                  <a:gd name="T74" fmla="*/ 70 w 104"/>
                  <a:gd name="T75" fmla="*/ 46 h 115"/>
                  <a:gd name="T76" fmla="*/ 70 w 104"/>
                  <a:gd name="T77" fmla="*/ 43 h 115"/>
                  <a:gd name="T78" fmla="*/ 70 w 104"/>
                  <a:gd name="T79" fmla="*/ 43 h 115"/>
                  <a:gd name="T80" fmla="*/ 70 w 104"/>
                  <a:gd name="T81" fmla="*/ 39 h 115"/>
                  <a:gd name="T82" fmla="*/ 69 w 104"/>
                  <a:gd name="T83" fmla="*/ 36 h 115"/>
                  <a:gd name="T84" fmla="*/ 67 w 104"/>
                  <a:gd name="T85" fmla="*/ 33 h 115"/>
                  <a:gd name="T86" fmla="*/ 65 w 104"/>
                  <a:gd name="T87" fmla="*/ 30 h 115"/>
                  <a:gd name="T88" fmla="*/ 65 w 104"/>
                  <a:gd name="T89" fmla="*/ 30 h 115"/>
                  <a:gd name="T90" fmla="*/ 62 w 104"/>
                  <a:gd name="T91" fmla="*/ 28 h 115"/>
                  <a:gd name="T92" fmla="*/ 58 w 104"/>
                  <a:gd name="T93" fmla="*/ 27 h 115"/>
                  <a:gd name="T94" fmla="*/ 54 w 104"/>
                  <a:gd name="T95" fmla="*/ 26 h 115"/>
                  <a:gd name="T96" fmla="*/ 50 w 104"/>
                  <a:gd name="T97" fmla="*/ 26 h 115"/>
                  <a:gd name="T98" fmla="*/ 32 w 104"/>
                  <a:gd name="T99" fmla="*/ 26 h 115"/>
                  <a:gd name="T100" fmla="*/ 32 w 104"/>
                  <a:gd name="T101" fmla="*/ 60 h 115"/>
                  <a:gd name="T102" fmla="*/ 50 w 104"/>
                  <a:gd name="T103" fmla="*/ 60 h 115"/>
                  <a:gd name="T104" fmla="*/ 50 w 104"/>
                  <a:gd name="T105" fmla="*/ 60 h 115"/>
                  <a:gd name="T106" fmla="*/ 54 w 104"/>
                  <a:gd name="T107" fmla="*/ 60 h 115"/>
                  <a:gd name="T108" fmla="*/ 58 w 104"/>
                  <a:gd name="T109" fmla="*/ 59 h 115"/>
                  <a:gd name="T110" fmla="*/ 62 w 104"/>
                  <a:gd name="T111" fmla="*/ 58 h 115"/>
                  <a:gd name="T112" fmla="*/ 65 w 104"/>
                  <a:gd name="T113" fmla="*/ 56 h 115"/>
                  <a:gd name="T114" fmla="*/ 65 w 104"/>
                  <a:gd name="T115" fmla="*/ 56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04" h="115">
                    <a:moveTo>
                      <a:pt x="79" y="5"/>
                    </a:moveTo>
                    <a:lnTo>
                      <a:pt x="79" y="5"/>
                    </a:lnTo>
                    <a:lnTo>
                      <a:pt x="85" y="8"/>
                    </a:lnTo>
                    <a:lnTo>
                      <a:pt x="90" y="12"/>
                    </a:lnTo>
                    <a:lnTo>
                      <a:pt x="94" y="16"/>
                    </a:lnTo>
                    <a:lnTo>
                      <a:pt x="98" y="20"/>
                    </a:lnTo>
                    <a:lnTo>
                      <a:pt x="98" y="20"/>
                    </a:lnTo>
                    <a:lnTo>
                      <a:pt x="101" y="27"/>
                    </a:lnTo>
                    <a:lnTo>
                      <a:pt x="104" y="35"/>
                    </a:lnTo>
                    <a:lnTo>
                      <a:pt x="104" y="43"/>
                    </a:lnTo>
                    <a:lnTo>
                      <a:pt x="104" y="51"/>
                    </a:lnTo>
                    <a:lnTo>
                      <a:pt x="102" y="59"/>
                    </a:lnTo>
                    <a:lnTo>
                      <a:pt x="98" y="66"/>
                    </a:lnTo>
                    <a:lnTo>
                      <a:pt x="93" y="72"/>
                    </a:lnTo>
                    <a:lnTo>
                      <a:pt x="87" y="77"/>
                    </a:lnTo>
                    <a:lnTo>
                      <a:pt x="87" y="77"/>
                    </a:lnTo>
                    <a:lnTo>
                      <a:pt x="79" y="81"/>
                    </a:lnTo>
                    <a:lnTo>
                      <a:pt x="79" y="81"/>
                    </a:lnTo>
                    <a:lnTo>
                      <a:pt x="72" y="83"/>
                    </a:lnTo>
                    <a:lnTo>
                      <a:pt x="66" y="85"/>
                    </a:lnTo>
                    <a:lnTo>
                      <a:pt x="59" y="85"/>
                    </a:lnTo>
                    <a:lnTo>
                      <a:pt x="52" y="86"/>
                    </a:lnTo>
                    <a:lnTo>
                      <a:pt x="32" y="86"/>
                    </a:lnTo>
                    <a:lnTo>
                      <a:pt x="3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52" y="0"/>
                    </a:lnTo>
                    <a:lnTo>
                      <a:pt x="52" y="0"/>
                    </a:lnTo>
                    <a:lnTo>
                      <a:pt x="59" y="1"/>
                    </a:lnTo>
                    <a:lnTo>
                      <a:pt x="66" y="2"/>
                    </a:lnTo>
                    <a:lnTo>
                      <a:pt x="73" y="3"/>
                    </a:lnTo>
                    <a:lnTo>
                      <a:pt x="79" y="5"/>
                    </a:lnTo>
                    <a:lnTo>
                      <a:pt x="79" y="5"/>
                    </a:lnTo>
                    <a:close/>
                    <a:moveTo>
                      <a:pt x="65" y="56"/>
                    </a:moveTo>
                    <a:lnTo>
                      <a:pt x="65" y="56"/>
                    </a:lnTo>
                    <a:lnTo>
                      <a:pt x="67" y="53"/>
                    </a:lnTo>
                    <a:lnTo>
                      <a:pt x="69" y="50"/>
                    </a:lnTo>
                    <a:lnTo>
                      <a:pt x="70" y="46"/>
                    </a:lnTo>
                    <a:lnTo>
                      <a:pt x="70" y="43"/>
                    </a:lnTo>
                    <a:lnTo>
                      <a:pt x="70" y="43"/>
                    </a:lnTo>
                    <a:lnTo>
                      <a:pt x="70" y="39"/>
                    </a:lnTo>
                    <a:lnTo>
                      <a:pt x="69" y="36"/>
                    </a:lnTo>
                    <a:lnTo>
                      <a:pt x="67" y="33"/>
                    </a:lnTo>
                    <a:lnTo>
                      <a:pt x="65" y="30"/>
                    </a:lnTo>
                    <a:lnTo>
                      <a:pt x="65" y="30"/>
                    </a:lnTo>
                    <a:lnTo>
                      <a:pt x="62" y="28"/>
                    </a:lnTo>
                    <a:lnTo>
                      <a:pt x="58" y="27"/>
                    </a:lnTo>
                    <a:lnTo>
                      <a:pt x="54" y="26"/>
                    </a:lnTo>
                    <a:lnTo>
                      <a:pt x="50" y="26"/>
                    </a:lnTo>
                    <a:lnTo>
                      <a:pt x="32" y="26"/>
                    </a:lnTo>
                    <a:lnTo>
                      <a:pt x="32" y="60"/>
                    </a:lnTo>
                    <a:lnTo>
                      <a:pt x="50" y="60"/>
                    </a:lnTo>
                    <a:lnTo>
                      <a:pt x="50" y="60"/>
                    </a:lnTo>
                    <a:lnTo>
                      <a:pt x="54" y="60"/>
                    </a:lnTo>
                    <a:lnTo>
                      <a:pt x="58" y="59"/>
                    </a:lnTo>
                    <a:lnTo>
                      <a:pt x="62" y="58"/>
                    </a:lnTo>
                    <a:lnTo>
                      <a:pt x="65" y="56"/>
                    </a:lnTo>
                    <a:lnTo>
                      <a:pt x="65" y="56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22">
                <a:extLst>
                  <a:ext uri="{FF2B5EF4-FFF2-40B4-BE49-F238E27FC236}">
                    <a16:creationId xmlns:a16="http://schemas.microsoft.com/office/drawing/2014/main" id="{068698B7-9AE5-4C61-94F8-6278606545B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029954" y="1535113"/>
                <a:ext cx="74613" cy="90487"/>
              </a:xfrm>
              <a:custGeom>
                <a:avLst/>
                <a:gdLst>
                  <a:gd name="T0" fmla="*/ 93 w 93"/>
                  <a:gd name="T1" fmla="*/ 90 h 115"/>
                  <a:gd name="T2" fmla="*/ 93 w 93"/>
                  <a:gd name="T3" fmla="*/ 115 h 115"/>
                  <a:gd name="T4" fmla="*/ 0 w 93"/>
                  <a:gd name="T5" fmla="*/ 115 h 115"/>
                  <a:gd name="T6" fmla="*/ 0 w 93"/>
                  <a:gd name="T7" fmla="*/ 0 h 115"/>
                  <a:gd name="T8" fmla="*/ 91 w 93"/>
                  <a:gd name="T9" fmla="*/ 0 h 115"/>
                  <a:gd name="T10" fmla="*/ 91 w 93"/>
                  <a:gd name="T11" fmla="*/ 25 h 115"/>
                  <a:gd name="T12" fmla="*/ 32 w 93"/>
                  <a:gd name="T13" fmla="*/ 25 h 115"/>
                  <a:gd name="T14" fmla="*/ 32 w 93"/>
                  <a:gd name="T15" fmla="*/ 44 h 115"/>
                  <a:gd name="T16" fmla="*/ 83 w 93"/>
                  <a:gd name="T17" fmla="*/ 44 h 115"/>
                  <a:gd name="T18" fmla="*/ 83 w 93"/>
                  <a:gd name="T19" fmla="*/ 69 h 115"/>
                  <a:gd name="T20" fmla="*/ 32 w 93"/>
                  <a:gd name="T21" fmla="*/ 69 h 115"/>
                  <a:gd name="T22" fmla="*/ 32 w 93"/>
                  <a:gd name="T23" fmla="*/ 90 h 115"/>
                  <a:gd name="T24" fmla="*/ 93 w 93"/>
                  <a:gd name="T25" fmla="*/ 9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3" h="115">
                    <a:moveTo>
                      <a:pt x="93" y="90"/>
                    </a:moveTo>
                    <a:lnTo>
                      <a:pt x="93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91" y="0"/>
                    </a:lnTo>
                    <a:lnTo>
                      <a:pt x="91" y="25"/>
                    </a:lnTo>
                    <a:lnTo>
                      <a:pt x="32" y="25"/>
                    </a:lnTo>
                    <a:lnTo>
                      <a:pt x="32" y="44"/>
                    </a:lnTo>
                    <a:lnTo>
                      <a:pt x="83" y="44"/>
                    </a:lnTo>
                    <a:lnTo>
                      <a:pt x="83" y="69"/>
                    </a:lnTo>
                    <a:lnTo>
                      <a:pt x="32" y="69"/>
                    </a:lnTo>
                    <a:lnTo>
                      <a:pt x="32" y="90"/>
                    </a:lnTo>
                    <a:lnTo>
                      <a:pt x="93" y="90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23">
                <a:extLst>
                  <a:ext uri="{FF2B5EF4-FFF2-40B4-BE49-F238E27FC236}">
                    <a16:creationId xmlns:a16="http://schemas.microsoft.com/office/drawing/2014/main" id="{D138F644-5B90-489A-8BFB-B29C40F76C3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122029" y="1535113"/>
                <a:ext cx="122238" cy="90487"/>
              </a:xfrm>
              <a:custGeom>
                <a:avLst/>
                <a:gdLst>
                  <a:gd name="T0" fmla="*/ 155 w 155"/>
                  <a:gd name="T1" fmla="*/ 0 h 115"/>
                  <a:gd name="T2" fmla="*/ 155 w 155"/>
                  <a:gd name="T3" fmla="*/ 115 h 115"/>
                  <a:gd name="T4" fmla="*/ 0 w 155"/>
                  <a:gd name="T5" fmla="*/ 115 h 115"/>
                  <a:gd name="T6" fmla="*/ 0 w 155"/>
                  <a:gd name="T7" fmla="*/ 0 h 115"/>
                  <a:gd name="T8" fmla="*/ 31 w 155"/>
                  <a:gd name="T9" fmla="*/ 0 h 115"/>
                  <a:gd name="T10" fmla="*/ 31 w 155"/>
                  <a:gd name="T11" fmla="*/ 90 h 115"/>
                  <a:gd name="T12" fmla="*/ 61 w 155"/>
                  <a:gd name="T13" fmla="*/ 90 h 115"/>
                  <a:gd name="T14" fmla="*/ 61 w 155"/>
                  <a:gd name="T15" fmla="*/ 0 h 115"/>
                  <a:gd name="T16" fmla="*/ 93 w 155"/>
                  <a:gd name="T17" fmla="*/ 0 h 115"/>
                  <a:gd name="T18" fmla="*/ 93 w 155"/>
                  <a:gd name="T19" fmla="*/ 90 h 115"/>
                  <a:gd name="T20" fmla="*/ 123 w 155"/>
                  <a:gd name="T21" fmla="*/ 90 h 115"/>
                  <a:gd name="T22" fmla="*/ 123 w 155"/>
                  <a:gd name="T23" fmla="*/ 0 h 115"/>
                  <a:gd name="T24" fmla="*/ 155 w 155"/>
                  <a:gd name="T25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5" h="115">
                    <a:moveTo>
                      <a:pt x="155" y="0"/>
                    </a:moveTo>
                    <a:lnTo>
                      <a:pt x="155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1" y="0"/>
                    </a:lnTo>
                    <a:lnTo>
                      <a:pt x="31" y="90"/>
                    </a:lnTo>
                    <a:lnTo>
                      <a:pt x="61" y="90"/>
                    </a:lnTo>
                    <a:lnTo>
                      <a:pt x="61" y="0"/>
                    </a:lnTo>
                    <a:lnTo>
                      <a:pt x="93" y="0"/>
                    </a:lnTo>
                    <a:lnTo>
                      <a:pt x="93" y="90"/>
                    </a:lnTo>
                    <a:lnTo>
                      <a:pt x="123" y="90"/>
                    </a:lnTo>
                    <a:lnTo>
                      <a:pt x="123" y="0"/>
                    </a:lnTo>
                    <a:lnTo>
                      <a:pt x="155" y="0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24">
                <a:extLst>
                  <a:ext uri="{FF2B5EF4-FFF2-40B4-BE49-F238E27FC236}">
                    <a16:creationId xmlns:a16="http://schemas.microsoft.com/office/drawing/2014/main" id="{F3D7F111-9E20-450D-96E5-CA7A01F858B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268079" y="1535113"/>
                <a:ext cx="71438" cy="90487"/>
              </a:xfrm>
              <a:custGeom>
                <a:avLst/>
                <a:gdLst>
                  <a:gd name="T0" fmla="*/ 92 w 92"/>
                  <a:gd name="T1" fmla="*/ 90 h 115"/>
                  <a:gd name="T2" fmla="*/ 92 w 92"/>
                  <a:gd name="T3" fmla="*/ 115 h 115"/>
                  <a:gd name="T4" fmla="*/ 0 w 92"/>
                  <a:gd name="T5" fmla="*/ 115 h 115"/>
                  <a:gd name="T6" fmla="*/ 0 w 92"/>
                  <a:gd name="T7" fmla="*/ 0 h 115"/>
                  <a:gd name="T8" fmla="*/ 90 w 92"/>
                  <a:gd name="T9" fmla="*/ 0 h 115"/>
                  <a:gd name="T10" fmla="*/ 90 w 92"/>
                  <a:gd name="T11" fmla="*/ 25 h 115"/>
                  <a:gd name="T12" fmla="*/ 32 w 92"/>
                  <a:gd name="T13" fmla="*/ 25 h 115"/>
                  <a:gd name="T14" fmla="*/ 32 w 92"/>
                  <a:gd name="T15" fmla="*/ 44 h 115"/>
                  <a:gd name="T16" fmla="*/ 83 w 92"/>
                  <a:gd name="T17" fmla="*/ 44 h 115"/>
                  <a:gd name="T18" fmla="*/ 83 w 92"/>
                  <a:gd name="T19" fmla="*/ 69 h 115"/>
                  <a:gd name="T20" fmla="*/ 32 w 92"/>
                  <a:gd name="T21" fmla="*/ 69 h 115"/>
                  <a:gd name="T22" fmla="*/ 32 w 92"/>
                  <a:gd name="T23" fmla="*/ 90 h 115"/>
                  <a:gd name="T24" fmla="*/ 92 w 92"/>
                  <a:gd name="T25" fmla="*/ 9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2" h="115">
                    <a:moveTo>
                      <a:pt x="92" y="90"/>
                    </a:moveTo>
                    <a:lnTo>
                      <a:pt x="9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25"/>
                    </a:lnTo>
                    <a:lnTo>
                      <a:pt x="32" y="25"/>
                    </a:lnTo>
                    <a:lnTo>
                      <a:pt x="32" y="44"/>
                    </a:lnTo>
                    <a:lnTo>
                      <a:pt x="83" y="44"/>
                    </a:lnTo>
                    <a:lnTo>
                      <a:pt x="83" y="69"/>
                    </a:lnTo>
                    <a:lnTo>
                      <a:pt x="32" y="69"/>
                    </a:lnTo>
                    <a:lnTo>
                      <a:pt x="32" y="90"/>
                    </a:lnTo>
                    <a:lnTo>
                      <a:pt x="92" y="90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25">
                <a:extLst>
                  <a:ext uri="{FF2B5EF4-FFF2-40B4-BE49-F238E27FC236}">
                    <a16:creationId xmlns:a16="http://schemas.microsoft.com/office/drawing/2014/main" id="{90C01438-3060-48DE-9856-F82383B539C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358566" y="1535113"/>
                <a:ext cx="85725" cy="90487"/>
              </a:xfrm>
              <a:custGeom>
                <a:avLst/>
                <a:gdLst>
                  <a:gd name="T0" fmla="*/ 109 w 109"/>
                  <a:gd name="T1" fmla="*/ 0 h 115"/>
                  <a:gd name="T2" fmla="*/ 109 w 109"/>
                  <a:gd name="T3" fmla="*/ 115 h 115"/>
                  <a:gd name="T4" fmla="*/ 77 w 109"/>
                  <a:gd name="T5" fmla="*/ 115 h 115"/>
                  <a:gd name="T6" fmla="*/ 77 w 109"/>
                  <a:gd name="T7" fmla="*/ 71 h 115"/>
                  <a:gd name="T8" fmla="*/ 32 w 109"/>
                  <a:gd name="T9" fmla="*/ 71 h 115"/>
                  <a:gd name="T10" fmla="*/ 32 w 109"/>
                  <a:gd name="T11" fmla="*/ 115 h 115"/>
                  <a:gd name="T12" fmla="*/ 0 w 109"/>
                  <a:gd name="T13" fmla="*/ 115 h 115"/>
                  <a:gd name="T14" fmla="*/ 0 w 109"/>
                  <a:gd name="T15" fmla="*/ 0 h 115"/>
                  <a:gd name="T16" fmla="*/ 32 w 109"/>
                  <a:gd name="T17" fmla="*/ 0 h 115"/>
                  <a:gd name="T18" fmla="*/ 32 w 109"/>
                  <a:gd name="T19" fmla="*/ 43 h 115"/>
                  <a:gd name="T20" fmla="*/ 77 w 109"/>
                  <a:gd name="T21" fmla="*/ 43 h 115"/>
                  <a:gd name="T22" fmla="*/ 77 w 109"/>
                  <a:gd name="T23" fmla="*/ 0 h 115"/>
                  <a:gd name="T24" fmla="*/ 109 w 109"/>
                  <a:gd name="T25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9" h="115">
                    <a:moveTo>
                      <a:pt x="109" y="0"/>
                    </a:moveTo>
                    <a:lnTo>
                      <a:pt x="109" y="115"/>
                    </a:lnTo>
                    <a:lnTo>
                      <a:pt x="77" y="115"/>
                    </a:lnTo>
                    <a:lnTo>
                      <a:pt x="77" y="71"/>
                    </a:lnTo>
                    <a:lnTo>
                      <a:pt x="32" y="71"/>
                    </a:lnTo>
                    <a:lnTo>
                      <a:pt x="3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2" y="0"/>
                    </a:lnTo>
                    <a:lnTo>
                      <a:pt x="32" y="43"/>
                    </a:lnTo>
                    <a:lnTo>
                      <a:pt x="77" y="43"/>
                    </a:lnTo>
                    <a:lnTo>
                      <a:pt x="77" y="0"/>
                    </a:lnTo>
                    <a:lnTo>
                      <a:pt x="109" y="0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26">
                <a:extLst>
                  <a:ext uri="{FF2B5EF4-FFF2-40B4-BE49-F238E27FC236}">
                    <a16:creationId xmlns:a16="http://schemas.microsoft.com/office/drawing/2014/main" id="{5CB13D9F-8D8F-49B9-BFAE-C5E9E2255F3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466516" y="1535113"/>
                <a:ext cx="87313" cy="90487"/>
              </a:xfrm>
              <a:custGeom>
                <a:avLst/>
                <a:gdLst>
                  <a:gd name="T0" fmla="*/ 0 w 110"/>
                  <a:gd name="T1" fmla="*/ 0 h 115"/>
                  <a:gd name="T2" fmla="*/ 32 w 110"/>
                  <a:gd name="T3" fmla="*/ 0 h 115"/>
                  <a:gd name="T4" fmla="*/ 32 w 110"/>
                  <a:gd name="T5" fmla="*/ 68 h 115"/>
                  <a:gd name="T6" fmla="*/ 80 w 110"/>
                  <a:gd name="T7" fmla="*/ 0 h 115"/>
                  <a:gd name="T8" fmla="*/ 110 w 110"/>
                  <a:gd name="T9" fmla="*/ 0 h 115"/>
                  <a:gd name="T10" fmla="*/ 110 w 110"/>
                  <a:gd name="T11" fmla="*/ 115 h 115"/>
                  <a:gd name="T12" fmla="*/ 78 w 110"/>
                  <a:gd name="T13" fmla="*/ 115 h 115"/>
                  <a:gd name="T14" fmla="*/ 78 w 110"/>
                  <a:gd name="T15" fmla="*/ 48 h 115"/>
                  <a:gd name="T16" fmla="*/ 30 w 110"/>
                  <a:gd name="T17" fmla="*/ 115 h 115"/>
                  <a:gd name="T18" fmla="*/ 0 w 110"/>
                  <a:gd name="T19" fmla="*/ 115 h 115"/>
                  <a:gd name="T20" fmla="*/ 0 w 110"/>
                  <a:gd name="T21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0" h="115">
                    <a:moveTo>
                      <a:pt x="0" y="0"/>
                    </a:moveTo>
                    <a:lnTo>
                      <a:pt x="32" y="0"/>
                    </a:lnTo>
                    <a:lnTo>
                      <a:pt x="32" y="68"/>
                    </a:lnTo>
                    <a:lnTo>
                      <a:pt x="80" y="0"/>
                    </a:lnTo>
                    <a:lnTo>
                      <a:pt x="110" y="0"/>
                    </a:lnTo>
                    <a:lnTo>
                      <a:pt x="110" y="115"/>
                    </a:lnTo>
                    <a:lnTo>
                      <a:pt x="78" y="115"/>
                    </a:lnTo>
                    <a:lnTo>
                      <a:pt x="78" y="48"/>
                    </a:lnTo>
                    <a:lnTo>
                      <a:pt x="30" y="115"/>
                    </a:lnTo>
                    <a:lnTo>
                      <a:pt x="0" y="11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27">
                <a:extLst>
                  <a:ext uri="{FF2B5EF4-FFF2-40B4-BE49-F238E27FC236}">
                    <a16:creationId xmlns:a16="http://schemas.microsoft.com/office/drawing/2014/main" id="{0C13833A-F1BF-46B0-9004-BC9E5026D77B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1571291" y="1535113"/>
                <a:ext cx="80963" cy="90487"/>
              </a:xfrm>
              <a:custGeom>
                <a:avLst/>
                <a:gdLst>
                  <a:gd name="T0" fmla="*/ 103 w 103"/>
                  <a:gd name="T1" fmla="*/ 0 h 115"/>
                  <a:gd name="T2" fmla="*/ 103 w 103"/>
                  <a:gd name="T3" fmla="*/ 115 h 115"/>
                  <a:gd name="T4" fmla="*/ 71 w 103"/>
                  <a:gd name="T5" fmla="*/ 115 h 115"/>
                  <a:gd name="T6" fmla="*/ 71 w 103"/>
                  <a:gd name="T7" fmla="*/ 87 h 115"/>
                  <a:gd name="T8" fmla="*/ 54 w 103"/>
                  <a:gd name="T9" fmla="*/ 87 h 115"/>
                  <a:gd name="T10" fmla="*/ 34 w 103"/>
                  <a:gd name="T11" fmla="*/ 115 h 115"/>
                  <a:gd name="T12" fmla="*/ 0 w 103"/>
                  <a:gd name="T13" fmla="*/ 115 h 115"/>
                  <a:gd name="T14" fmla="*/ 23 w 103"/>
                  <a:gd name="T15" fmla="*/ 82 h 115"/>
                  <a:gd name="T16" fmla="*/ 23 w 103"/>
                  <a:gd name="T17" fmla="*/ 82 h 115"/>
                  <a:gd name="T18" fmla="*/ 18 w 103"/>
                  <a:gd name="T19" fmla="*/ 79 h 115"/>
                  <a:gd name="T20" fmla="*/ 13 w 103"/>
                  <a:gd name="T21" fmla="*/ 76 h 115"/>
                  <a:gd name="T22" fmla="*/ 9 w 103"/>
                  <a:gd name="T23" fmla="*/ 72 h 115"/>
                  <a:gd name="T24" fmla="*/ 6 w 103"/>
                  <a:gd name="T25" fmla="*/ 67 h 115"/>
                  <a:gd name="T26" fmla="*/ 6 w 103"/>
                  <a:gd name="T27" fmla="*/ 67 h 115"/>
                  <a:gd name="T28" fmla="*/ 3 w 103"/>
                  <a:gd name="T29" fmla="*/ 62 h 115"/>
                  <a:gd name="T30" fmla="*/ 1 w 103"/>
                  <a:gd name="T31" fmla="*/ 57 h 115"/>
                  <a:gd name="T32" fmla="*/ 0 w 103"/>
                  <a:gd name="T33" fmla="*/ 51 h 115"/>
                  <a:gd name="T34" fmla="*/ 0 w 103"/>
                  <a:gd name="T35" fmla="*/ 44 h 115"/>
                  <a:gd name="T36" fmla="*/ 0 w 103"/>
                  <a:gd name="T37" fmla="*/ 44 h 115"/>
                  <a:gd name="T38" fmla="*/ 0 w 103"/>
                  <a:gd name="T39" fmla="*/ 38 h 115"/>
                  <a:gd name="T40" fmla="*/ 1 w 103"/>
                  <a:gd name="T41" fmla="*/ 32 h 115"/>
                  <a:gd name="T42" fmla="*/ 3 w 103"/>
                  <a:gd name="T43" fmla="*/ 26 h 115"/>
                  <a:gd name="T44" fmla="*/ 6 w 103"/>
                  <a:gd name="T45" fmla="*/ 21 h 115"/>
                  <a:gd name="T46" fmla="*/ 6 w 103"/>
                  <a:gd name="T47" fmla="*/ 21 h 115"/>
                  <a:gd name="T48" fmla="*/ 10 w 103"/>
                  <a:gd name="T49" fmla="*/ 16 h 115"/>
                  <a:gd name="T50" fmla="*/ 14 w 103"/>
                  <a:gd name="T51" fmla="*/ 12 h 115"/>
                  <a:gd name="T52" fmla="*/ 19 w 103"/>
                  <a:gd name="T53" fmla="*/ 8 h 115"/>
                  <a:gd name="T54" fmla="*/ 24 w 103"/>
                  <a:gd name="T55" fmla="*/ 6 h 115"/>
                  <a:gd name="T56" fmla="*/ 24 w 103"/>
                  <a:gd name="T57" fmla="*/ 6 h 115"/>
                  <a:gd name="T58" fmla="*/ 30 w 103"/>
                  <a:gd name="T59" fmla="*/ 3 h 115"/>
                  <a:gd name="T60" fmla="*/ 37 w 103"/>
                  <a:gd name="T61" fmla="*/ 2 h 115"/>
                  <a:gd name="T62" fmla="*/ 45 w 103"/>
                  <a:gd name="T63" fmla="*/ 1 h 115"/>
                  <a:gd name="T64" fmla="*/ 52 w 103"/>
                  <a:gd name="T65" fmla="*/ 1 h 115"/>
                  <a:gd name="T66" fmla="*/ 103 w 103"/>
                  <a:gd name="T67" fmla="*/ 0 h 115"/>
                  <a:gd name="T68" fmla="*/ 32 w 103"/>
                  <a:gd name="T69" fmla="*/ 43 h 115"/>
                  <a:gd name="T70" fmla="*/ 32 w 103"/>
                  <a:gd name="T71" fmla="*/ 43 h 115"/>
                  <a:gd name="T72" fmla="*/ 33 w 103"/>
                  <a:gd name="T73" fmla="*/ 48 h 115"/>
                  <a:gd name="T74" fmla="*/ 34 w 103"/>
                  <a:gd name="T75" fmla="*/ 51 h 115"/>
                  <a:gd name="T76" fmla="*/ 35 w 103"/>
                  <a:gd name="T77" fmla="*/ 54 h 115"/>
                  <a:gd name="T78" fmla="*/ 37 w 103"/>
                  <a:gd name="T79" fmla="*/ 57 h 115"/>
                  <a:gd name="T80" fmla="*/ 37 w 103"/>
                  <a:gd name="T81" fmla="*/ 57 h 115"/>
                  <a:gd name="T82" fmla="*/ 42 w 103"/>
                  <a:gd name="T83" fmla="*/ 59 h 115"/>
                  <a:gd name="T84" fmla="*/ 45 w 103"/>
                  <a:gd name="T85" fmla="*/ 61 h 115"/>
                  <a:gd name="T86" fmla="*/ 49 w 103"/>
                  <a:gd name="T87" fmla="*/ 62 h 115"/>
                  <a:gd name="T88" fmla="*/ 52 w 103"/>
                  <a:gd name="T89" fmla="*/ 62 h 115"/>
                  <a:gd name="T90" fmla="*/ 72 w 103"/>
                  <a:gd name="T91" fmla="*/ 62 h 115"/>
                  <a:gd name="T92" fmla="*/ 72 w 103"/>
                  <a:gd name="T93" fmla="*/ 26 h 115"/>
                  <a:gd name="T94" fmla="*/ 53 w 103"/>
                  <a:gd name="T95" fmla="*/ 26 h 115"/>
                  <a:gd name="T96" fmla="*/ 53 w 103"/>
                  <a:gd name="T97" fmla="*/ 26 h 115"/>
                  <a:gd name="T98" fmla="*/ 48 w 103"/>
                  <a:gd name="T99" fmla="*/ 26 h 115"/>
                  <a:gd name="T100" fmla="*/ 44 w 103"/>
                  <a:gd name="T101" fmla="*/ 27 h 115"/>
                  <a:gd name="T102" fmla="*/ 41 w 103"/>
                  <a:gd name="T103" fmla="*/ 28 h 115"/>
                  <a:gd name="T104" fmla="*/ 37 w 103"/>
                  <a:gd name="T105" fmla="*/ 30 h 115"/>
                  <a:gd name="T106" fmla="*/ 35 w 103"/>
                  <a:gd name="T107" fmla="*/ 32 h 115"/>
                  <a:gd name="T108" fmla="*/ 34 w 103"/>
                  <a:gd name="T109" fmla="*/ 35 h 115"/>
                  <a:gd name="T110" fmla="*/ 33 w 103"/>
                  <a:gd name="T111" fmla="*/ 39 h 115"/>
                  <a:gd name="T112" fmla="*/ 32 w 103"/>
                  <a:gd name="T113" fmla="*/ 43 h 115"/>
                  <a:gd name="T114" fmla="*/ 32 w 103"/>
                  <a:gd name="T115" fmla="*/ 43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03" h="115">
                    <a:moveTo>
                      <a:pt x="103" y="0"/>
                    </a:moveTo>
                    <a:lnTo>
                      <a:pt x="103" y="115"/>
                    </a:lnTo>
                    <a:lnTo>
                      <a:pt x="71" y="115"/>
                    </a:lnTo>
                    <a:lnTo>
                      <a:pt x="71" y="87"/>
                    </a:lnTo>
                    <a:lnTo>
                      <a:pt x="54" y="87"/>
                    </a:lnTo>
                    <a:lnTo>
                      <a:pt x="34" y="115"/>
                    </a:lnTo>
                    <a:lnTo>
                      <a:pt x="0" y="115"/>
                    </a:lnTo>
                    <a:lnTo>
                      <a:pt x="23" y="82"/>
                    </a:lnTo>
                    <a:lnTo>
                      <a:pt x="23" y="82"/>
                    </a:lnTo>
                    <a:lnTo>
                      <a:pt x="18" y="79"/>
                    </a:lnTo>
                    <a:lnTo>
                      <a:pt x="13" y="76"/>
                    </a:lnTo>
                    <a:lnTo>
                      <a:pt x="9" y="72"/>
                    </a:lnTo>
                    <a:lnTo>
                      <a:pt x="6" y="67"/>
                    </a:lnTo>
                    <a:lnTo>
                      <a:pt x="6" y="67"/>
                    </a:lnTo>
                    <a:lnTo>
                      <a:pt x="3" y="62"/>
                    </a:lnTo>
                    <a:lnTo>
                      <a:pt x="1" y="57"/>
                    </a:lnTo>
                    <a:lnTo>
                      <a:pt x="0" y="51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38"/>
                    </a:lnTo>
                    <a:lnTo>
                      <a:pt x="1" y="32"/>
                    </a:lnTo>
                    <a:lnTo>
                      <a:pt x="3" y="26"/>
                    </a:lnTo>
                    <a:lnTo>
                      <a:pt x="6" y="21"/>
                    </a:lnTo>
                    <a:lnTo>
                      <a:pt x="6" y="21"/>
                    </a:lnTo>
                    <a:lnTo>
                      <a:pt x="10" y="16"/>
                    </a:lnTo>
                    <a:lnTo>
                      <a:pt x="14" y="12"/>
                    </a:lnTo>
                    <a:lnTo>
                      <a:pt x="19" y="8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30" y="3"/>
                    </a:lnTo>
                    <a:lnTo>
                      <a:pt x="37" y="2"/>
                    </a:lnTo>
                    <a:lnTo>
                      <a:pt x="45" y="1"/>
                    </a:lnTo>
                    <a:lnTo>
                      <a:pt x="52" y="1"/>
                    </a:lnTo>
                    <a:lnTo>
                      <a:pt x="103" y="0"/>
                    </a:lnTo>
                    <a:close/>
                    <a:moveTo>
                      <a:pt x="32" y="43"/>
                    </a:moveTo>
                    <a:lnTo>
                      <a:pt x="32" y="43"/>
                    </a:lnTo>
                    <a:lnTo>
                      <a:pt x="33" y="48"/>
                    </a:lnTo>
                    <a:lnTo>
                      <a:pt x="34" y="51"/>
                    </a:lnTo>
                    <a:lnTo>
                      <a:pt x="35" y="54"/>
                    </a:lnTo>
                    <a:lnTo>
                      <a:pt x="37" y="57"/>
                    </a:lnTo>
                    <a:lnTo>
                      <a:pt x="37" y="57"/>
                    </a:lnTo>
                    <a:lnTo>
                      <a:pt x="42" y="59"/>
                    </a:lnTo>
                    <a:lnTo>
                      <a:pt x="45" y="61"/>
                    </a:lnTo>
                    <a:lnTo>
                      <a:pt x="49" y="62"/>
                    </a:lnTo>
                    <a:lnTo>
                      <a:pt x="52" y="62"/>
                    </a:lnTo>
                    <a:lnTo>
                      <a:pt x="72" y="62"/>
                    </a:lnTo>
                    <a:lnTo>
                      <a:pt x="72" y="26"/>
                    </a:lnTo>
                    <a:lnTo>
                      <a:pt x="53" y="26"/>
                    </a:lnTo>
                    <a:lnTo>
                      <a:pt x="53" y="26"/>
                    </a:lnTo>
                    <a:lnTo>
                      <a:pt x="48" y="26"/>
                    </a:lnTo>
                    <a:lnTo>
                      <a:pt x="44" y="27"/>
                    </a:lnTo>
                    <a:lnTo>
                      <a:pt x="41" y="28"/>
                    </a:lnTo>
                    <a:lnTo>
                      <a:pt x="37" y="30"/>
                    </a:lnTo>
                    <a:lnTo>
                      <a:pt x="35" y="32"/>
                    </a:lnTo>
                    <a:lnTo>
                      <a:pt x="34" y="35"/>
                    </a:lnTo>
                    <a:lnTo>
                      <a:pt x="33" y="39"/>
                    </a:lnTo>
                    <a:lnTo>
                      <a:pt x="32" y="43"/>
                    </a:lnTo>
                    <a:lnTo>
                      <a:pt x="32" y="43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AC6947DD-413C-4E4C-B57B-D75C1A0E4102}"/>
                </a:ext>
              </a:extLst>
            </p:cNvPr>
            <p:cNvGrpSpPr/>
            <p:nvPr userDrawn="1"/>
          </p:nvGrpSpPr>
          <p:grpSpPr>
            <a:xfrm>
              <a:off x="10332720" y="658368"/>
              <a:ext cx="670092" cy="617763"/>
              <a:chOff x="10301291" y="611188"/>
              <a:chExt cx="731838" cy="674687"/>
            </a:xfrm>
          </p:grpSpPr>
          <p:sp>
            <p:nvSpPr>
              <p:cNvPr id="70" name="Freeform 28">
                <a:extLst>
                  <a:ext uri="{FF2B5EF4-FFF2-40B4-BE49-F238E27FC236}">
                    <a16:creationId xmlns:a16="http://schemas.microsoft.com/office/drawing/2014/main" id="{57BC47B8-6DE5-4428-AC24-C4AF0211271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301291" y="611188"/>
                <a:ext cx="731838" cy="674687"/>
              </a:xfrm>
              <a:custGeom>
                <a:avLst/>
                <a:gdLst>
                  <a:gd name="T0" fmla="*/ 922 w 922"/>
                  <a:gd name="T1" fmla="*/ 0 h 850"/>
                  <a:gd name="T2" fmla="*/ 922 w 922"/>
                  <a:gd name="T3" fmla="*/ 850 h 850"/>
                  <a:gd name="T4" fmla="*/ 0 w 922"/>
                  <a:gd name="T5" fmla="*/ 850 h 850"/>
                  <a:gd name="T6" fmla="*/ 922 w 922"/>
                  <a:gd name="T7" fmla="*/ 0 h 8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22" h="850">
                    <a:moveTo>
                      <a:pt x="922" y="0"/>
                    </a:moveTo>
                    <a:lnTo>
                      <a:pt x="922" y="850"/>
                    </a:lnTo>
                    <a:lnTo>
                      <a:pt x="0" y="850"/>
                    </a:lnTo>
                    <a:lnTo>
                      <a:pt x="922" y="0"/>
                    </a:lnTo>
                    <a:close/>
                  </a:path>
                </a:pathLst>
              </a:custGeom>
              <a:solidFill>
                <a:srgbClr val="46AC4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29">
                <a:extLst>
                  <a:ext uri="{FF2B5EF4-FFF2-40B4-BE49-F238E27FC236}">
                    <a16:creationId xmlns:a16="http://schemas.microsoft.com/office/drawing/2014/main" id="{152F09B0-652C-499D-BEDB-B991D86005B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877554" y="611188"/>
                <a:ext cx="155575" cy="674687"/>
              </a:xfrm>
              <a:custGeom>
                <a:avLst/>
                <a:gdLst>
                  <a:gd name="T0" fmla="*/ 196 w 196"/>
                  <a:gd name="T1" fmla="*/ 0 h 850"/>
                  <a:gd name="T2" fmla="*/ 196 w 196"/>
                  <a:gd name="T3" fmla="*/ 850 h 850"/>
                  <a:gd name="T4" fmla="*/ 0 w 196"/>
                  <a:gd name="T5" fmla="*/ 850 h 850"/>
                  <a:gd name="T6" fmla="*/ 0 w 196"/>
                  <a:gd name="T7" fmla="*/ 181 h 850"/>
                  <a:gd name="T8" fmla="*/ 196 w 196"/>
                  <a:gd name="T9" fmla="*/ 0 h 8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6" h="850">
                    <a:moveTo>
                      <a:pt x="196" y="0"/>
                    </a:moveTo>
                    <a:lnTo>
                      <a:pt x="196" y="850"/>
                    </a:lnTo>
                    <a:lnTo>
                      <a:pt x="0" y="850"/>
                    </a:lnTo>
                    <a:lnTo>
                      <a:pt x="0" y="181"/>
                    </a:lnTo>
                    <a:lnTo>
                      <a:pt x="196" y="0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30">
                <a:extLst>
                  <a:ext uri="{FF2B5EF4-FFF2-40B4-BE49-F238E27FC236}">
                    <a16:creationId xmlns:a16="http://schemas.microsoft.com/office/drawing/2014/main" id="{114D9748-82E5-4FE5-BBE0-9EC6D3CAA0F0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301291" y="625475"/>
                <a:ext cx="493713" cy="660400"/>
              </a:xfrm>
              <a:custGeom>
                <a:avLst/>
                <a:gdLst>
                  <a:gd name="T0" fmla="*/ 339 w 622"/>
                  <a:gd name="T1" fmla="*/ 302 h 833"/>
                  <a:gd name="T2" fmla="*/ 366 w 622"/>
                  <a:gd name="T3" fmla="*/ 303 h 833"/>
                  <a:gd name="T4" fmla="*/ 419 w 622"/>
                  <a:gd name="T5" fmla="*/ 309 h 833"/>
                  <a:gd name="T6" fmla="*/ 447 w 622"/>
                  <a:gd name="T7" fmla="*/ 315 h 833"/>
                  <a:gd name="T8" fmla="*/ 493 w 622"/>
                  <a:gd name="T9" fmla="*/ 332 h 833"/>
                  <a:gd name="T10" fmla="*/ 536 w 622"/>
                  <a:gd name="T11" fmla="*/ 358 h 833"/>
                  <a:gd name="T12" fmla="*/ 546 w 622"/>
                  <a:gd name="T13" fmla="*/ 366 h 833"/>
                  <a:gd name="T14" fmla="*/ 564 w 622"/>
                  <a:gd name="T15" fmla="*/ 383 h 833"/>
                  <a:gd name="T16" fmla="*/ 580 w 622"/>
                  <a:gd name="T17" fmla="*/ 404 h 833"/>
                  <a:gd name="T18" fmla="*/ 594 w 622"/>
                  <a:gd name="T19" fmla="*/ 428 h 833"/>
                  <a:gd name="T20" fmla="*/ 600 w 622"/>
                  <a:gd name="T21" fmla="*/ 440 h 833"/>
                  <a:gd name="T22" fmla="*/ 609 w 622"/>
                  <a:gd name="T23" fmla="*/ 468 h 833"/>
                  <a:gd name="T24" fmla="*/ 616 w 622"/>
                  <a:gd name="T25" fmla="*/ 500 h 833"/>
                  <a:gd name="T26" fmla="*/ 620 w 622"/>
                  <a:gd name="T27" fmla="*/ 532 h 833"/>
                  <a:gd name="T28" fmla="*/ 622 w 622"/>
                  <a:gd name="T29" fmla="*/ 568 h 833"/>
                  <a:gd name="T30" fmla="*/ 621 w 622"/>
                  <a:gd name="T31" fmla="*/ 586 h 833"/>
                  <a:gd name="T32" fmla="*/ 619 w 622"/>
                  <a:gd name="T33" fmla="*/ 620 h 833"/>
                  <a:gd name="T34" fmla="*/ 613 w 622"/>
                  <a:gd name="T35" fmla="*/ 653 h 833"/>
                  <a:gd name="T36" fmla="*/ 605 w 622"/>
                  <a:gd name="T37" fmla="*/ 682 h 833"/>
                  <a:gd name="T38" fmla="*/ 600 w 622"/>
                  <a:gd name="T39" fmla="*/ 695 h 833"/>
                  <a:gd name="T40" fmla="*/ 587 w 622"/>
                  <a:gd name="T41" fmla="*/ 720 h 833"/>
                  <a:gd name="T42" fmla="*/ 573 w 622"/>
                  <a:gd name="T43" fmla="*/ 742 h 833"/>
                  <a:gd name="T44" fmla="*/ 555 w 622"/>
                  <a:gd name="T45" fmla="*/ 761 h 833"/>
                  <a:gd name="T46" fmla="*/ 536 w 622"/>
                  <a:gd name="T47" fmla="*/ 779 h 833"/>
                  <a:gd name="T48" fmla="*/ 515 w 622"/>
                  <a:gd name="T49" fmla="*/ 792 h 833"/>
                  <a:gd name="T50" fmla="*/ 470 w 622"/>
                  <a:gd name="T51" fmla="*/ 813 h 833"/>
                  <a:gd name="T52" fmla="*/ 447 w 622"/>
                  <a:gd name="T53" fmla="*/ 820 h 833"/>
                  <a:gd name="T54" fmla="*/ 392 w 622"/>
                  <a:gd name="T55" fmla="*/ 830 h 833"/>
                  <a:gd name="T56" fmla="*/ 338 w 622"/>
                  <a:gd name="T57" fmla="*/ 833 h 833"/>
                  <a:gd name="T58" fmla="*/ 0 w 622"/>
                  <a:gd name="T59" fmla="*/ 0 h 833"/>
                  <a:gd name="T60" fmla="*/ 558 w 622"/>
                  <a:gd name="T61" fmla="*/ 187 h 833"/>
                  <a:gd name="T62" fmla="*/ 187 w 622"/>
                  <a:gd name="T63" fmla="*/ 302 h 833"/>
                  <a:gd name="T64" fmla="*/ 338 w 622"/>
                  <a:gd name="T65" fmla="*/ 661 h 833"/>
                  <a:gd name="T66" fmla="*/ 349 w 622"/>
                  <a:gd name="T67" fmla="*/ 660 h 833"/>
                  <a:gd name="T68" fmla="*/ 368 w 622"/>
                  <a:gd name="T69" fmla="*/ 658 h 833"/>
                  <a:gd name="T70" fmla="*/ 384 w 622"/>
                  <a:gd name="T71" fmla="*/ 652 h 833"/>
                  <a:gd name="T72" fmla="*/ 397 w 622"/>
                  <a:gd name="T73" fmla="*/ 644 h 833"/>
                  <a:gd name="T74" fmla="*/ 408 w 622"/>
                  <a:gd name="T75" fmla="*/ 634 h 833"/>
                  <a:gd name="T76" fmla="*/ 416 w 622"/>
                  <a:gd name="T77" fmla="*/ 620 h 833"/>
                  <a:gd name="T78" fmla="*/ 422 w 622"/>
                  <a:gd name="T79" fmla="*/ 604 h 833"/>
                  <a:gd name="T80" fmla="*/ 424 w 622"/>
                  <a:gd name="T81" fmla="*/ 586 h 833"/>
                  <a:gd name="T82" fmla="*/ 425 w 622"/>
                  <a:gd name="T83" fmla="*/ 575 h 833"/>
                  <a:gd name="T84" fmla="*/ 423 w 622"/>
                  <a:gd name="T85" fmla="*/ 556 h 833"/>
                  <a:gd name="T86" fmla="*/ 419 w 622"/>
                  <a:gd name="T87" fmla="*/ 539 h 833"/>
                  <a:gd name="T88" fmla="*/ 413 w 622"/>
                  <a:gd name="T89" fmla="*/ 524 h 833"/>
                  <a:gd name="T90" fmla="*/ 403 w 622"/>
                  <a:gd name="T91" fmla="*/ 512 h 833"/>
                  <a:gd name="T92" fmla="*/ 391 w 622"/>
                  <a:gd name="T93" fmla="*/ 503 h 833"/>
                  <a:gd name="T94" fmla="*/ 376 w 622"/>
                  <a:gd name="T95" fmla="*/ 497 h 833"/>
                  <a:gd name="T96" fmla="*/ 358 w 622"/>
                  <a:gd name="T97" fmla="*/ 493 h 833"/>
                  <a:gd name="T98" fmla="*/ 338 w 622"/>
                  <a:gd name="T99" fmla="*/ 491 h 833"/>
                  <a:gd name="T100" fmla="*/ 187 w 622"/>
                  <a:gd name="T101" fmla="*/ 661 h 8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622" h="833">
                    <a:moveTo>
                      <a:pt x="187" y="302"/>
                    </a:moveTo>
                    <a:lnTo>
                      <a:pt x="339" y="302"/>
                    </a:lnTo>
                    <a:lnTo>
                      <a:pt x="339" y="302"/>
                    </a:lnTo>
                    <a:lnTo>
                      <a:pt x="366" y="303"/>
                    </a:lnTo>
                    <a:lnTo>
                      <a:pt x="393" y="305"/>
                    </a:lnTo>
                    <a:lnTo>
                      <a:pt x="419" y="309"/>
                    </a:lnTo>
                    <a:lnTo>
                      <a:pt x="447" y="315"/>
                    </a:lnTo>
                    <a:lnTo>
                      <a:pt x="447" y="315"/>
                    </a:lnTo>
                    <a:lnTo>
                      <a:pt x="471" y="323"/>
                    </a:lnTo>
                    <a:lnTo>
                      <a:pt x="493" y="332"/>
                    </a:lnTo>
                    <a:lnTo>
                      <a:pt x="515" y="345"/>
                    </a:lnTo>
                    <a:lnTo>
                      <a:pt x="536" y="358"/>
                    </a:lnTo>
                    <a:lnTo>
                      <a:pt x="536" y="358"/>
                    </a:lnTo>
                    <a:lnTo>
                      <a:pt x="546" y="366"/>
                    </a:lnTo>
                    <a:lnTo>
                      <a:pt x="555" y="374"/>
                    </a:lnTo>
                    <a:lnTo>
                      <a:pt x="564" y="383"/>
                    </a:lnTo>
                    <a:lnTo>
                      <a:pt x="573" y="393"/>
                    </a:lnTo>
                    <a:lnTo>
                      <a:pt x="580" y="404"/>
                    </a:lnTo>
                    <a:lnTo>
                      <a:pt x="587" y="415"/>
                    </a:lnTo>
                    <a:lnTo>
                      <a:pt x="594" y="428"/>
                    </a:lnTo>
                    <a:lnTo>
                      <a:pt x="600" y="440"/>
                    </a:lnTo>
                    <a:lnTo>
                      <a:pt x="600" y="440"/>
                    </a:lnTo>
                    <a:lnTo>
                      <a:pt x="605" y="454"/>
                    </a:lnTo>
                    <a:lnTo>
                      <a:pt x="609" y="468"/>
                    </a:lnTo>
                    <a:lnTo>
                      <a:pt x="613" y="484"/>
                    </a:lnTo>
                    <a:lnTo>
                      <a:pt x="616" y="500"/>
                    </a:lnTo>
                    <a:lnTo>
                      <a:pt x="619" y="516"/>
                    </a:lnTo>
                    <a:lnTo>
                      <a:pt x="620" y="532"/>
                    </a:lnTo>
                    <a:lnTo>
                      <a:pt x="621" y="550"/>
                    </a:lnTo>
                    <a:lnTo>
                      <a:pt x="622" y="568"/>
                    </a:lnTo>
                    <a:lnTo>
                      <a:pt x="622" y="568"/>
                    </a:lnTo>
                    <a:lnTo>
                      <a:pt x="621" y="586"/>
                    </a:lnTo>
                    <a:lnTo>
                      <a:pt x="620" y="603"/>
                    </a:lnTo>
                    <a:lnTo>
                      <a:pt x="619" y="620"/>
                    </a:lnTo>
                    <a:lnTo>
                      <a:pt x="616" y="637"/>
                    </a:lnTo>
                    <a:lnTo>
                      <a:pt x="613" y="653"/>
                    </a:lnTo>
                    <a:lnTo>
                      <a:pt x="609" y="668"/>
                    </a:lnTo>
                    <a:lnTo>
                      <a:pt x="605" y="682"/>
                    </a:lnTo>
                    <a:lnTo>
                      <a:pt x="600" y="695"/>
                    </a:lnTo>
                    <a:lnTo>
                      <a:pt x="600" y="695"/>
                    </a:lnTo>
                    <a:lnTo>
                      <a:pt x="594" y="708"/>
                    </a:lnTo>
                    <a:lnTo>
                      <a:pt x="587" y="720"/>
                    </a:lnTo>
                    <a:lnTo>
                      <a:pt x="580" y="732"/>
                    </a:lnTo>
                    <a:lnTo>
                      <a:pt x="573" y="742"/>
                    </a:lnTo>
                    <a:lnTo>
                      <a:pt x="564" y="752"/>
                    </a:lnTo>
                    <a:lnTo>
                      <a:pt x="555" y="761"/>
                    </a:lnTo>
                    <a:lnTo>
                      <a:pt x="546" y="771"/>
                    </a:lnTo>
                    <a:lnTo>
                      <a:pt x="536" y="779"/>
                    </a:lnTo>
                    <a:lnTo>
                      <a:pt x="536" y="779"/>
                    </a:lnTo>
                    <a:lnTo>
                      <a:pt x="515" y="792"/>
                    </a:lnTo>
                    <a:lnTo>
                      <a:pt x="493" y="804"/>
                    </a:lnTo>
                    <a:lnTo>
                      <a:pt x="470" y="813"/>
                    </a:lnTo>
                    <a:lnTo>
                      <a:pt x="447" y="820"/>
                    </a:lnTo>
                    <a:lnTo>
                      <a:pt x="447" y="820"/>
                    </a:lnTo>
                    <a:lnTo>
                      <a:pt x="419" y="826"/>
                    </a:lnTo>
                    <a:lnTo>
                      <a:pt x="392" y="830"/>
                    </a:lnTo>
                    <a:lnTo>
                      <a:pt x="365" y="833"/>
                    </a:lnTo>
                    <a:lnTo>
                      <a:pt x="338" y="833"/>
                    </a:lnTo>
                    <a:lnTo>
                      <a:pt x="0" y="833"/>
                    </a:lnTo>
                    <a:lnTo>
                      <a:pt x="0" y="0"/>
                    </a:lnTo>
                    <a:lnTo>
                      <a:pt x="558" y="0"/>
                    </a:lnTo>
                    <a:lnTo>
                      <a:pt x="558" y="187"/>
                    </a:lnTo>
                    <a:lnTo>
                      <a:pt x="187" y="187"/>
                    </a:lnTo>
                    <a:lnTo>
                      <a:pt x="187" y="302"/>
                    </a:lnTo>
                    <a:close/>
                    <a:moveTo>
                      <a:pt x="187" y="661"/>
                    </a:moveTo>
                    <a:lnTo>
                      <a:pt x="338" y="661"/>
                    </a:lnTo>
                    <a:lnTo>
                      <a:pt x="338" y="661"/>
                    </a:lnTo>
                    <a:lnTo>
                      <a:pt x="349" y="660"/>
                    </a:lnTo>
                    <a:lnTo>
                      <a:pt x="358" y="659"/>
                    </a:lnTo>
                    <a:lnTo>
                      <a:pt x="368" y="658"/>
                    </a:lnTo>
                    <a:lnTo>
                      <a:pt x="376" y="655"/>
                    </a:lnTo>
                    <a:lnTo>
                      <a:pt x="384" y="652"/>
                    </a:lnTo>
                    <a:lnTo>
                      <a:pt x="391" y="649"/>
                    </a:lnTo>
                    <a:lnTo>
                      <a:pt x="397" y="644"/>
                    </a:lnTo>
                    <a:lnTo>
                      <a:pt x="403" y="640"/>
                    </a:lnTo>
                    <a:lnTo>
                      <a:pt x="408" y="634"/>
                    </a:lnTo>
                    <a:lnTo>
                      <a:pt x="413" y="628"/>
                    </a:lnTo>
                    <a:lnTo>
                      <a:pt x="416" y="620"/>
                    </a:lnTo>
                    <a:lnTo>
                      <a:pt x="419" y="612"/>
                    </a:lnTo>
                    <a:lnTo>
                      <a:pt x="422" y="604"/>
                    </a:lnTo>
                    <a:lnTo>
                      <a:pt x="423" y="595"/>
                    </a:lnTo>
                    <a:lnTo>
                      <a:pt x="424" y="586"/>
                    </a:lnTo>
                    <a:lnTo>
                      <a:pt x="425" y="575"/>
                    </a:lnTo>
                    <a:lnTo>
                      <a:pt x="425" y="575"/>
                    </a:lnTo>
                    <a:lnTo>
                      <a:pt x="424" y="565"/>
                    </a:lnTo>
                    <a:lnTo>
                      <a:pt x="423" y="556"/>
                    </a:lnTo>
                    <a:lnTo>
                      <a:pt x="422" y="547"/>
                    </a:lnTo>
                    <a:lnTo>
                      <a:pt x="419" y="539"/>
                    </a:lnTo>
                    <a:lnTo>
                      <a:pt x="416" y="531"/>
                    </a:lnTo>
                    <a:lnTo>
                      <a:pt x="413" y="524"/>
                    </a:lnTo>
                    <a:lnTo>
                      <a:pt x="408" y="518"/>
                    </a:lnTo>
                    <a:lnTo>
                      <a:pt x="403" y="512"/>
                    </a:lnTo>
                    <a:lnTo>
                      <a:pt x="397" y="507"/>
                    </a:lnTo>
                    <a:lnTo>
                      <a:pt x="391" y="503"/>
                    </a:lnTo>
                    <a:lnTo>
                      <a:pt x="384" y="500"/>
                    </a:lnTo>
                    <a:lnTo>
                      <a:pt x="376" y="497"/>
                    </a:lnTo>
                    <a:lnTo>
                      <a:pt x="368" y="494"/>
                    </a:lnTo>
                    <a:lnTo>
                      <a:pt x="358" y="493"/>
                    </a:lnTo>
                    <a:lnTo>
                      <a:pt x="349" y="492"/>
                    </a:lnTo>
                    <a:lnTo>
                      <a:pt x="338" y="491"/>
                    </a:lnTo>
                    <a:lnTo>
                      <a:pt x="187" y="491"/>
                    </a:lnTo>
                    <a:lnTo>
                      <a:pt x="187" y="661"/>
                    </a:lnTo>
                    <a:close/>
                  </a:path>
                </a:pathLst>
              </a:custGeom>
              <a:solidFill>
                <a:srgbClr val="44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1601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ight Triangle 16">
            <a:extLst>
              <a:ext uri="{FF2B5EF4-FFF2-40B4-BE49-F238E27FC236}">
                <a16:creationId xmlns:a16="http://schemas.microsoft.com/office/drawing/2014/main" id="{4D7DED40-BCCC-5C7F-F74D-C91B58383045}"/>
              </a:ext>
            </a:extLst>
          </p:cNvPr>
          <p:cNvSpPr/>
          <p:nvPr userDrawn="1"/>
        </p:nvSpPr>
        <p:spPr>
          <a:xfrm flipH="1">
            <a:off x="7356763" y="2385409"/>
            <a:ext cx="4835235" cy="4472592"/>
          </a:xfrm>
          <a:prstGeom prst="rtTriangle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RU" sz="1200" dirty="0">
              <a:solidFill>
                <a:schemeClr val="tx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3CBA5AE-102E-7DD2-AFD6-200B0B975B00}"/>
              </a:ext>
            </a:extLst>
          </p:cNvPr>
          <p:cNvSpPr txBox="1"/>
          <p:nvPr userDrawn="1"/>
        </p:nvSpPr>
        <p:spPr>
          <a:xfrm>
            <a:off x="2196309" y="4866647"/>
            <a:ext cx="1393431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000" dirty="0">
                <a:solidFill>
                  <a:srgbClr val="C4C4CD"/>
                </a:solidFill>
                <a:latin typeface="+mn-lt"/>
              </a:rPr>
              <a:t>Written by</a:t>
            </a:r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4A1F4957-8970-7594-2BBD-B37B8BE1F37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96309" y="5193556"/>
            <a:ext cx="4119033" cy="180000"/>
          </a:xfrm>
        </p:spPr>
        <p:txBody>
          <a:bodyPr/>
          <a:lstStyle>
            <a:lvl1pPr marL="0" indent="0">
              <a:buNone/>
              <a:defRPr sz="1200" b="0" i="0">
                <a:solidFill>
                  <a:srgbClr val="4AA851"/>
                </a:solidFill>
                <a:latin typeface="Montserrat Medium" pitchFamily="2" charset="77"/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4" name="Text Placeholder 16">
            <a:extLst>
              <a:ext uri="{FF2B5EF4-FFF2-40B4-BE49-F238E27FC236}">
                <a16:creationId xmlns:a16="http://schemas.microsoft.com/office/drawing/2014/main" id="{BAD2769A-2F38-EF7D-664D-D6FA21E8848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196309" y="5493080"/>
            <a:ext cx="4119033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Job Title</a:t>
            </a:r>
            <a:endParaRPr lang="en-GB" dirty="0"/>
          </a:p>
        </p:txBody>
      </p:sp>
      <p:sp>
        <p:nvSpPr>
          <p:cNvPr id="15" name="Picture Placeholder 19">
            <a:extLst>
              <a:ext uri="{FF2B5EF4-FFF2-40B4-BE49-F238E27FC236}">
                <a16:creationId xmlns:a16="http://schemas.microsoft.com/office/drawing/2014/main" id="{DA662830-4584-8045-3B20-12313D3AA19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157794" y="4903509"/>
            <a:ext cx="808712" cy="816824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676">
                <a:solidFill>
                  <a:schemeClr val="bg1"/>
                </a:solidFill>
                <a:latin typeface="Montserrat Light" panose="00000400000000000000" pitchFamily="2" charset="-52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pic>
        <p:nvPicPr>
          <p:cNvPr id="16" name="Рисунок 12">
            <a:extLst>
              <a:ext uri="{FF2B5EF4-FFF2-40B4-BE49-F238E27FC236}">
                <a16:creationId xmlns:a16="http://schemas.microsoft.com/office/drawing/2014/main" id="{43E1A3BF-95FD-F59B-4174-800DB1C1841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2937606" y="4882257"/>
            <a:ext cx="164174" cy="151471"/>
          </a:xfrm>
          <a:prstGeom prst="rect">
            <a:avLst/>
          </a:prstGeom>
        </p:spPr>
      </p:pic>
      <p:sp>
        <p:nvSpPr>
          <p:cNvPr id="23" name="Title 1">
            <a:extLst>
              <a:ext uri="{FF2B5EF4-FFF2-40B4-BE49-F238E27FC236}">
                <a16:creationId xmlns:a16="http://schemas.microsoft.com/office/drawing/2014/main" id="{D1407C59-7B4F-660F-CFB9-DE55AB95458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05345" y="2155923"/>
            <a:ext cx="7448353" cy="1273077"/>
          </a:xfrm>
        </p:spPr>
        <p:txBody>
          <a:bodyPr/>
          <a:lstStyle>
            <a:lvl1pPr>
              <a:lnSpc>
                <a:spcPts val="4000"/>
              </a:lnSpc>
              <a:defRPr sz="3200" b="1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GB" dirty="0"/>
              <a:t>TITLE CAPS</a:t>
            </a:r>
            <a:br>
              <a:rPr lang="en-GB" dirty="0"/>
            </a:br>
            <a:r>
              <a:rPr lang="en-GB" dirty="0"/>
              <a:t>(MONTSERRAT 32 POINT)</a:t>
            </a:r>
          </a:p>
        </p:txBody>
      </p:sp>
      <p:sp>
        <p:nvSpPr>
          <p:cNvPr id="50" name="Text Placeholder 73">
            <a:extLst>
              <a:ext uri="{FF2B5EF4-FFF2-40B4-BE49-F238E27FC236}">
                <a16:creationId xmlns:a16="http://schemas.microsoft.com/office/drawing/2014/main" id="{4F27F302-C02C-4F35-A71D-67AF8A1B2C0E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04913" y="3383279"/>
            <a:ext cx="5210175" cy="35964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Subtitle (Montserrat 20 point)</a:t>
            </a:r>
          </a:p>
        </p:txBody>
      </p:sp>
      <p:sp>
        <p:nvSpPr>
          <p:cNvPr id="51" name="Text Placeholder 77">
            <a:extLst>
              <a:ext uri="{FF2B5EF4-FFF2-40B4-BE49-F238E27FC236}">
                <a16:creationId xmlns:a16="http://schemas.microsoft.com/office/drawing/2014/main" id="{3B97F29E-8A0F-49CF-B0AD-1BF399EDC9B4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04913" y="3822733"/>
            <a:ext cx="5210175" cy="326348"/>
          </a:xfrm>
        </p:spPr>
        <p:txBody>
          <a:bodyPr/>
          <a:lstStyle>
            <a:lvl1pPr marL="0" indent="0">
              <a:buNone/>
              <a:defRPr sz="1600" b="0" i="0" u="none">
                <a:latin typeface="Montserrat Alternates SemiBold" panose="00000700000000000000" pitchFamily="50" charset="-52"/>
              </a:defRPr>
            </a:lvl1pPr>
          </a:lstStyle>
          <a:p>
            <a:pPr>
              <a:lnSpc>
                <a:spcPts val="2400"/>
              </a:lnSpc>
              <a:spcBef>
                <a:spcPts val="0"/>
              </a:spcBef>
              <a:spcAft>
                <a:spcPts val="600"/>
              </a:spcAft>
            </a:pPr>
            <a:r>
              <a:rPr lang="en-IN" b="1">
                <a:solidFill>
                  <a:schemeClr val="bg1"/>
                </a:solidFill>
                <a:latin typeface="Montserrat" pitchFamily="2" charset="77"/>
              </a:rPr>
              <a:t>XX Month 200X (Montserrat bold 16 point)</a:t>
            </a:r>
            <a:endParaRPr lang="en-IN" b="1" dirty="0">
              <a:solidFill>
                <a:schemeClr val="bg1"/>
              </a:solidFill>
              <a:latin typeface="Montserrat" pitchFamily="2" charset="77"/>
            </a:endParaRP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ACFB9C3A-686B-4417-88E3-1829D2766F5D}"/>
              </a:ext>
            </a:extLst>
          </p:cNvPr>
          <p:cNvGrpSpPr/>
          <p:nvPr userDrawn="1"/>
        </p:nvGrpSpPr>
        <p:grpSpPr>
          <a:xfrm>
            <a:off x="10346853" y="658368"/>
            <a:ext cx="1319534" cy="970407"/>
            <a:chOff x="10332720" y="658368"/>
            <a:chExt cx="1319534" cy="970407"/>
          </a:xfrm>
        </p:grpSpPr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D5AB83E-6006-4900-8928-FF5D8014223B}"/>
                </a:ext>
              </a:extLst>
            </p:cNvPr>
            <p:cNvGrpSpPr/>
            <p:nvPr userDrawn="1"/>
          </p:nvGrpSpPr>
          <p:grpSpPr>
            <a:xfrm>
              <a:off x="10344154" y="1376363"/>
              <a:ext cx="1308100" cy="252412"/>
              <a:chOff x="10344154" y="1376363"/>
              <a:chExt cx="1308100" cy="252412"/>
            </a:xfrm>
          </p:grpSpPr>
          <p:sp>
            <p:nvSpPr>
              <p:cNvPr id="48" name="Freeform 5">
                <a:extLst>
                  <a:ext uri="{FF2B5EF4-FFF2-40B4-BE49-F238E27FC236}">
                    <a16:creationId xmlns:a16="http://schemas.microsoft.com/office/drawing/2014/main" id="{537A0A99-1C54-4C75-BE45-5273232D703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344154" y="1379538"/>
                <a:ext cx="85725" cy="90487"/>
              </a:xfrm>
              <a:custGeom>
                <a:avLst/>
                <a:gdLst>
                  <a:gd name="T0" fmla="*/ 109 w 109"/>
                  <a:gd name="T1" fmla="*/ 0 h 115"/>
                  <a:gd name="T2" fmla="*/ 109 w 109"/>
                  <a:gd name="T3" fmla="*/ 115 h 115"/>
                  <a:gd name="T4" fmla="*/ 77 w 109"/>
                  <a:gd name="T5" fmla="*/ 115 h 115"/>
                  <a:gd name="T6" fmla="*/ 77 w 109"/>
                  <a:gd name="T7" fmla="*/ 69 h 115"/>
                  <a:gd name="T8" fmla="*/ 32 w 109"/>
                  <a:gd name="T9" fmla="*/ 69 h 115"/>
                  <a:gd name="T10" fmla="*/ 32 w 109"/>
                  <a:gd name="T11" fmla="*/ 115 h 115"/>
                  <a:gd name="T12" fmla="*/ 0 w 109"/>
                  <a:gd name="T13" fmla="*/ 115 h 115"/>
                  <a:gd name="T14" fmla="*/ 0 w 109"/>
                  <a:gd name="T15" fmla="*/ 0 h 115"/>
                  <a:gd name="T16" fmla="*/ 32 w 109"/>
                  <a:gd name="T17" fmla="*/ 0 h 115"/>
                  <a:gd name="T18" fmla="*/ 32 w 109"/>
                  <a:gd name="T19" fmla="*/ 43 h 115"/>
                  <a:gd name="T20" fmla="*/ 77 w 109"/>
                  <a:gd name="T21" fmla="*/ 43 h 115"/>
                  <a:gd name="T22" fmla="*/ 77 w 109"/>
                  <a:gd name="T23" fmla="*/ 0 h 115"/>
                  <a:gd name="T24" fmla="*/ 109 w 109"/>
                  <a:gd name="T25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9" h="115">
                    <a:moveTo>
                      <a:pt x="109" y="0"/>
                    </a:moveTo>
                    <a:lnTo>
                      <a:pt x="109" y="115"/>
                    </a:lnTo>
                    <a:lnTo>
                      <a:pt x="77" y="115"/>
                    </a:lnTo>
                    <a:lnTo>
                      <a:pt x="77" y="69"/>
                    </a:lnTo>
                    <a:lnTo>
                      <a:pt x="32" y="69"/>
                    </a:lnTo>
                    <a:lnTo>
                      <a:pt x="3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2" y="0"/>
                    </a:lnTo>
                    <a:lnTo>
                      <a:pt x="32" y="43"/>
                    </a:lnTo>
                    <a:lnTo>
                      <a:pt x="77" y="43"/>
                    </a:lnTo>
                    <a:lnTo>
                      <a:pt x="77" y="0"/>
                    </a:lnTo>
                    <a:lnTo>
                      <a:pt x="109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6">
                <a:extLst>
                  <a:ext uri="{FF2B5EF4-FFF2-40B4-BE49-F238E27FC236}">
                    <a16:creationId xmlns:a16="http://schemas.microsoft.com/office/drawing/2014/main" id="{1A20AB4B-256F-46DD-B901-67FF6F008904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447341" y="1377950"/>
                <a:ext cx="101600" cy="93662"/>
              </a:xfrm>
              <a:custGeom>
                <a:avLst/>
                <a:gdLst>
                  <a:gd name="T0" fmla="*/ 31 w 128"/>
                  <a:gd name="T1" fmla="*/ 112 h 119"/>
                  <a:gd name="T2" fmla="*/ 21 w 128"/>
                  <a:gd name="T3" fmla="*/ 105 h 119"/>
                  <a:gd name="T4" fmla="*/ 6 w 128"/>
                  <a:gd name="T5" fmla="*/ 87 h 119"/>
                  <a:gd name="T6" fmla="*/ 0 w 128"/>
                  <a:gd name="T7" fmla="*/ 65 h 119"/>
                  <a:gd name="T8" fmla="*/ 2 w 128"/>
                  <a:gd name="T9" fmla="*/ 43 h 119"/>
                  <a:gd name="T10" fmla="*/ 6 w 128"/>
                  <a:gd name="T11" fmla="*/ 32 h 119"/>
                  <a:gd name="T12" fmla="*/ 11 w 128"/>
                  <a:gd name="T13" fmla="*/ 24 h 119"/>
                  <a:gd name="T14" fmla="*/ 23 w 128"/>
                  <a:gd name="T15" fmla="*/ 12 h 119"/>
                  <a:gd name="T16" fmla="*/ 31 w 128"/>
                  <a:gd name="T17" fmla="*/ 7 h 119"/>
                  <a:gd name="T18" fmla="*/ 46 w 128"/>
                  <a:gd name="T19" fmla="*/ 2 h 119"/>
                  <a:gd name="T20" fmla="*/ 64 w 128"/>
                  <a:gd name="T21" fmla="*/ 0 h 119"/>
                  <a:gd name="T22" fmla="*/ 81 w 128"/>
                  <a:gd name="T23" fmla="*/ 2 h 119"/>
                  <a:gd name="T24" fmla="*/ 97 w 128"/>
                  <a:gd name="T25" fmla="*/ 7 h 119"/>
                  <a:gd name="T26" fmla="*/ 102 w 128"/>
                  <a:gd name="T27" fmla="*/ 10 h 119"/>
                  <a:gd name="T28" fmla="*/ 115 w 128"/>
                  <a:gd name="T29" fmla="*/ 22 h 119"/>
                  <a:gd name="T30" fmla="*/ 125 w 128"/>
                  <a:gd name="T31" fmla="*/ 42 h 119"/>
                  <a:gd name="T32" fmla="*/ 128 w 128"/>
                  <a:gd name="T33" fmla="*/ 64 h 119"/>
                  <a:gd name="T34" fmla="*/ 124 w 128"/>
                  <a:gd name="T35" fmla="*/ 81 h 119"/>
                  <a:gd name="T36" fmla="*/ 121 w 128"/>
                  <a:gd name="T37" fmla="*/ 86 h 119"/>
                  <a:gd name="T38" fmla="*/ 111 w 128"/>
                  <a:gd name="T39" fmla="*/ 100 h 119"/>
                  <a:gd name="T40" fmla="*/ 97 w 128"/>
                  <a:gd name="T41" fmla="*/ 112 h 119"/>
                  <a:gd name="T42" fmla="*/ 89 w 128"/>
                  <a:gd name="T43" fmla="*/ 115 h 119"/>
                  <a:gd name="T44" fmla="*/ 72 w 128"/>
                  <a:gd name="T45" fmla="*/ 119 h 119"/>
                  <a:gd name="T46" fmla="*/ 55 w 128"/>
                  <a:gd name="T47" fmla="*/ 119 h 119"/>
                  <a:gd name="T48" fmla="*/ 38 w 128"/>
                  <a:gd name="T49" fmla="*/ 115 h 119"/>
                  <a:gd name="T50" fmla="*/ 31 w 128"/>
                  <a:gd name="T51" fmla="*/ 112 h 119"/>
                  <a:gd name="T52" fmla="*/ 80 w 128"/>
                  <a:gd name="T53" fmla="*/ 87 h 119"/>
                  <a:gd name="T54" fmla="*/ 91 w 128"/>
                  <a:gd name="T55" fmla="*/ 76 h 119"/>
                  <a:gd name="T56" fmla="*/ 94 w 128"/>
                  <a:gd name="T57" fmla="*/ 68 h 119"/>
                  <a:gd name="T58" fmla="*/ 94 w 128"/>
                  <a:gd name="T59" fmla="*/ 50 h 119"/>
                  <a:gd name="T60" fmla="*/ 91 w 128"/>
                  <a:gd name="T61" fmla="*/ 42 h 119"/>
                  <a:gd name="T62" fmla="*/ 80 w 128"/>
                  <a:gd name="T63" fmla="*/ 30 h 119"/>
                  <a:gd name="T64" fmla="*/ 72 w 128"/>
                  <a:gd name="T65" fmla="*/ 27 h 119"/>
                  <a:gd name="T66" fmla="*/ 55 w 128"/>
                  <a:gd name="T67" fmla="*/ 27 h 119"/>
                  <a:gd name="T68" fmla="*/ 47 w 128"/>
                  <a:gd name="T69" fmla="*/ 30 h 119"/>
                  <a:gd name="T70" fmla="*/ 36 w 128"/>
                  <a:gd name="T71" fmla="*/ 42 h 119"/>
                  <a:gd name="T72" fmla="*/ 33 w 128"/>
                  <a:gd name="T73" fmla="*/ 50 h 119"/>
                  <a:gd name="T74" fmla="*/ 33 w 128"/>
                  <a:gd name="T75" fmla="*/ 68 h 119"/>
                  <a:gd name="T76" fmla="*/ 36 w 128"/>
                  <a:gd name="T77" fmla="*/ 76 h 119"/>
                  <a:gd name="T78" fmla="*/ 47 w 128"/>
                  <a:gd name="T79" fmla="*/ 87 h 119"/>
                  <a:gd name="T80" fmla="*/ 55 w 128"/>
                  <a:gd name="T81" fmla="*/ 90 h 119"/>
                  <a:gd name="T82" fmla="*/ 72 w 128"/>
                  <a:gd name="T83" fmla="*/ 90 h 119"/>
                  <a:gd name="T84" fmla="*/ 80 w 128"/>
                  <a:gd name="T85" fmla="*/ 87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28" h="119">
                    <a:moveTo>
                      <a:pt x="31" y="112"/>
                    </a:moveTo>
                    <a:lnTo>
                      <a:pt x="31" y="112"/>
                    </a:lnTo>
                    <a:lnTo>
                      <a:pt x="25" y="109"/>
                    </a:lnTo>
                    <a:lnTo>
                      <a:pt x="21" y="105"/>
                    </a:lnTo>
                    <a:lnTo>
                      <a:pt x="13" y="96"/>
                    </a:lnTo>
                    <a:lnTo>
                      <a:pt x="6" y="87"/>
                    </a:lnTo>
                    <a:lnTo>
                      <a:pt x="2" y="76"/>
                    </a:lnTo>
                    <a:lnTo>
                      <a:pt x="0" y="65"/>
                    </a:lnTo>
                    <a:lnTo>
                      <a:pt x="0" y="54"/>
                    </a:lnTo>
                    <a:lnTo>
                      <a:pt x="2" y="43"/>
                    </a:lnTo>
                    <a:lnTo>
                      <a:pt x="4" y="37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11" y="24"/>
                    </a:lnTo>
                    <a:lnTo>
                      <a:pt x="16" y="18"/>
                    </a:lnTo>
                    <a:lnTo>
                      <a:pt x="23" y="12"/>
                    </a:lnTo>
                    <a:lnTo>
                      <a:pt x="31" y="7"/>
                    </a:lnTo>
                    <a:lnTo>
                      <a:pt x="31" y="7"/>
                    </a:lnTo>
                    <a:lnTo>
                      <a:pt x="38" y="4"/>
                    </a:lnTo>
                    <a:lnTo>
                      <a:pt x="46" y="2"/>
                    </a:lnTo>
                    <a:lnTo>
                      <a:pt x="55" y="0"/>
                    </a:lnTo>
                    <a:lnTo>
                      <a:pt x="64" y="0"/>
                    </a:lnTo>
                    <a:lnTo>
                      <a:pt x="72" y="0"/>
                    </a:lnTo>
                    <a:lnTo>
                      <a:pt x="81" y="2"/>
                    </a:lnTo>
                    <a:lnTo>
                      <a:pt x="89" y="4"/>
                    </a:lnTo>
                    <a:lnTo>
                      <a:pt x="97" y="7"/>
                    </a:lnTo>
                    <a:lnTo>
                      <a:pt x="97" y="7"/>
                    </a:lnTo>
                    <a:lnTo>
                      <a:pt x="102" y="10"/>
                    </a:lnTo>
                    <a:lnTo>
                      <a:pt x="106" y="14"/>
                    </a:lnTo>
                    <a:lnTo>
                      <a:pt x="115" y="22"/>
                    </a:lnTo>
                    <a:lnTo>
                      <a:pt x="121" y="31"/>
                    </a:lnTo>
                    <a:lnTo>
                      <a:pt x="125" y="42"/>
                    </a:lnTo>
                    <a:lnTo>
                      <a:pt x="127" y="53"/>
                    </a:lnTo>
                    <a:lnTo>
                      <a:pt x="128" y="64"/>
                    </a:lnTo>
                    <a:lnTo>
                      <a:pt x="125" y="75"/>
                    </a:lnTo>
                    <a:lnTo>
                      <a:pt x="124" y="81"/>
                    </a:lnTo>
                    <a:lnTo>
                      <a:pt x="121" y="86"/>
                    </a:lnTo>
                    <a:lnTo>
                      <a:pt x="121" y="86"/>
                    </a:lnTo>
                    <a:lnTo>
                      <a:pt x="116" y="94"/>
                    </a:lnTo>
                    <a:lnTo>
                      <a:pt x="111" y="100"/>
                    </a:lnTo>
                    <a:lnTo>
                      <a:pt x="104" y="107"/>
                    </a:lnTo>
                    <a:lnTo>
                      <a:pt x="97" y="112"/>
                    </a:lnTo>
                    <a:lnTo>
                      <a:pt x="97" y="112"/>
                    </a:lnTo>
                    <a:lnTo>
                      <a:pt x="89" y="115"/>
                    </a:lnTo>
                    <a:lnTo>
                      <a:pt x="81" y="117"/>
                    </a:lnTo>
                    <a:lnTo>
                      <a:pt x="72" y="119"/>
                    </a:lnTo>
                    <a:lnTo>
                      <a:pt x="64" y="119"/>
                    </a:lnTo>
                    <a:lnTo>
                      <a:pt x="55" y="119"/>
                    </a:lnTo>
                    <a:lnTo>
                      <a:pt x="46" y="117"/>
                    </a:lnTo>
                    <a:lnTo>
                      <a:pt x="38" y="115"/>
                    </a:lnTo>
                    <a:lnTo>
                      <a:pt x="31" y="112"/>
                    </a:lnTo>
                    <a:lnTo>
                      <a:pt x="31" y="112"/>
                    </a:lnTo>
                    <a:close/>
                    <a:moveTo>
                      <a:pt x="80" y="87"/>
                    </a:moveTo>
                    <a:lnTo>
                      <a:pt x="80" y="87"/>
                    </a:lnTo>
                    <a:lnTo>
                      <a:pt x="86" y="82"/>
                    </a:lnTo>
                    <a:lnTo>
                      <a:pt x="91" y="76"/>
                    </a:lnTo>
                    <a:lnTo>
                      <a:pt x="91" y="76"/>
                    </a:lnTo>
                    <a:lnTo>
                      <a:pt x="94" y="68"/>
                    </a:lnTo>
                    <a:lnTo>
                      <a:pt x="95" y="59"/>
                    </a:lnTo>
                    <a:lnTo>
                      <a:pt x="94" y="50"/>
                    </a:lnTo>
                    <a:lnTo>
                      <a:pt x="91" y="42"/>
                    </a:lnTo>
                    <a:lnTo>
                      <a:pt x="91" y="42"/>
                    </a:lnTo>
                    <a:lnTo>
                      <a:pt x="86" y="35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72" y="27"/>
                    </a:lnTo>
                    <a:lnTo>
                      <a:pt x="64" y="26"/>
                    </a:lnTo>
                    <a:lnTo>
                      <a:pt x="55" y="27"/>
                    </a:lnTo>
                    <a:lnTo>
                      <a:pt x="47" y="30"/>
                    </a:lnTo>
                    <a:lnTo>
                      <a:pt x="47" y="30"/>
                    </a:lnTo>
                    <a:lnTo>
                      <a:pt x="41" y="35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3" y="50"/>
                    </a:lnTo>
                    <a:lnTo>
                      <a:pt x="32" y="59"/>
                    </a:lnTo>
                    <a:lnTo>
                      <a:pt x="33" y="68"/>
                    </a:lnTo>
                    <a:lnTo>
                      <a:pt x="36" y="76"/>
                    </a:lnTo>
                    <a:lnTo>
                      <a:pt x="36" y="76"/>
                    </a:lnTo>
                    <a:lnTo>
                      <a:pt x="41" y="82"/>
                    </a:lnTo>
                    <a:lnTo>
                      <a:pt x="47" y="87"/>
                    </a:lnTo>
                    <a:lnTo>
                      <a:pt x="47" y="87"/>
                    </a:lnTo>
                    <a:lnTo>
                      <a:pt x="55" y="90"/>
                    </a:lnTo>
                    <a:lnTo>
                      <a:pt x="64" y="91"/>
                    </a:lnTo>
                    <a:lnTo>
                      <a:pt x="72" y="90"/>
                    </a:lnTo>
                    <a:lnTo>
                      <a:pt x="80" y="87"/>
                    </a:lnTo>
                    <a:lnTo>
                      <a:pt x="80" y="8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7">
                <a:extLst>
                  <a:ext uri="{FF2B5EF4-FFF2-40B4-BE49-F238E27FC236}">
                    <a16:creationId xmlns:a16="http://schemas.microsoft.com/office/drawing/2014/main" id="{BF4DE588-55E7-49E4-BAFD-E8F292A931BA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564816" y="1379538"/>
                <a:ext cx="84138" cy="90487"/>
              </a:xfrm>
              <a:custGeom>
                <a:avLst/>
                <a:gdLst>
                  <a:gd name="T0" fmla="*/ 99 w 105"/>
                  <a:gd name="T1" fmla="*/ 64 h 115"/>
                  <a:gd name="T2" fmla="*/ 103 w 105"/>
                  <a:gd name="T3" fmla="*/ 72 h 115"/>
                  <a:gd name="T4" fmla="*/ 105 w 105"/>
                  <a:gd name="T5" fmla="*/ 81 h 115"/>
                  <a:gd name="T6" fmla="*/ 104 w 105"/>
                  <a:gd name="T7" fmla="*/ 88 h 115"/>
                  <a:gd name="T8" fmla="*/ 98 w 105"/>
                  <a:gd name="T9" fmla="*/ 101 h 115"/>
                  <a:gd name="T10" fmla="*/ 93 w 105"/>
                  <a:gd name="T11" fmla="*/ 106 h 115"/>
                  <a:gd name="T12" fmla="*/ 77 w 105"/>
                  <a:gd name="T13" fmla="*/ 113 h 115"/>
                  <a:gd name="T14" fmla="*/ 59 w 105"/>
                  <a:gd name="T15" fmla="*/ 115 h 115"/>
                  <a:gd name="T16" fmla="*/ 0 w 105"/>
                  <a:gd name="T17" fmla="*/ 0 h 115"/>
                  <a:gd name="T18" fmla="*/ 56 w 105"/>
                  <a:gd name="T19" fmla="*/ 0 h 115"/>
                  <a:gd name="T20" fmla="*/ 73 w 105"/>
                  <a:gd name="T21" fmla="*/ 2 h 115"/>
                  <a:gd name="T22" fmla="*/ 88 w 105"/>
                  <a:gd name="T23" fmla="*/ 8 h 115"/>
                  <a:gd name="T24" fmla="*/ 93 w 105"/>
                  <a:gd name="T25" fmla="*/ 12 h 115"/>
                  <a:gd name="T26" fmla="*/ 99 w 105"/>
                  <a:gd name="T27" fmla="*/ 23 h 115"/>
                  <a:gd name="T28" fmla="*/ 99 w 105"/>
                  <a:gd name="T29" fmla="*/ 30 h 115"/>
                  <a:gd name="T30" fmla="*/ 95 w 105"/>
                  <a:gd name="T31" fmla="*/ 45 h 115"/>
                  <a:gd name="T32" fmla="*/ 90 w 105"/>
                  <a:gd name="T33" fmla="*/ 50 h 115"/>
                  <a:gd name="T34" fmla="*/ 84 w 105"/>
                  <a:gd name="T35" fmla="*/ 54 h 115"/>
                  <a:gd name="T36" fmla="*/ 92 w 105"/>
                  <a:gd name="T37" fmla="*/ 58 h 115"/>
                  <a:gd name="T38" fmla="*/ 99 w 105"/>
                  <a:gd name="T39" fmla="*/ 64 h 115"/>
                  <a:gd name="T40" fmla="*/ 32 w 105"/>
                  <a:gd name="T41" fmla="*/ 46 h 115"/>
                  <a:gd name="T42" fmla="*/ 53 w 105"/>
                  <a:gd name="T43" fmla="*/ 46 h 115"/>
                  <a:gd name="T44" fmla="*/ 63 w 105"/>
                  <a:gd name="T45" fmla="*/ 43 h 115"/>
                  <a:gd name="T46" fmla="*/ 67 w 105"/>
                  <a:gd name="T47" fmla="*/ 34 h 115"/>
                  <a:gd name="T48" fmla="*/ 66 w 105"/>
                  <a:gd name="T49" fmla="*/ 29 h 115"/>
                  <a:gd name="T50" fmla="*/ 59 w 105"/>
                  <a:gd name="T51" fmla="*/ 24 h 115"/>
                  <a:gd name="T52" fmla="*/ 32 w 105"/>
                  <a:gd name="T53" fmla="*/ 23 h 115"/>
                  <a:gd name="T54" fmla="*/ 72 w 105"/>
                  <a:gd name="T55" fmla="*/ 79 h 115"/>
                  <a:gd name="T56" fmla="*/ 71 w 105"/>
                  <a:gd name="T57" fmla="*/ 74 h 115"/>
                  <a:gd name="T58" fmla="*/ 64 w 105"/>
                  <a:gd name="T59" fmla="*/ 68 h 115"/>
                  <a:gd name="T60" fmla="*/ 32 w 105"/>
                  <a:gd name="T61" fmla="*/ 67 h 115"/>
                  <a:gd name="T62" fmla="*/ 58 w 105"/>
                  <a:gd name="T63" fmla="*/ 91 h 115"/>
                  <a:gd name="T64" fmla="*/ 64 w 105"/>
                  <a:gd name="T65" fmla="*/ 90 h 115"/>
                  <a:gd name="T66" fmla="*/ 71 w 105"/>
                  <a:gd name="T67" fmla="*/ 84 h 115"/>
                  <a:gd name="T68" fmla="*/ 72 w 105"/>
                  <a:gd name="T69" fmla="*/ 79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5" h="115">
                    <a:moveTo>
                      <a:pt x="99" y="64"/>
                    </a:moveTo>
                    <a:lnTo>
                      <a:pt x="99" y="64"/>
                    </a:lnTo>
                    <a:lnTo>
                      <a:pt x="102" y="68"/>
                    </a:lnTo>
                    <a:lnTo>
                      <a:pt x="103" y="72"/>
                    </a:lnTo>
                    <a:lnTo>
                      <a:pt x="104" y="77"/>
                    </a:lnTo>
                    <a:lnTo>
                      <a:pt x="105" y="81"/>
                    </a:lnTo>
                    <a:lnTo>
                      <a:pt x="105" y="81"/>
                    </a:lnTo>
                    <a:lnTo>
                      <a:pt x="104" y="88"/>
                    </a:lnTo>
                    <a:lnTo>
                      <a:pt x="102" y="95"/>
                    </a:lnTo>
                    <a:lnTo>
                      <a:pt x="98" y="101"/>
                    </a:lnTo>
                    <a:lnTo>
                      <a:pt x="93" y="106"/>
                    </a:lnTo>
                    <a:lnTo>
                      <a:pt x="93" y="106"/>
                    </a:lnTo>
                    <a:lnTo>
                      <a:pt x="85" y="110"/>
                    </a:lnTo>
                    <a:lnTo>
                      <a:pt x="77" y="113"/>
                    </a:lnTo>
                    <a:lnTo>
                      <a:pt x="68" y="115"/>
                    </a:lnTo>
                    <a:lnTo>
                      <a:pt x="59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5" y="0"/>
                    </a:lnTo>
                    <a:lnTo>
                      <a:pt x="73" y="2"/>
                    </a:lnTo>
                    <a:lnTo>
                      <a:pt x="81" y="4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93" y="12"/>
                    </a:lnTo>
                    <a:lnTo>
                      <a:pt x="97" y="17"/>
                    </a:lnTo>
                    <a:lnTo>
                      <a:pt x="99" y="23"/>
                    </a:lnTo>
                    <a:lnTo>
                      <a:pt x="99" y="30"/>
                    </a:lnTo>
                    <a:lnTo>
                      <a:pt x="99" y="30"/>
                    </a:lnTo>
                    <a:lnTo>
                      <a:pt x="98" y="37"/>
                    </a:lnTo>
                    <a:lnTo>
                      <a:pt x="95" y="45"/>
                    </a:lnTo>
                    <a:lnTo>
                      <a:pt x="95" y="45"/>
                    </a:lnTo>
                    <a:lnTo>
                      <a:pt x="90" y="50"/>
                    </a:lnTo>
                    <a:lnTo>
                      <a:pt x="84" y="54"/>
                    </a:lnTo>
                    <a:lnTo>
                      <a:pt x="84" y="54"/>
                    </a:lnTo>
                    <a:lnTo>
                      <a:pt x="88" y="56"/>
                    </a:lnTo>
                    <a:lnTo>
                      <a:pt x="92" y="58"/>
                    </a:lnTo>
                    <a:lnTo>
                      <a:pt x="96" y="61"/>
                    </a:lnTo>
                    <a:lnTo>
                      <a:pt x="99" y="64"/>
                    </a:lnTo>
                    <a:lnTo>
                      <a:pt x="99" y="64"/>
                    </a:lnTo>
                    <a:close/>
                    <a:moveTo>
                      <a:pt x="32" y="46"/>
                    </a:moveTo>
                    <a:lnTo>
                      <a:pt x="53" y="46"/>
                    </a:lnTo>
                    <a:lnTo>
                      <a:pt x="53" y="46"/>
                    </a:lnTo>
                    <a:lnTo>
                      <a:pt x="59" y="45"/>
                    </a:lnTo>
                    <a:lnTo>
                      <a:pt x="63" y="43"/>
                    </a:lnTo>
                    <a:lnTo>
                      <a:pt x="66" y="39"/>
                    </a:lnTo>
                    <a:lnTo>
                      <a:pt x="67" y="34"/>
                    </a:lnTo>
                    <a:lnTo>
                      <a:pt x="67" y="34"/>
                    </a:lnTo>
                    <a:lnTo>
                      <a:pt x="66" y="29"/>
                    </a:lnTo>
                    <a:lnTo>
                      <a:pt x="63" y="26"/>
                    </a:lnTo>
                    <a:lnTo>
                      <a:pt x="59" y="24"/>
                    </a:lnTo>
                    <a:lnTo>
                      <a:pt x="53" y="23"/>
                    </a:lnTo>
                    <a:lnTo>
                      <a:pt x="32" y="23"/>
                    </a:lnTo>
                    <a:lnTo>
                      <a:pt x="32" y="46"/>
                    </a:lnTo>
                    <a:close/>
                    <a:moveTo>
                      <a:pt x="72" y="79"/>
                    </a:moveTo>
                    <a:lnTo>
                      <a:pt x="72" y="79"/>
                    </a:lnTo>
                    <a:lnTo>
                      <a:pt x="71" y="74"/>
                    </a:lnTo>
                    <a:lnTo>
                      <a:pt x="69" y="70"/>
                    </a:lnTo>
                    <a:lnTo>
                      <a:pt x="64" y="68"/>
                    </a:lnTo>
                    <a:lnTo>
                      <a:pt x="58" y="67"/>
                    </a:lnTo>
                    <a:lnTo>
                      <a:pt x="32" y="67"/>
                    </a:lnTo>
                    <a:lnTo>
                      <a:pt x="32" y="91"/>
                    </a:lnTo>
                    <a:lnTo>
                      <a:pt x="58" y="91"/>
                    </a:lnTo>
                    <a:lnTo>
                      <a:pt x="58" y="91"/>
                    </a:lnTo>
                    <a:lnTo>
                      <a:pt x="64" y="90"/>
                    </a:lnTo>
                    <a:lnTo>
                      <a:pt x="69" y="88"/>
                    </a:lnTo>
                    <a:lnTo>
                      <a:pt x="71" y="84"/>
                    </a:lnTo>
                    <a:lnTo>
                      <a:pt x="72" y="79"/>
                    </a:lnTo>
                    <a:lnTo>
                      <a:pt x="72" y="7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8">
                <a:extLst>
                  <a:ext uri="{FF2B5EF4-FFF2-40B4-BE49-F238E27FC236}">
                    <a16:creationId xmlns:a16="http://schemas.microsoft.com/office/drawing/2014/main" id="{5C9D876F-8649-46CC-92A2-76F2AEC16FD3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664829" y="1379538"/>
                <a:ext cx="115888" cy="90487"/>
              </a:xfrm>
              <a:custGeom>
                <a:avLst/>
                <a:gdLst>
                  <a:gd name="T0" fmla="*/ 92 w 147"/>
                  <a:gd name="T1" fmla="*/ 46 h 115"/>
                  <a:gd name="T2" fmla="*/ 92 w 147"/>
                  <a:gd name="T3" fmla="*/ 46 h 115"/>
                  <a:gd name="T4" fmla="*/ 97 w 147"/>
                  <a:gd name="T5" fmla="*/ 51 h 115"/>
                  <a:gd name="T6" fmla="*/ 101 w 147"/>
                  <a:gd name="T7" fmla="*/ 58 h 115"/>
                  <a:gd name="T8" fmla="*/ 103 w 147"/>
                  <a:gd name="T9" fmla="*/ 66 h 115"/>
                  <a:gd name="T10" fmla="*/ 103 w 147"/>
                  <a:gd name="T11" fmla="*/ 73 h 115"/>
                  <a:gd name="T12" fmla="*/ 103 w 147"/>
                  <a:gd name="T13" fmla="*/ 73 h 115"/>
                  <a:gd name="T14" fmla="*/ 103 w 147"/>
                  <a:gd name="T15" fmla="*/ 82 h 115"/>
                  <a:gd name="T16" fmla="*/ 100 w 147"/>
                  <a:gd name="T17" fmla="*/ 90 h 115"/>
                  <a:gd name="T18" fmla="*/ 96 w 147"/>
                  <a:gd name="T19" fmla="*/ 97 h 115"/>
                  <a:gd name="T20" fmla="*/ 90 w 147"/>
                  <a:gd name="T21" fmla="*/ 104 h 115"/>
                  <a:gd name="T22" fmla="*/ 90 w 147"/>
                  <a:gd name="T23" fmla="*/ 104 h 115"/>
                  <a:gd name="T24" fmla="*/ 82 w 147"/>
                  <a:gd name="T25" fmla="*/ 109 h 115"/>
                  <a:gd name="T26" fmla="*/ 74 w 147"/>
                  <a:gd name="T27" fmla="*/ 113 h 115"/>
                  <a:gd name="T28" fmla="*/ 65 w 147"/>
                  <a:gd name="T29" fmla="*/ 115 h 115"/>
                  <a:gd name="T30" fmla="*/ 55 w 147"/>
                  <a:gd name="T31" fmla="*/ 115 h 115"/>
                  <a:gd name="T32" fmla="*/ 0 w 147"/>
                  <a:gd name="T33" fmla="*/ 115 h 115"/>
                  <a:gd name="T34" fmla="*/ 0 w 147"/>
                  <a:gd name="T35" fmla="*/ 0 h 115"/>
                  <a:gd name="T36" fmla="*/ 32 w 147"/>
                  <a:gd name="T37" fmla="*/ 0 h 115"/>
                  <a:gd name="T38" fmla="*/ 32 w 147"/>
                  <a:gd name="T39" fmla="*/ 36 h 115"/>
                  <a:gd name="T40" fmla="*/ 59 w 147"/>
                  <a:gd name="T41" fmla="*/ 36 h 115"/>
                  <a:gd name="T42" fmla="*/ 59 w 147"/>
                  <a:gd name="T43" fmla="*/ 36 h 115"/>
                  <a:gd name="T44" fmla="*/ 68 w 147"/>
                  <a:gd name="T45" fmla="*/ 37 h 115"/>
                  <a:gd name="T46" fmla="*/ 76 w 147"/>
                  <a:gd name="T47" fmla="*/ 38 h 115"/>
                  <a:gd name="T48" fmla="*/ 84 w 147"/>
                  <a:gd name="T49" fmla="*/ 41 h 115"/>
                  <a:gd name="T50" fmla="*/ 92 w 147"/>
                  <a:gd name="T51" fmla="*/ 46 h 115"/>
                  <a:gd name="T52" fmla="*/ 92 w 147"/>
                  <a:gd name="T53" fmla="*/ 46 h 115"/>
                  <a:gd name="T54" fmla="*/ 66 w 147"/>
                  <a:gd name="T55" fmla="*/ 86 h 115"/>
                  <a:gd name="T56" fmla="*/ 66 w 147"/>
                  <a:gd name="T57" fmla="*/ 86 h 115"/>
                  <a:gd name="T58" fmla="*/ 68 w 147"/>
                  <a:gd name="T59" fmla="*/ 84 h 115"/>
                  <a:gd name="T60" fmla="*/ 70 w 147"/>
                  <a:gd name="T61" fmla="*/ 81 h 115"/>
                  <a:gd name="T62" fmla="*/ 71 w 147"/>
                  <a:gd name="T63" fmla="*/ 77 h 115"/>
                  <a:gd name="T64" fmla="*/ 71 w 147"/>
                  <a:gd name="T65" fmla="*/ 74 h 115"/>
                  <a:gd name="T66" fmla="*/ 71 w 147"/>
                  <a:gd name="T67" fmla="*/ 74 h 115"/>
                  <a:gd name="T68" fmla="*/ 71 w 147"/>
                  <a:gd name="T69" fmla="*/ 71 h 115"/>
                  <a:gd name="T70" fmla="*/ 70 w 147"/>
                  <a:gd name="T71" fmla="*/ 68 h 115"/>
                  <a:gd name="T72" fmla="*/ 68 w 147"/>
                  <a:gd name="T73" fmla="*/ 65 h 115"/>
                  <a:gd name="T74" fmla="*/ 67 w 147"/>
                  <a:gd name="T75" fmla="*/ 63 h 115"/>
                  <a:gd name="T76" fmla="*/ 64 w 147"/>
                  <a:gd name="T77" fmla="*/ 61 h 115"/>
                  <a:gd name="T78" fmla="*/ 61 w 147"/>
                  <a:gd name="T79" fmla="*/ 60 h 115"/>
                  <a:gd name="T80" fmla="*/ 53 w 147"/>
                  <a:gd name="T81" fmla="*/ 59 h 115"/>
                  <a:gd name="T82" fmla="*/ 32 w 147"/>
                  <a:gd name="T83" fmla="*/ 59 h 115"/>
                  <a:gd name="T84" fmla="*/ 32 w 147"/>
                  <a:gd name="T85" fmla="*/ 91 h 115"/>
                  <a:gd name="T86" fmla="*/ 53 w 147"/>
                  <a:gd name="T87" fmla="*/ 91 h 115"/>
                  <a:gd name="T88" fmla="*/ 53 w 147"/>
                  <a:gd name="T89" fmla="*/ 91 h 115"/>
                  <a:gd name="T90" fmla="*/ 57 w 147"/>
                  <a:gd name="T91" fmla="*/ 91 h 115"/>
                  <a:gd name="T92" fmla="*/ 60 w 147"/>
                  <a:gd name="T93" fmla="*/ 90 h 115"/>
                  <a:gd name="T94" fmla="*/ 63 w 147"/>
                  <a:gd name="T95" fmla="*/ 88 h 115"/>
                  <a:gd name="T96" fmla="*/ 66 w 147"/>
                  <a:gd name="T97" fmla="*/ 86 h 115"/>
                  <a:gd name="T98" fmla="*/ 66 w 147"/>
                  <a:gd name="T99" fmla="*/ 86 h 115"/>
                  <a:gd name="T100" fmla="*/ 116 w 147"/>
                  <a:gd name="T101" fmla="*/ 0 h 115"/>
                  <a:gd name="T102" fmla="*/ 147 w 147"/>
                  <a:gd name="T103" fmla="*/ 0 h 115"/>
                  <a:gd name="T104" fmla="*/ 147 w 147"/>
                  <a:gd name="T105" fmla="*/ 115 h 115"/>
                  <a:gd name="T106" fmla="*/ 116 w 147"/>
                  <a:gd name="T107" fmla="*/ 115 h 115"/>
                  <a:gd name="T108" fmla="*/ 116 w 147"/>
                  <a:gd name="T109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47" h="115">
                    <a:moveTo>
                      <a:pt x="92" y="46"/>
                    </a:moveTo>
                    <a:lnTo>
                      <a:pt x="92" y="46"/>
                    </a:lnTo>
                    <a:lnTo>
                      <a:pt x="97" y="51"/>
                    </a:lnTo>
                    <a:lnTo>
                      <a:pt x="101" y="58"/>
                    </a:lnTo>
                    <a:lnTo>
                      <a:pt x="103" y="66"/>
                    </a:lnTo>
                    <a:lnTo>
                      <a:pt x="103" y="73"/>
                    </a:lnTo>
                    <a:lnTo>
                      <a:pt x="103" y="73"/>
                    </a:lnTo>
                    <a:lnTo>
                      <a:pt x="103" y="82"/>
                    </a:lnTo>
                    <a:lnTo>
                      <a:pt x="100" y="90"/>
                    </a:lnTo>
                    <a:lnTo>
                      <a:pt x="96" y="97"/>
                    </a:lnTo>
                    <a:lnTo>
                      <a:pt x="90" y="104"/>
                    </a:lnTo>
                    <a:lnTo>
                      <a:pt x="90" y="104"/>
                    </a:lnTo>
                    <a:lnTo>
                      <a:pt x="82" y="109"/>
                    </a:lnTo>
                    <a:lnTo>
                      <a:pt x="74" y="113"/>
                    </a:lnTo>
                    <a:lnTo>
                      <a:pt x="65" y="115"/>
                    </a:lnTo>
                    <a:lnTo>
                      <a:pt x="55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2" y="0"/>
                    </a:lnTo>
                    <a:lnTo>
                      <a:pt x="32" y="36"/>
                    </a:lnTo>
                    <a:lnTo>
                      <a:pt x="59" y="36"/>
                    </a:lnTo>
                    <a:lnTo>
                      <a:pt x="59" y="36"/>
                    </a:lnTo>
                    <a:lnTo>
                      <a:pt x="68" y="37"/>
                    </a:lnTo>
                    <a:lnTo>
                      <a:pt x="76" y="38"/>
                    </a:lnTo>
                    <a:lnTo>
                      <a:pt x="84" y="41"/>
                    </a:lnTo>
                    <a:lnTo>
                      <a:pt x="92" y="46"/>
                    </a:lnTo>
                    <a:lnTo>
                      <a:pt x="92" y="46"/>
                    </a:lnTo>
                    <a:close/>
                    <a:moveTo>
                      <a:pt x="66" y="86"/>
                    </a:moveTo>
                    <a:lnTo>
                      <a:pt x="66" y="86"/>
                    </a:lnTo>
                    <a:lnTo>
                      <a:pt x="68" y="84"/>
                    </a:lnTo>
                    <a:lnTo>
                      <a:pt x="70" y="81"/>
                    </a:lnTo>
                    <a:lnTo>
                      <a:pt x="71" y="77"/>
                    </a:lnTo>
                    <a:lnTo>
                      <a:pt x="71" y="74"/>
                    </a:lnTo>
                    <a:lnTo>
                      <a:pt x="71" y="74"/>
                    </a:lnTo>
                    <a:lnTo>
                      <a:pt x="71" y="71"/>
                    </a:lnTo>
                    <a:lnTo>
                      <a:pt x="70" y="68"/>
                    </a:lnTo>
                    <a:lnTo>
                      <a:pt x="68" y="65"/>
                    </a:lnTo>
                    <a:lnTo>
                      <a:pt x="67" y="63"/>
                    </a:lnTo>
                    <a:lnTo>
                      <a:pt x="64" y="61"/>
                    </a:lnTo>
                    <a:lnTo>
                      <a:pt x="61" y="60"/>
                    </a:lnTo>
                    <a:lnTo>
                      <a:pt x="53" y="59"/>
                    </a:lnTo>
                    <a:lnTo>
                      <a:pt x="32" y="59"/>
                    </a:lnTo>
                    <a:lnTo>
                      <a:pt x="32" y="91"/>
                    </a:lnTo>
                    <a:lnTo>
                      <a:pt x="53" y="91"/>
                    </a:lnTo>
                    <a:lnTo>
                      <a:pt x="53" y="91"/>
                    </a:lnTo>
                    <a:lnTo>
                      <a:pt x="57" y="91"/>
                    </a:lnTo>
                    <a:lnTo>
                      <a:pt x="60" y="90"/>
                    </a:lnTo>
                    <a:lnTo>
                      <a:pt x="63" y="88"/>
                    </a:lnTo>
                    <a:lnTo>
                      <a:pt x="66" y="86"/>
                    </a:lnTo>
                    <a:lnTo>
                      <a:pt x="66" y="86"/>
                    </a:lnTo>
                    <a:close/>
                    <a:moveTo>
                      <a:pt x="116" y="0"/>
                    </a:moveTo>
                    <a:lnTo>
                      <a:pt x="147" y="0"/>
                    </a:lnTo>
                    <a:lnTo>
                      <a:pt x="147" y="115"/>
                    </a:lnTo>
                    <a:lnTo>
                      <a:pt x="116" y="115"/>
                    </a:lnTo>
                    <a:lnTo>
                      <a:pt x="116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9">
                <a:extLst>
                  <a:ext uri="{FF2B5EF4-FFF2-40B4-BE49-F238E27FC236}">
                    <a16:creationId xmlns:a16="http://schemas.microsoft.com/office/drawing/2014/main" id="{76CE0973-99A3-4757-9FE9-5BA20CB9563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802941" y="1379538"/>
                <a:ext cx="74613" cy="90487"/>
              </a:xfrm>
              <a:custGeom>
                <a:avLst/>
                <a:gdLst>
                  <a:gd name="T0" fmla="*/ 92 w 92"/>
                  <a:gd name="T1" fmla="*/ 89 h 115"/>
                  <a:gd name="T2" fmla="*/ 92 w 92"/>
                  <a:gd name="T3" fmla="*/ 115 h 115"/>
                  <a:gd name="T4" fmla="*/ 0 w 92"/>
                  <a:gd name="T5" fmla="*/ 115 h 115"/>
                  <a:gd name="T6" fmla="*/ 0 w 92"/>
                  <a:gd name="T7" fmla="*/ 0 h 115"/>
                  <a:gd name="T8" fmla="*/ 90 w 92"/>
                  <a:gd name="T9" fmla="*/ 0 h 115"/>
                  <a:gd name="T10" fmla="*/ 90 w 92"/>
                  <a:gd name="T11" fmla="*/ 25 h 115"/>
                  <a:gd name="T12" fmla="*/ 32 w 92"/>
                  <a:gd name="T13" fmla="*/ 25 h 115"/>
                  <a:gd name="T14" fmla="*/ 32 w 92"/>
                  <a:gd name="T15" fmla="*/ 44 h 115"/>
                  <a:gd name="T16" fmla="*/ 83 w 92"/>
                  <a:gd name="T17" fmla="*/ 44 h 115"/>
                  <a:gd name="T18" fmla="*/ 83 w 92"/>
                  <a:gd name="T19" fmla="*/ 68 h 115"/>
                  <a:gd name="T20" fmla="*/ 32 w 92"/>
                  <a:gd name="T21" fmla="*/ 68 h 115"/>
                  <a:gd name="T22" fmla="*/ 32 w 92"/>
                  <a:gd name="T23" fmla="*/ 89 h 115"/>
                  <a:gd name="T24" fmla="*/ 92 w 92"/>
                  <a:gd name="T25" fmla="*/ 89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2" h="115">
                    <a:moveTo>
                      <a:pt x="92" y="89"/>
                    </a:moveTo>
                    <a:lnTo>
                      <a:pt x="9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25"/>
                    </a:lnTo>
                    <a:lnTo>
                      <a:pt x="32" y="25"/>
                    </a:lnTo>
                    <a:lnTo>
                      <a:pt x="32" y="44"/>
                    </a:lnTo>
                    <a:lnTo>
                      <a:pt x="83" y="44"/>
                    </a:lnTo>
                    <a:lnTo>
                      <a:pt x="83" y="68"/>
                    </a:lnTo>
                    <a:lnTo>
                      <a:pt x="32" y="68"/>
                    </a:lnTo>
                    <a:lnTo>
                      <a:pt x="32" y="89"/>
                    </a:lnTo>
                    <a:lnTo>
                      <a:pt x="92" y="8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10">
                <a:extLst>
                  <a:ext uri="{FF2B5EF4-FFF2-40B4-BE49-F238E27FC236}">
                    <a16:creationId xmlns:a16="http://schemas.microsoft.com/office/drawing/2014/main" id="{54AF718C-A777-4260-9CC9-C1BAC791311A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934704" y="1379538"/>
                <a:ext cx="82550" cy="90487"/>
              </a:xfrm>
              <a:custGeom>
                <a:avLst/>
                <a:gdLst>
                  <a:gd name="T0" fmla="*/ 99 w 105"/>
                  <a:gd name="T1" fmla="*/ 64 h 115"/>
                  <a:gd name="T2" fmla="*/ 104 w 105"/>
                  <a:gd name="T3" fmla="*/ 72 h 115"/>
                  <a:gd name="T4" fmla="*/ 105 w 105"/>
                  <a:gd name="T5" fmla="*/ 81 h 115"/>
                  <a:gd name="T6" fmla="*/ 104 w 105"/>
                  <a:gd name="T7" fmla="*/ 88 h 115"/>
                  <a:gd name="T8" fmla="*/ 98 w 105"/>
                  <a:gd name="T9" fmla="*/ 101 h 115"/>
                  <a:gd name="T10" fmla="*/ 93 w 105"/>
                  <a:gd name="T11" fmla="*/ 106 h 115"/>
                  <a:gd name="T12" fmla="*/ 78 w 105"/>
                  <a:gd name="T13" fmla="*/ 113 h 115"/>
                  <a:gd name="T14" fmla="*/ 58 w 105"/>
                  <a:gd name="T15" fmla="*/ 115 h 115"/>
                  <a:gd name="T16" fmla="*/ 0 w 105"/>
                  <a:gd name="T17" fmla="*/ 0 h 115"/>
                  <a:gd name="T18" fmla="*/ 55 w 105"/>
                  <a:gd name="T19" fmla="*/ 0 h 115"/>
                  <a:gd name="T20" fmla="*/ 72 w 105"/>
                  <a:gd name="T21" fmla="*/ 2 h 115"/>
                  <a:gd name="T22" fmla="*/ 88 w 105"/>
                  <a:gd name="T23" fmla="*/ 8 h 115"/>
                  <a:gd name="T24" fmla="*/ 93 w 105"/>
                  <a:gd name="T25" fmla="*/ 12 h 115"/>
                  <a:gd name="T26" fmla="*/ 99 w 105"/>
                  <a:gd name="T27" fmla="*/ 23 h 115"/>
                  <a:gd name="T28" fmla="*/ 100 w 105"/>
                  <a:gd name="T29" fmla="*/ 30 h 115"/>
                  <a:gd name="T30" fmla="*/ 96 w 105"/>
                  <a:gd name="T31" fmla="*/ 45 h 115"/>
                  <a:gd name="T32" fmla="*/ 91 w 105"/>
                  <a:gd name="T33" fmla="*/ 50 h 115"/>
                  <a:gd name="T34" fmla="*/ 84 w 105"/>
                  <a:gd name="T35" fmla="*/ 54 h 115"/>
                  <a:gd name="T36" fmla="*/ 93 w 105"/>
                  <a:gd name="T37" fmla="*/ 58 h 115"/>
                  <a:gd name="T38" fmla="*/ 99 w 105"/>
                  <a:gd name="T39" fmla="*/ 64 h 115"/>
                  <a:gd name="T40" fmla="*/ 32 w 105"/>
                  <a:gd name="T41" fmla="*/ 46 h 115"/>
                  <a:gd name="T42" fmla="*/ 52 w 105"/>
                  <a:gd name="T43" fmla="*/ 46 h 115"/>
                  <a:gd name="T44" fmla="*/ 63 w 105"/>
                  <a:gd name="T45" fmla="*/ 43 h 115"/>
                  <a:gd name="T46" fmla="*/ 66 w 105"/>
                  <a:gd name="T47" fmla="*/ 34 h 115"/>
                  <a:gd name="T48" fmla="*/ 65 w 105"/>
                  <a:gd name="T49" fmla="*/ 29 h 115"/>
                  <a:gd name="T50" fmla="*/ 58 w 105"/>
                  <a:gd name="T51" fmla="*/ 24 h 115"/>
                  <a:gd name="T52" fmla="*/ 32 w 105"/>
                  <a:gd name="T53" fmla="*/ 23 h 115"/>
                  <a:gd name="T54" fmla="*/ 71 w 105"/>
                  <a:gd name="T55" fmla="*/ 79 h 115"/>
                  <a:gd name="T56" fmla="*/ 70 w 105"/>
                  <a:gd name="T57" fmla="*/ 74 h 115"/>
                  <a:gd name="T58" fmla="*/ 63 w 105"/>
                  <a:gd name="T59" fmla="*/ 68 h 115"/>
                  <a:gd name="T60" fmla="*/ 32 w 105"/>
                  <a:gd name="T61" fmla="*/ 67 h 115"/>
                  <a:gd name="T62" fmla="*/ 57 w 105"/>
                  <a:gd name="T63" fmla="*/ 91 h 115"/>
                  <a:gd name="T64" fmla="*/ 63 w 105"/>
                  <a:gd name="T65" fmla="*/ 90 h 115"/>
                  <a:gd name="T66" fmla="*/ 70 w 105"/>
                  <a:gd name="T67" fmla="*/ 84 h 115"/>
                  <a:gd name="T68" fmla="*/ 71 w 105"/>
                  <a:gd name="T69" fmla="*/ 79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5" h="115">
                    <a:moveTo>
                      <a:pt x="99" y="64"/>
                    </a:moveTo>
                    <a:lnTo>
                      <a:pt x="99" y="64"/>
                    </a:lnTo>
                    <a:lnTo>
                      <a:pt x="102" y="68"/>
                    </a:lnTo>
                    <a:lnTo>
                      <a:pt x="104" y="72"/>
                    </a:lnTo>
                    <a:lnTo>
                      <a:pt x="105" y="77"/>
                    </a:lnTo>
                    <a:lnTo>
                      <a:pt x="105" y="81"/>
                    </a:lnTo>
                    <a:lnTo>
                      <a:pt x="105" y="81"/>
                    </a:lnTo>
                    <a:lnTo>
                      <a:pt x="104" y="88"/>
                    </a:lnTo>
                    <a:lnTo>
                      <a:pt x="102" y="95"/>
                    </a:lnTo>
                    <a:lnTo>
                      <a:pt x="98" y="101"/>
                    </a:lnTo>
                    <a:lnTo>
                      <a:pt x="93" y="106"/>
                    </a:lnTo>
                    <a:lnTo>
                      <a:pt x="93" y="106"/>
                    </a:lnTo>
                    <a:lnTo>
                      <a:pt x="86" y="110"/>
                    </a:lnTo>
                    <a:lnTo>
                      <a:pt x="78" y="113"/>
                    </a:lnTo>
                    <a:lnTo>
                      <a:pt x="69" y="114"/>
                    </a:lnTo>
                    <a:lnTo>
                      <a:pt x="58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55" y="0"/>
                    </a:lnTo>
                    <a:lnTo>
                      <a:pt x="55" y="0"/>
                    </a:lnTo>
                    <a:lnTo>
                      <a:pt x="64" y="0"/>
                    </a:lnTo>
                    <a:lnTo>
                      <a:pt x="72" y="2"/>
                    </a:lnTo>
                    <a:lnTo>
                      <a:pt x="81" y="4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93" y="12"/>
                    </a:lnTo>
                    <a:lnTo>
                      <a:pt x="97" y="17"/>
                    </a:lnTo>
                    <a:lnTo>
                      <a:pt x="99" y="23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99" y="37"/>
                    </a:lnTo>
                    <a:lnTo>
                      <a:pt x="96" y="45"/>
                    </a:lnTo>
                    <a:lnTo>
                      <a:pt x="96" y="45"/>
                    </a:lnTo>
                    <a:lnTo>
                      <a:pt x="91" y="50"/>
                    </a:lnTo>
                    <a:lnTo>
                      <a:pt x="84" y="54"/>
                    </a:lnTo>
                    <a:lnTo>
                      <a:pt x="84" y="54"/>
                    </a:lnTo>
                    <a:lnTo>
                      <a:pt x="88" y="56"/>
                    </a:lnTo>
                    <a:lnTo>
                      <a:pt x="93" y="58"/>
                    </a:lnTo>
                    <a:lnTo>
                      <a:pt x="96" y="61"/>
                    </a:lnTo>
                    <a:lnTo>
                      <a:pt x="99" y="64"/>
                    </a:lnTo>
                    <a:lnTo>
                      <a:pt x="99" y="64"/>
                    </a:lnTo>
                    <a:close/>
                    <a:moveTo>
                      <a:pt x="32" y="46"/>
                    </a:moveTo>
                    <a:lnTo>
                      <a:pt x="52" y="46"/>
                    </a:lnTo>
                    <a:lnTo>
                      <a:pt x="52" y="46"/>
                    </a:lnTo>
                    <a:lnTo>
                      <a:pt x="58" y="45"/>
                    </a:lnTo>
                    <a:lnTo>
                      <a:pt x="63" y="43"/>
                    </a:lnTo>
                    <a:lnTo>
                      <a:pt x="65" y="39"/>
                    </a:lnTo>
                    <a:lnTo>
                      <a:pt x="66" y="34"/>
                    </a:lnTo>
                    <a:lnTo>
                      <a:pt x="66" y="34"/>
                    </a:lnTo>
                    <a:lnTo>
                      <a:pt x="65" y="29"/>
                    </a:lnTo>
                    <a:lnTo>
                      <a:pt x="63" y="26"/>
                    </a:lnTo>
                    <a:lnTo>
                      <a:pt x="58" y="24"/>
                    </a:lnTo>
                    <a:lnTo>
                      <a:pt x="52" y="23"/>
                    </a:lnTo>
                    <a:lnTo>
                      <a:pt x="32" y="23"/>
                    </a:lnTo>
                    <a:lnTo>
                      <a:pt x="32" y="46"/>
                    </a:lnTo>
                    <a:close/>
                    <a:moveTo>
                      <a:pt x="71" y="79"/>
                    </a:moveTo>
                    <a:lnTo>
                      <a:pt x="71" y="79"/>
                    </a:lnTo>
                    <a:lnTo>
                      <a:pt x="70" y="74"/>
                    </a:lnTo>
                    <a:lnTo>
                      <a:pt x="68" y="70"/>
                    </a:lnTo>
                    <a:lnTo>
                      <a:pt x="63" y="68"/>
                    </a:lnTo>
                    <a:lnTo>
                      <a:pt x="57" y="67"/>
                    </a:lnTo>
                    <a:lnTo>
                      <a:pt x="32" y="67"/>
                    </a:lnTo>
                    <a:lnTo>
                      <a:pt x="32" y="91"/>
                    </a:lnTo>
                    <a:lnTo>
                      <a:pt x="57" y="91"/>
                    </a:lnTo>
                    <a:lnTo>
                      <a:pt x="57" y="91"/>
                    </a:lnTo>
                    <a:lnTo>
                      <a:pt x="63" y="90"/>
                    </a:lnTo>
                    <a:lnTo>
                      <a:pt x="68" y="88"/>
                    </a:lnTo>
                    <a:lnTo>
                      <a:pt x="70" y="84"/>
                    </a:lnTo>
                    <a:lnTo>
                      <a:pt x="71" y="79"/>
                    </a:lnTo>
                    <a:lnTo>
                      <a:pt x="71" y="7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11">
                <a:extLst>
                  <a:ext uri="{FF2B5EF4-FFF2-40B4-BE49-F238E27FC236}">
                    <a16:creationId xmlns:a16="http://schemas.microsoft.com/office/drawing/2014/main" id="{B2E404CB-16BC-4E5D-891C-ADC6E43DA5AA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1033129" y="1379538"/>
                <a:ext cx="119063" cy="90487"/>
              </a:xfrm>
              <a:custGeom>
                <a:avLst/>
                <a:gdLst>
                  <a:gd name="T0" fmla="*/ 92 w 148"/>
                  <a:gd name="T1" fmla="*/ 46 h 115"/>
                  <a:gd name="T2" fmla="*/ 92 w 148"/>
                  <a:gd name="T3" fmla="*/ 46 h 115"/>
                  <a:gd name="T4" fmla="*/ 97 w 148"/>
                  <a:gd name="T5" fmla="*/ 51 h 115"/>
                  <a:gd name="T6" fmla="*/ 101 w 148"/>
                  <a:gd name="T7" fmla="*/ 58 h 115"/>
                  <a:gd name="T8" fmla="*/ 103 w 148"/>
                  <a:gd name="T9" fmla="*/ 66 h 115"/>
                  <a:gd name="T10" fmla="*/ 103 w 148"/>
                  <a:gd name="T11" fmla="*/ 73 h 115"/>
                  <a:gd name="T12" fmla="*/ 103 w 148"/>
                  <a:gd name="T13" fmla="*/ 73 h 115"/>
                  <a:gd name="T14" fmla="*/ 103 w 148"/>
                  <a:gd name="T15" fmla="*/ 82 h 115"/>
                  <a:gd name="T16" fmla="*/ 100 w 148"/>
                  <a:gd name="T17" fmla="*/ 90 h 115"/>
                  <a:gd name="T18" fmla="*/ 96 w 148"/>
                  <a:gd name="T19" fmla="*/ 97 h 115"/>
                  <a:gd name="T20" fmla="*/ 91 w 148"/>
                  <a:gd name="T21" fmla="*/ 104 h 115"/>
                  <a:gd name="T22" fmla="*/ 91 w 148"/>
                  <a:gd name="T23" fmla="*/ 104 h 115"/>
                  <a:gd name="T24" fmla="*/ 83 w 148"/>
                  <a:gd name="T25" fmla="*/ 109 h 115"/>
                  <a:gd name="T26" fmla="*/ 73 w 148"/>
                  <a:gd name="T27" fmla="*/ 113 h 115"/>
                  <a:gd name="T28" fmla="*/ 64 w 148"/>
                  <a:gd name="T29" fmla="*/ 115 h 115"/>
                  <a:gd name="T30" fmla="*/ 54 w 148"/>
                  <a:gd name="T31" fmla="*/ 115 h 115"/>
                  <a:gd name="T32" fmla="*/ 0 w 148"/>
                  <a:gd name="T33" fmla="*/ 115 h 115"/>
                  <a:gd name="T34" fmla="*/ 0 w 148"/>
                  <a:gd name="T35" fmla="*/ 0 h 115"/>
                  <a:gd name="T36" fmla="*/ 32 w 148"/>
                  <a:gd name="T37" fmla="*/ 0 h 115"/>
                  <a:gd name="T38" fmla="*/ 32 w 148"/>
                  <a:gd name="T39" fmla="*/ 36 h 115"/>
                  <a:gd name="T40" fmla="*/ 59 w 148"/>
                  <a:gd name="T41" fmla="*/ 36 h 115"/>
                  <a:gd name="T42" fmla="*/ 59 w 148"/>
                  <a:gd name="T43" fmla="*/ 36 h 115"/>
                  <a:gd name="T44" fmla="*/ 67 w 148"/>
                  <a:gd name="T45" fmla="*/ 37 h 115"/>
                  <a:gd name="T46" fmla="*/ 76 w 148"/>
                  <a:gd name="T47" fmla="*/ 38 h 115"/>
                  <a:gd name="T48" fmla="*/ 85 w 148"/>
                  <a:gd name="T49" fmla="*/ 41 h 115"/>
                  <a:gd name="T50" fmla="*/ 92 w 148"/>
                  <a:gd name="T51" fmla="*/ 46 h 115"/>
                  <a:gd name="T52" fmla="*/ 92 w 148"/>
                  <a:gd name="T53" fmla="*/ 46 h 115"/>
                  <a:gd name="T54" fmla="*/ 65 w 148"/>
                  <a:gd name="T55" fmla="*/ 86 h 115"/>
                  <a:gd name="T56" fmla="*/ 65 w 148"/>
                  <a:gd name="T57" fmla="*/ 86 h 115"/>
                  <a:gd name="T58" fmla="*/ 67 w 148"/>
                  <a:gd name="T59" fmla="*/ 84 h 115"/>
                  <a:gd name="T60" fmla="*/ 69 w 148"/>
                  <a:gd name="T61" fmla="*/ 81 h 115"/>
                  <a:gd name="T62" fmla="*/ 70 w 148"/>
                  <a:gd name="T63" fmla="*/ 77 h 115"/>
                  <a:gd name="T64" fmla="*/ 70 w 148"/>
                  <a:gd name="T65" fmla="*/ 74 h 115"/>
                  <a:gd name="T66" fmla="*/ 70 w 148"/>
                  <a:gd name="T67" fmla="*/ 74 h 115"/>
                  <a:gd name="T68" fmla="*/ 70 w 148"/>
                  <a:gd name="T69" fmla="*/ 71 h 115"/>
                  <a:gd name="T70" fmla="*/ 69 w 148"/>
                  <a:gd name="T71" fmla="*/ 68 h 115"/>
                  <a:gd name="T72" fmla="*/ 68 w 148"/>
                  <a:gd name="T73" fmla="*/ 65 h 115"/>
                  <a:gd name="T74" fmla="*/ 66 w 148"/>
                  <a:gd name="T75" fmla="*/ 63 h 115"/>
                  <a:gd name="T76" fmla="*/ 63 w 148"/>
                  <a:gd name="T77" fmla="*/ 61 h 115"/>
                  <a:gd name="T78" fmla="*/ 60 w 148"/>
                  <a:gd name="T79" fmla="*/ 60 h 115"/>
                  <a:gd name="T80" fmla="*/ 52 w 148"/>
                  <a:gd name="T81" fmla="*/ 59 h 115"/>
                  <a:gd name="T82" fmla="*/ 33 w 148"/>
                  <a:gd name="T83" fmla="*/ 59 h 115"/>
                  <a:gd name="T84" fmla="*/ 33 w 148"/>
                  <a:gd name="T85" fmla="*/ 91 h 115"/>
                  <a:gd name="T86" fmla="*/ 52 w 148"/>
                  <a:gd name="T87" fmla="*/ 91 h 115"/>
                  <a:gd name="T88" fmla="*/ 52 w 148"/>
                  <a:gd name="T89" fmla="*/ 91 h 115"/>
                  <a:gd name="T90" fmla="*/ 56 w 148"/>
                  <a:gd name="T91" fmla="*/ 91 h 115"/>
                  <a:gd name="T92" fmla="*/ 59 w 148"/>
                  <a:gd name="T93" fmla="*/ 90 h 115"/>
                  <a:gd name="T94" fmla="*/ 62 w 148"/>
                  <a:gd name="T95" fmla="*/ 88 h 115"/>
                  <a:gd name="T96" fmla="*/ 65 w 148"/>
                  <a:gd name="T97" fmla="*/ 86 h 115"/>
                  <a:gd name="T98" fmla="*/ 65 w 148"/>
                  <a:gd name="T99" fmla="*/ 86 h 115"/>
                  <a:gd name="T100" fmla="*/ 116 w 148"/>
                  <a:gd name="T101" fmla="*/ 0 h 115"/>
                  <a:gd name="T102" fmla="*/ 148 w 148"/>
                  <a:gd name="T103" fmla="*/ 0 h 115"/>
                  <a:gd name="T104" fmla="*/ 148 w 148"/>
                  <a:gd name="T105" fmla="*/ 115 h 115"/>
                  <a:gd name="T106" fmla="*/ 116 w 148"/>
                  <a:gd name="T107" fmla="*/ 115 h 115"/>
                  <a:gd name="T108" fmla="*/ 116 w 148"/>
                  <a:gd name="T109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48" h="115">
                    <a:moveTo>
                      <a:pt x="92" y="46"/>
                    </a:moveTo>
                    <a:lnTo>
                      <a:pt x="92" y="46"/>
                    </a:lnTo>
                    <a:lnTo>
                      <a:pt x="97" y="51"/>
                    </a:lnTo>
                    <a:lnTo>
                      <a:pt x="101" y="58"/>
                    </a:lnTo>
                    <a:lnTo>
                      <a:pt x="103" y="66"/>
                    </a:lnTo>
                    <a:lnTo>
                      <a:pt x="103" y="73"/>
                    </a:lnTo>
                    <a:lnTo>
                      <a:pt x="103" y="73"/>
                    </a:lnTo>
                    <a:lnTo>
                      <a:pt x="103" y="82"/>
                    </a:lnTo>
                    <a:lnTo>
                      <a:pt x="100" y="90"/>
                    </a:lnTo>
                    <a:lnTo>
                      <a:pt x="96" y="97"/>
                    </a:lnTo>
                    <a:lnTo>
                      <a:pt x="91" y="104"/>
                    </a:lnTo>
                    <a:lnTo>
                      <a:pt x="91" y="104"/>
                    </a:lnTo>
                    <a:lnTo>
                      <a:pt x="83" y="109"/>
                    </a:lnTo>
                    <a:lnTo>
                      <a:pt x="73" y="113"/>
                    </a:lnTo>
                    <a:lnTo>
                      <a:pt x="64" y="115"/>
                    </a:lnTo>
                    <a:lnTo>
                      <a:pt x="54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2" y="0"/>
                    </a:lnTo>
                    <a:lnTo>
                      <a:pt x="32" y="36"/>
                    </a:lnTo>
                    <a:lnTo>
                      <a:pt x="59" y="36"/>
                    </a:lnTo>
                    <a:lnTo>
                      <a:pt x="59" y="36"/>
                    </a:lnTo>
                    <a:lnTo>
                      <a:pt x="67" y="37"/>
                    </a:lnTo>
                    <a:lnTo>
                      <a:pt x="76" y="38"/>
                    </a:lnTo>
                    <a:lnTo>
                      <a:pt x="85" y="41"/>
                    </a:lnTo>
                    <a:lnTo>
                      <a:pt x="92" y="46"/>
                    </a:lnTo>
                    <a:lnTo>
                      <a:pt x="92" y="46"/>
                    </a:lnTo>
                    <a:close/>
                    <a:moveTo>
                      <a:pt x="65" y="86"/>
                    </a:moveTo>
                    <a:lnTo>
                      <a:pt x="65" y="86"/>
                    </a:lnTo>
                    <a:lnTo>
                      <a:pt x="67" y="84"/>
                    </a:lnTo>
                    <a:lnTo>
                      <a:pt x="69" y="81"/>
                    </a:lnTo>
                    <a:lnTo>
                      <a:pt x="70" y="77"/>
                    </a:lnTo>
                    <a:lnTo>
                      <a:pt x="70" y="74"/>
                    </a:lnTo>
                    <a:lnTo>
                      <a:pt x="70" y="74"/>
                    </a:lnTo>
                    <a:lnTo>
                      <a:pt x="70" y="71"/>
                    </a:lnTo>
                    <a:lnTo>
                      <a:pt x="69" y="68"/>
                    </a:lnTo>
                    <a:lnTo>
                      <a:pt x="68" y="65"/>
                    </a:lnTo>
                    <a:lnTo>
                      <a:pt x="66" y="63"/>
                    </a:lnTo>
                    <a:lnTo>
                      <a:pt x="63" y="61"/>
                    </a:lnTo>
                    <a:lnTo>
                      <a:pt x="60" y="60"/>
                    </a:lnTo>
                    <a:lnTo>
                      <a:pt x="52" y="59"/>
                    </a:lnTo>
                    <a:lnTo>
                      <a:pt x="33" y="59"/>
                    </a:lnTo>
                    <a:lnTo>
                      <a:pt x="33" y="91"/>
                    </a:lnTo>
                    <a:lnTo>
                      <a:pt x="52" y="91"/>
                    </a:lnTo>
                    <a:lnTo>
                      <a:pt x="52" y="91"/>
                    </a:lnTo>
                    <a:lnTo>
                      <a:pt x="56" y="91"/>
                    </a:lnTo>
                    <a:lnTo>
                      <a:pt x="59" y="90"/>
                    </a:lnTo>
                    <a:lnTo>
                      <a:pt x="62" y="88"/>
                    </a:lnTo>
                    <a:lnTo>
                      <a:pt x="65" y="86"/>
                    </a:lnTo>
                    <a:lnTo>
                      <a:pt x="65" y="86"/>
                    </a:lnTo>
                    <a:close/>
                    <a:moveTo>
                      <a:pt x="116" y="0"/>
                    </a:moveTo>
                    <a:lnTo>
                      <a:pt x="148" y="0"/>
                    </a:lnTo>
                    <a:lnTo>
                      <a:pt x="148" y="115"/>
                    </a:lnTo>
                    <a:lnTo>
                      <a:pt x="116" y="115"/>
                    </a:lnTo>
                    <a:lnTo>
                      <a:pt x="116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12">
                <a:extLst>
                  <a:ext uri="{FF2B5EF4-FFF2-40B4-BE49-F238E27FC236}">
                    <a16:creationId xmlns:a16="http://schemas.microsoft.com/office/drawing/2014/main" id="{229477AA-ACD1-484D-B6B1-AA9E5602EFF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166479" y="1376363"/>
                <a:ext cx="79375" cy="95250"/>
              </a:xfrm>
              <a:custGeom>
                <a:avLst/>
                <a:gdLst>
                  <a:gd name="T0" fmla="*/ 96 w 101"/>
                  <a:gd name="T1" fmla="*/ 68 h 120"/>
                  <a:gd name="T2" fmla="*/ 100 w 101"/>
                  <a:gd name="T3" fmla="*/ 76 h 120"/>
                  <a:gd name="T4" fmla="*/ 101 w 101"/>
                  <a:gd name="T5" fmla="*/ 85 h 120"/>
                  <a:gd name="T6" fmla="*/ 101 w 101"/>
                  <a:gd name="T7" fmla="*/ 90 h 120"/>
                  <a:gd name="T8" fmla="*/ 97 w 101"/>
                  <a:gd name="T9" fmla="*/ 99 h 120"/>
                  <a:gd name="T10" fmla="*/ 94 w 101"/>
                  <a:gd name="T11" fmla="*/ 104 h 120"/>
                  <a:gd name="T12" fmla="*/ 85 w 101"/>
                  <a:gd name="T13" fmla="*/ 111 h 120"/>
                  <a:gd name="T14" fmla="*/ 75 w 101"/>
                  <a:gd name="T15" fmla="*/ 116 h 120"/>
                  <a:gd name="T16" fmla="*/ 61 w 101"/>
                  <a:gd name="T17" fmla="*/ 119 h 120"/>
                  <a:gd name="T18" fmla="*/ 48 w 101"/>
                  <a:gd name="T19" fmla="*/ 120 h 120"/>
                  <a:gd name="T20" fmla="*/ 23 w 101"/>
                  <a:gd name="T21" fmla="*/ 118 h 120"/>
                  <a:gd name="T22" fmla="*/ 12 w 101"/>
                  <a:gd name="T23" fmla="*/ 114 h 120"/>
                  <a:gd name="T24" fmla="*/ 10 w 101"/>
                  <a:gd name="T25" fmla="*/ 86 h 120"/>
                  <a:gd name="T26" fmla="*/ 18 w 101"/>
                  <a:gd name="T27" fmla="*/ 89 h 120"/>
                  <a:gd name="T28" fmla="*/ 26 w 101"/>
                  <a:gd name="T29" fmla="*/ 92 h 120"/>
                  <a:gd name="T30" fmla="*/ 44 w 101"/>
                  <a:gd name="T31" fmla="*/ 94 h 120"/>
                  <a:gd name="T32" fmla="*/ 53 w 101"/>
                  <a:gd name="T33" fmla="*/ 93 h 120"/>
                  <a:gd name="T34" fmla="*/ 62 w 101"/>
                  <a:gd name="T35" fmla="*/ 90 h 120"/>
                  <a:gd name="T36" fmla="*/ 67 w 101"/>
                  <a:gd name="T37" fmla="*/ 86 h 120"/>
                  <a:gd name="T38" fmla="*/ 69 w 101"/>
                  <a:gd name="T39" fmla="*/ 80 h 120"/>
                  <a:gd name="T40" fmla="*/ 68 w 101"/>
                  <a:gd name="T41" fmla="*/ 78 h 120"/>
                  <a:gd name="T42" fmla="*/ 66 w 101"/>
                  <a:gd name="T43" fmla="*/ 74 h 120"/>
                  <a:gd name="T44" fmla="*/ 64 w 101"/>
                  <a:gd name="T45" fmla="*/ 73 h 120"/>
                  <a:gd name="T46" fmla="*/ 53 w 101"/>
                  <a:gd name="T47" fmla="*/ 70 h 120"/>
                  <a:gd name="T48" fmla="*/ 23 w 101"/>
                  <a:gd name="T49" fmla="*/ 47 h 120"/>
                  <a:gd name="T50" fmla="*/ 50 w 101"/>
                  <a:gd name="T51" fmla="*/ 47 h 120"/>
                  <a:gd name="T52" fmla="*/ 60 w 101"/>
                  <a:gd name="T53" fmla="*/ 44 h 120"/>
                  <a:gd name="T54" fmla="*/ 63 w 101"/>
                  <a:gd name="T55" fmla="*/ 41 h 120"/>
                  <a:gd name="T56" fmla="*/ 64 w 101"/>
                  <a:gd name="T57" fmla="*/ 37 h 120"/>
                  <a:gd name="T58" fmla="*/ 62 w 101"/>
                  <a:gd name="T59" fmla="*/ 32 h 120"/>
                  <a:gd name="T60" fmla="*/ 58 w 101"/>
                  <a:gd name="T61" fmla="*/ 29 h 120"/>
                  <a:gd name="T62" fmla="*/ 51 w 101"/>
                  <a:gd name="T63" fmla="*/ 26 h 120"/>
                  <a:gd name="T64" fmla="*/ 44 w 101"/>
                  <a:gd name="T65" fmla="*/ 26 h 120"/>
                  <a:gd name="T66" fmla="*/ 28 w 101"/>
                  <a:gd name="T67" fmla="*/ 28 h 120"/>
                  <a:gd name="T68" fmla="*/ 20 w 101"/>
                  <a:gd name="T69" fmla="*/ 30 h 120"/>
                  <a:gd name="T70" fmla="*/ 3 w 101"/>
                  <a:gd name="T71" fmla="*/ 9 h 120"/>
                  <a:gd name="T72" fmla="*/ 13 w 101"/>
                  <a:gd name="T73" fmla="*/ 5 h 120"/>
                  <a:gd name="T74" fmla="*/ 33 w 101"/>
                  <a:gd name="T75" fmla="*/ 1 h 120"/>
                  <a:gd name="T76" fmla="*/ 44 w 101"/>
                  <a:gd name="T77" fmla="*/ 0 h 120"/>
                  <a:gd name="T78" fmla="*/ 70 w 101"/>
                  <a:gd name="T79" fmla="*/ 4 h 120"/>
                  <a:gd name="T80" fmla="*/ 75 w 101"/>
                  <a:gd name="T81" fmla="*/ 6 h 120"/>
                  <a:gd name="T82" fmla="*/ 85 w 101"/>
                  <a:gd name="T83" fmla="*/ 12 h 120"/>
                  <a:gd name="T84" fmla="*/ 89 w 101"/>
                  <a:gd name="T85" fmla="*/ 16 h 120"/>
                  <a:gd name="T86" fmla="*/ 95 w 101"/>
                  <a:gd name="T87" fmla="*/ 24 h 120"/>
                  <a:gd name="T88" fmla="*/ 96 w 101"/>
                  <a:gd name="T89" fmla="*/ 34 h 120"/>
                  <a:gd name="T90" fmla="*/ 95 w 101"/>
                  <a:gd name="T91" fmla="*/ 41 h 120"/>
                  <a:gd name="T92" fmla="*/ 92 w 101"/>
                  <a:gd name="T93" fmla="*/ 48 h 120"/>
                  <a:gd name="T94" fmla="*/ 81 w 101"/>
                  <a:gd name="T95" fmla="*/ 58 h 120"/>
                  <a:gd name="T96" fmla="*/ 85 w 101"/>
                  <a:gd name="T97" fmla="*/ 59 h 120"/>
                  <a:gd name="T98" fmla="*/ 93 w 101"/>
                  <a:gd name="T99" fmla="*/ 65 h 120"/>
                  <a:gd name="T100" fmla="*/ 96 w 101"/>
                  <a:gd name="T101" fmla="*/ 68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01" h="120">
                    <a:moveTo>
                      <a:pt x="96" y="68"/>
                    </a:moveTo>
                    <a:lnTo>
                      <a:pt x="96" y="68"/>
                    </a:lnTo>
                    <a:lnTo>
                      <a:pt x="98" y="72"/>
                    </a:lnTo>
                    <a:lnTo>
                      <a:pt x="100" y="76"/>
                    </a:lnTo>
                    <a:lnTo>
                      <a:pt x="101" y="80"/>
                    </a:lnTo>
                    <a:lnTo>
                      <a:pt x="101" y="85"/>
                    </a:lnTo>
                    <a:lnTo>
                      <a:pt x="101" y="85"/>
                    </a:lnTo>
                    <a:lnTo>
                      <a:pt x="101" y="90"/>
                    </a:lnTo>
                    <a:lnTo>
                      <a:pt x="99" y="95"/>
                    </a:lnTo>
                    <a:lnTo>
                      <a:pt x="97" y="99"/>
                    </a:lnTo>
                    <a:lnTo>
                      <a:pt x="94" y="104"/>
                    </a:lnTo>
                    <a:lnTo>
                      <a:pt x="94" y="104"/>
                    </a:lnTo>
                    <a:lnTo>
                      <a:pt x="90" y="108"/>
                    </a:lnTo>
                    <a:lnTo>
                      <a:pt x="85" y="111"/>
                    </a:lnTo>
                    <a:lnTo>
                      <a:pt x="80" y="114"/>
                    </a:lnTo>
                    <a:lnTo>
                      <a:pt x="75" y="116"/>
                    </a:lnTo>
                    <a:lnTo>
                      <a:pt x="75" y="116"/>
                    </a:lnTo>
                    <a:lnTo>
                      <a:pt x="61" y="119"/>
                    </a:lnTo>
                    <a:lnTo>
                      <a:pt x="48" y="120"/>
                    </a:lnTo>
                    <a:lnTo>
                      <a:pt x="48" y="120"/>
                    </a:lnTo>
                    <a:lnTo>
                      <a:pt x="35" y="120"/>
                    </a:lnTo>
                    <a:lnTo>
                      <a:pt x="23" y="118"/>
                    </a:lnTo>
                    <a:lnTo>
                      <a:pt x="23" y="118"/>
                    </a:lnTo>
                    <a:lnTo>
                      <a:pt x="12" y="114"/>
                    </a:lnTo>
                    <a:lnTo>
                      <a:pt x="0" y="109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8" y="89"/>
                    </a:lnTo>
                    <a:lnTo>
                      <a:pt x="26" y="92"/>
                    </a:lnTo>
                    <a:lnTo>
                      <a:pt x="26" y="92"/>
                    </a:lnTo>
                    <a:lnTo>
                      <a:pt x="35" y="93"/>
                    </a:lnTo>
                    <a:lnTo>
                      <a:pt x="44" y="94"/>
                    </a:lnTo>
                    <a:lnTo>
                      <a:pt x="44" y="94"/>
                    </a:lnTo>
                    <a:lnTo>
                      <a:pt x="53" y="93"/>
                    </a:lnTo>
                    <a:lnTo>
                      <a:pt x="62" y="90"/>
                    </a:lnTo>
                    <a:lnTo>
                      <a:pt x="62" y="90"/>
                    </a:lnTo>
                    <a:lnTo>
                      <a:pt x="64" y="89"/>
                    </a:lnTo>
                    <a:lnTo>
                      <a:pt x="67" y="86"/>
                    </a:lnTo>
                    <a:lnTo>
                      <a:pt x="68" y="84"/>
                    </a:lnTo>
                    <a:lnTo>
                      <a:pt x="69" y="80"/>
                    </a:lnTo>
                    <a:lnTo>
                      <a:pt x="69" y="80"/>
                    </a:lnTo>
                    <a:lnTo>
                      <a:pt x="68" y="78"/>
                    </a:lnTo>
                    <a:lnTo>
                      <a:pt x="67" y="76"/>
                    </a:lnTo>
                    <a:lnTo>
                      <a:pt x="66" y="74"/>
                    </a:lnTo>
                    <a:lnTo>
                      <a:pt x="64" y="73"/>
                    </a:lnTo>
                    <a:lnTo>
                      <a:pt x="64" y="73"/>
                    </a:lnTo>
                    <a:lnTo>
                      <a:pt x="59" y="71"/>
                    </a:lnTo>
                    <a:lnTo>
                      <a:pt x="53" y="70"/>
                    </a:lnTo>
                    <a:lnTo>
                      <a:pt x="23" y="70"/>
                    </a:lnTo>
                    <a:lnTo>
                      <a:pt x="23" y="47"/>
                    </a:lnTo>
                    <a:lnTo>
                      <a:pt x="50" y="47"/>
                    </a:lnTo>
                    <a:lnTo>
                      <a:pt x="50" y="47"/>
                    </a:lnTo>
                    <a:lnTo>
                      <a:pt x="55" y="46"/>
                    </a:lnTo>
                    <a:lnTo>
                      <a:pt x="60" y="44"/>
                    </a:lnTo>
                    <a:lnTo>
                      <a:pt x="60" y="44"/>
                    </a:lnTo>
                    <a:lnTo>
                      <a:pt x="63" y="41"/>
                    </a:lnTo>
                    <a:lnTo>
                      <a:pt x="64" y="37"/>
                    </a:lnTo>
                    <a:lnTo>
                      <a:pt x="64" y="37"/>
                    </a:lnTo>
                    <a:lnTo>
                      <a:pt x="63" y="35"/>
                    </a:lnTo>
                    <a:lnTo>
                      <a:pt x="62" y="32"/>
                    </a:lnTo>
                    <a:lnTo>
                      <a:pt x="61" y="30"/>
                    </a:lnTo>
                    <a:lnTo>
                      <a:pt x="58" y="29"/>
                    </a:lnTo>
                    <a:lnTo>
                      <a:pt x="58" y="29"/>
                    </a:lnTo>
                    <a:lnTo>
                      <a:pt x="51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35" y="26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0" y="30"/>
                    </a:lnTo>
                    <a:lnTo>
                      <a:pt x="13" y="34"/>
                    </a:lnTo>
                    <a:lnTo>
                      <a:pt x="3" y="9"/>
                    </a:lnTo>
                    <a:lnTo>
                      <a:pt x="3" y="9"/>
                    </a:lnTo>
                    <a:lnTo>
                      <a:pt x="13" y="5"/>
                    </a:lnTo>
                    <a:lnTo>
                      <a:pt x="23" y="2"/>
                    </a:lnTo>
                    <a:lnTo>
                      <a:pt x="33" y="1"/>
                    </a:lnTo>
                    <a:lnTo>
                      <a:pt x="44" y="0"/>
                    </a:lnTo>
                    <a:lnTo>
                      <a:pt x="44" y="0"/>
                    </a:lnTo>
                    <a:lnTo>
                      <a:pt x="57" y="1"/>
                    </a:lnTo>
                    <a:lnTo>
                      <a:pt x="70" y="4"/>
                    </a:lnTo>
                    <a:lnTo>
                      <a:pt x="70" y="4"/>
                    </a:lnTo>
                    <a:lnTo>
                      <a:pt x="75" y="6"/>
                    </a:lnTo>
                    <a:lnTo>
                      <a:pt x="80" y="9"/>
                    </a:lnTo>
                    <a:lnTo>
                      <a:pt x="85" y="12"/>
                    </a:lnTo>
                    <a:lnTo>
                      <a:pt x="89" y="16"/>
                    </a:lnTo>
                    <a:lnTo>
                      <a:pt x="89" y="16"/>
                    </a:lnTo>
                    <a:lnTo>
                      <a:pt x="92" y="20"/>
                    </a:lnTo>
                    <a:lnTo>
                      <a:pt x="95" y="24"/>
                    </a:lnTo>
                    <a:lnTo>
                      <a:pt x="96" y="29"/>
                    </a:lnTo>
                    <a:lnTo>
                      <a:pt x="96" y="34"/>
                    </a:lnTo>
                    <a:lnTo>
                      <a:pt x="96" y="34"/>
                    </a:lnTo>
                    <a:lnTo>
                      <a:pt x="95" y="41"/>
                    </a:lnTo>
                    <a:lnTo>
                      <a:pt x="92" y="48"/>
                    </a:lnTo>
                    <a:lnTo>
                      <a:pt x="92" y="48"/>
                    </a:lnTo>
                    <a:lnTo>
                      <a:pt x="87" y="53"/>
                    </a:lnTo>
                    <a:lnTo>
                      <a:pt x="81" y="58"/>
                    </a:lnTo>
                    <a:lnTo>
                      <a:pt x="81" y="58"/>
                    </a:lnTo>
                    <a:lnTo>
                      <a:pt x="85" y="59"/>
                    </a:lnTo>
                    <a:lnTo>
                      <a:pt x="89" y="62"/>
                    </a:lnTo>
                    <a:lnTo>
                      <a:pt x="93" y="65"/>
                    </a:lnTo>
                    <a:lnTo>
                      <a:pt x="96" y="68"/>
                    </a:lnTo>
                    <a:lnTo>
                      <a:pt x="96" y="6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13">
                <a:extLst>
                  <a:ext uri="{FF2B5EF4-FFF2-40B4-BE49-F238E27FC236}">
                    <a16:creationId xmlns:a16="http://schemas.microsoft.com/office/drawing/2014/main" id="{497A4B3C-46D0-47DA-9BA9-72C8CAB21973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1256966" y="1377950"/>
                <a:ext cx="101600" cy="93662"/>
              </a:xfrm>
              <a:custGeom>
                <a:avLst/>
                <a:gdLst>
                  <a:gd name="T0" fmla="*/ 31 w 128"/>
                  <a:gd name="T1" fmla="*/ 112 h 119"/>
                  <a:gd name="T2" fmla="*/ 21 w 128"/>
                  <a:gd name="T3" fmla="*/ 105 h 119"/>
                  <a:gd name="T4" fmla="*/ 7 w 128"/>
                  <a:gd name="T5" fmla="*/ 87 h 119"/>
                  <a:gd name="T6" fmla="*/ 0 w 128"/>
                  <a:gd name="T7" fmla="*/ 65 h 119"/>
                  <a:gd name="T8" fmla="*/ 2 w 128"/>
                  <a:gd name="T9" fmla="*/ 43 h 119"/>
                  <a:gd name="T10" fmla="*/ 7 w 128"/>
                  <a:gd name="T11" fmla="*/ 32 h 119"/>
                  <a:gd name="T12" fmla="*/ 11 w 128"/>
                  <a:gd name="T13" fmla="*/ 24 h 119"/>
                  <a:gd name="T14" fmla="*/ 24 w 128"/>
                  <a:gd name="T15" fmla="*/ 12 h 119"/>
                  <a:gd name="T16" fmla="*/ 31 w 128"/>
                  <a:gd name="T17" fmla="*/ 7 h 119"/>
                  <a:gd name="T18" fmla="*/ 47 w 128"/>
                  <a:gd name="T19" fmla="*/ 2 h 119"/>
                  <a:gd name="T20" fmla="*/ 65 w 128"/>
                  <a:gd name="T21" fmla="*/ 0 h 119"/>
                  <a:gd name="T22" fmla="*/ 81 w 128"/>
                  <a:gd name="T23" fmla="*/ 2 h 119"/>
                  <a:gd name="T24" fmla="*/ 97 w 128"/>
                  <a:gd name="T25" fmla="*/ 7 h 119"/>
                  <a:gd name="T26" fmla="*/ 102 w 128"/>
                  <a:gd name="T27" fmla="*/ 10 h 119"/>
                  <a:gd name="T28" fmla="*/ 115 w 128"/>
                  <a:gd name="T29" fmla="*/ 22 h 119"/>
                  <a:gd name="T30" fmla="*/ 126 w 128"/>
                  <a:gd name="T31" fmla="*/ 42 h 119"/>
                  <a:gd name="T32" fmla="*/ 128 w 128"/>
                  <a:gd name="T33" fmla="*/ 64 h 119"/>
                  <a:gd name="T34" fmla="*/ 124 w 128"/>
                  <a:gd name="T35" fmla="*/ 81 h 119"/>
                  <a:gd name="T36" fmla="*/ 122 w 128"/>
                  <a:gd name="T37" fmla="*/ 86 h 119"/>
                  <a:gd name="T38" fmla="*/ 111 w 128"/>
                  <a:gd name="T39" fmla="*/ 100 h 119"/>
                  <a:gd name="T40" fmla="*/ 97 w 128"/>
                  <a:gd name="T41" fmla="*/ 112 h 119"/>
                  <a:gd name="T42" fmla="*/ 89 w 128"/>
                  <a:gd name="T43" fmla="*/ 115 h 119"/>
                  <a:gd name="T44" fmla="*/ 73 w 128"/>
                  <a:gd name="T45" fmla="*/ 119 h 119"/>
                  <a:gd name="T46" fmla="*/ 56 w 128"/>
                  <a:gd name="T47" fmla="*/ 119 h 119"/>
                  <a:gd name="T48" fmla="*/ 39 w 128"/>
                  <a:gd name="T49" fmla="*/ 115 h 119"/>
                  <a:gd name="T50" fmla="*/ 31 w 128"/>
                  <a:gd name="T51" fmla="*/ 112 h 119"/>
                  <a:gd name="T52" fmla="*/ 80 w 128"/>
                  <a:gd name="T53" fmla="*/ 87 h 119"/>
                  <a:gd name="T54" fmla="*/ 91 w 128"/>
                  <a:gd name="T55" fmla="*/ 76 h 119"/>
                  <a:gd name="T56" fmla="*/ 94 w 128"/>
                  <a:gd name="T57" fmla="*/ 68 h 119"/>
                  <a:gd name="T58" fmla="*/ 94 w 128"/>
                  <a:gd name="T59" fmla="*/ 50 h 119"/>
                  <a:gd name="T60" fmla="*/ 91 w 128"/>
                  <a:gd name="T61" fmla="*/ 42 h 119"/>
                  <a:gd name="T62" fmla="*/ 80 w 128"/>
                  <a:gd name="T63" fmla="*/ 30 h 119"/>
                  <a:gd name="T64" fmla="*/ 73 w 128"/>
                  <a:gd name="T65" fmla="*/ 27 h 119"/>
                  <a:gd name="T66" fmla="*/ 57 w 128"/>
                  <a:gd name="T67" fmla="*/ 27 h 119"/>
                  <a:gd name="T68" fmla="*/ 48 w 128"/>
                  <a:gd name="T69" fmla="*/ 30 h 119"/>
                  <a:gd name="T70" fmla="*/ 37 w 128"/>
                  <a:gd name="T71" fmla="*/ 42 h 119"/>
                  <a:gd name="T72" fmla="*/ 34 w 128"/>
                  <a:gd name="T73" fmla="*/ 50 h 119"/>
                  <a:gd name="T74" fmla="*/ 34 w 128"/>
                  <a:gd name="T75" fmla="*/ 68 h 119"/>
                  <a:gd name="T76" fmla="*/ 37 w 128"/>
                  <a:gd name="T77" fmla="*/ 76 h 119"/>
                  <a:gd name="T78" fmla="*/ 48 w 128"/>
                  <a:gd name="T79" fmla="*/ 87 h 119"/>
                  <a:gd name="T80" fmla="*/ 57 w 128"/>
                  <a:gd name="T81" fmla="*/ 90 h 119"/>
                  <a:gd name="T82" fmla="*/ 73 w 128"/>
                  <a:gd name="T83" fmla="*/ 90 h 119"/>
                  <a:gd name="T84" fmla="*/ 80 w 128"/>
                  <a:gd name="T85" fmla="*/ 87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28" h="119">
                    <a:moveTo>
                      <a:pt x="31" y="112"/>
                    </a:moveTo>
                    <a:lnTo>
                      <a:pt x="31" y="112"/>
                    </a:lnTo>
                    <a:lnTo>
                      <a:pt x="26" y="109"/>
                    </a:lnTo>
                    <a:lnTo>
                      <a:pt x="21" y="105"/>
                    </a:lnTo>
                    <a:lnTo>
                      <a:pt x="13" y="96"/>
                    </a:lnTo>
                    <a:lnTo>
                      <a:pt x="7" y="87"/>
                    </a:lnTo>
                    <a:lnTo>
                      <a:pt x="3" y="76"/>
                    </a:lnTo>
                    <a:lnTo>
                      <a:pt x="0" y="65"/>
                    </a:lnTo>
                    <a:lnTo>
                      <a:pt x="0" y="54"/>
                    </a:lnTo>
                    <a:lnTo>
                      <a:pt x="2" y="43"/>
                    </a:lnTo>
                    <a:lnTo>
                      <a:pt x="4" y="37"/>
                    </a:lnTo>
                    <a:lnTo>
                      <a:pt x="7" y="32"/>
                    </a:lnTo>
                    <a:lnTo>
                      <a:pt x="7" y="32"/>
                    </a:lnTo>
                    <a:lnTo>
                      <a:pt x="11" y="24"/>
                    </a:lnTo>
                    <a:lnTo>
                      <a:pt x="17" y="18"/>
                    </a:lnTo>
                    <a:lnTo>
                      <a:pt x="24" y="12"/>
                    </a:lnTo>
                    <a:lnTo>
                      <a:pt x="31" y="7"/>
                    </a:lnTo>
                    <a:lnTo>
                      <a:pt x="31" y="7"/>
                    </a:lnTo>
                    <a:lnTo>
                      <a:pt x="39" y="4"/>
                    </a:lnTo>
                    <a:lnTo>
                      <a:pt x="47" y="2"/>
                    </a:lnTo>
                    <a:lnTo>
                      <a:pt x="56" y="0"/>
                    </a:lnTo>
                    <a:lnTo>
                      <a:pt x="65" y="0"/>
                    </a:lnTo>
                    <a:lnTo>
                      <a:pt x="73" y="0"/>
                    </a:lnTo>
                    <a:lnTo>
                      <a:pt x="81" y="2"/>
                    </a:lnTo>
                    <a:lnTo>
                      <a:pt x="89" y="4"/>
                    </a:lnTo>
                    <a:lnTo>
                      <a:pt x="97" y="7"/>
                    </a:lnTo>
                    <a:lnTo>
                      <a:pt x="97" y="7"/>
                    </a:lnTo>
                    <a:lnTo>
                      <a:pt x="102" y="10"/>
                    </a:lnTo>
                    <a:lnTo>
                      <a:pt x="107" y="14"/>
                    </a:lnTo>
                    <a:lnTo>
                      <a:pt x="115" y="22"/>
                    </a:lnTo>
                    <a:lnTo>
                      <a:pt x="121" y="31"/>
                    </a:lnTo>
                    <a:lnTo>
                      <a:pt x="126" y="42"/>
                    </a:lnTo>
                    <a:lnTo>
                      <a:pt x="128" y="53"/>
                    </a:lnTo>
                    <a:lnTo>
                      <a:pt x="128" y="64"/>
                    </a:lnTo>
                    <a:lnTo>
                      <a:pt x="126" y="75"/>
                    </a:lnTo>
                    <a:lnTo>
                      <a:pt x="124" y="81"/>
                    </a:lnTo>
                    <a:lnTo>
                      <a:pt x="122" y="86"/>
                    </a:lnTo>
                    <a:lnTo>
                      <a:pt x="122" y="86"/>
                    </a:lnTo>
                    <a:lnTo>
                      <a:pt x="117" y="94"/>
                    </a:lnTo>
                    <a:lnTo>
                      <a:pt x="111" y="100"/>
                    </a:lnTo>
                    <a:lnTo>
                      <a:pt x="105" y="107"/>
                    </a:lnTo>
                    <a:lnTo>
                      <a:pt x="97" y="112"/>
                    </a:lnTo>
                    <a:lnTo>
                      <a:pt x="97" y="112"/>
                    </a:lnTo>
                    <a:lnTo>
                      <a:pt x="89" y="115"/>
                    </a:lnTo>
                    <a:lnTo>
                      <a:pt x="81" y="117"/>
                    </a:lnTo>
                    <a:lnTo>
                      <a:pt x="73" y="119"/>
                    </a:lnTo>
                    <a:lnTo>
                      <a:pt x="65" y="119"/>
                    </a:lnTo>
                    <a:lnTo>
                      <a:pt x="56" y="119"/>
                    </a:lnTo>
                    <a:lnTo>
                      <a:pt x="47" y="117"/>
                    </a:lnTo>
                    <a:lnTo>
                      <a:pt x="39" y="115"/>
                    </a:lnTo>
                    <a:lnTo>
                      <a:pt x="31" y="112"/>
                    </a:lnTo>
                    <a:lnTo>
                      <a:pt x="31" y="112"/>
                    </a:lnTo>
                    <a:close/>
                    <a:moveTo>
                      <a:pt x="80" y="87"/>
                    </a:moveTo>
                    <a:lnTo>
                      <a:pt x="80" y="87"/>
                    </a:lnTo>
                    <a:lnTo>
                      <a:pt x="87" y="82"/>
                    </a:lnTo>
                    <a:lnTo>
                      <a:pt x="91" y="76"/>
                    </a:lnTo>
                    <a:lnTo>
                      <a:pt x="91" y="76"/>
                    </a:lnTo>
                    <a:lnTo>
                      <a:pt x="94" y="68"/>
                    </a:lnTo>
                    <a:lnTo>
                      <a:pt x="96" y="59"/>
                    </a:lnTo>
                    <a:lnTo>
                      <a:pt x="94" y="50"/>
                    </a:lnTo>
                    <a:lnTo>
                      <a:pt x="91" y="42"/>
                    </a:lnTo>
                    <a:lnTo>
                      <a:pt x="91" y="42"/>
                    </a:lnTo>
                    <a:lnTo>
                      <a:pt x="87" y="35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73" y="27"/>
                    </a:lnTo>
                    <a:lnTo>
                      <a:pt x="65" y="26"/>
                    </a:lnTo>
                    <a:lnTo>
                      <a:pt x="57" y="27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2" y="35"/>
                    </a:lnTo>
                    <a:lnTo>
                      <a:pt x="37" y="42"/>
                    </a:lnTo>
                    <a:lnTo>
                      <a:pt x="37" y="42"/>
                    </a:lnTo>
                    <a:lnTo>
                      <a:pt x="34" y="50"/>
                    </a:lnTo>
                    <a:lnTo>
                      <a:pt x="33" y="59"/>
                    </a:lnTo>
                    <a:lnTo>
                      <a:pt x="34" y="68"/>
                    </a:lnTo>
                    <a:lnTo>
                      <a:pt x="37" y="76"/>
                    </a:lnTo>
                    <a:lnTo>
                      <a:pt x="37" y="76"/>
                    </a:lnTo>
                    <a:lnTo>
                      <a:pt x="42" y="82"/>
                    </a:lnTo>
                    <a:lnTo>
                      <a:pt x="48" y="87"/>
                    </a:lnTo>
                    <a:lnTo>
                      <a:pt x="48" y="87"/>
                    </a:lnTo>
                    <a:lnTo>
                      <a:pt x="57" y="90"/>
                    </a:lnTo>
                    <a:lnTo>
                      <a:pt x="65" y="91"/>
                    </a:lnTo>
                    <a:lnTo>
                      <a:pt x="73" y="90"/>
                    </a:lnTo>
                    <a:lnTo>
                      <a:pt x="80" y="87"/>
                    </a:lnTo>
                    <a:lnTo>
                      <a:pt x="80" y="8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14">
                <a:extLst>
                  <a:ext uri="{FF2B5EF4-FFF2-40B4-BE49-F238E27FC236}">
                    <a16:creationId xmlns:a16="http://schemas.microsoft.com/office/drawing/2014/main" id="{62F3D26F-0C83-4BF2-BA91-AD951AE8BE4E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1374441" y="1379538"/>
                <a:ext cx="82550" cy="90487"/>
              </a:xfrm>
              <a:custGeom>
                <a:avLst/>
                <a:gdLst>
                  <a:gd name="T0" fmla="*/ 99 w 104"/>
                  <a:gd name="T1" fmla="*/ 64 h 115"/>
                  <a:gd name="T2" fmla="*/ 103 w 104"/>
                  <a:gd name="T3" fmla="*/ 72 h 115"/>
                  <a:gd name="T4" fmla="*/ 104 w 104"/>
                  <a:gd name="T5" fmla="*/ 81 h 115"/>
                  <a:gd name="T6" fmla="*/ 104 w 104"/>
                  <a:gd name="T7" fmla="*/ 88 h 115"/>
                  <a:gd name="T8" fmla="*/ 98 w 104"/>
                  <a:gd name="T9" fmla="*/ 101 h 115"/>
                  <a:gd name="T10" fmla="*/ 92 w 104"/>
                  <a:gd name="T11" fmla="*/ 106 h 115"/>
                  <a:gd name="T12" fmla="*/ 78 w 104"/>
                  <a:gd name="T13" fmla="*/ 113 h 115"/>
                  <a:gd name="T14" fmla="*/ 59 w 104"/>
                  <a:gd name="T15" fmla="*/ 115 h 115"/>
                  <a:gd name="T16" fmla="*/ 0 w 104"/>
                  <a:gd name="T17" fmla="*/ 0 h 115"/>
                  <a:gd name="T18" fmla="*/ 56 w 104"/>
                  <a:gd name="T19" fmla="*/ 0 h 115"/>
                  <a:gd name="T20" fmla="*/ 72 w 104"/>
                  <a:gd name="T21" fmla="*/ 2 h 115"/>
                  <a:gd name="T22" fmla="*/ 88 w 104"/>
                  <a:gd name="T23" fmla="*/ 8 h 115"/>
                  <a:gd name="T24" fmla="*/ 93 w 104"/>
                  <a:gd name="T25" fmla="*/ 12 h 115"/>
                  <a:gd name="T26" fmla="*/ 99 w 104"/>
                  <a:gd name="T27" fmla="*/ 23 h 115"/>
                  <a:gd name="T28" fmla="*/ 99 w 104"/>
                  <a:gd name="T29" fmla="*/ 30 h 115"/>
                  <a:gd name="T30" fmla="*/ 95 w 104"/>
                  <a:gd name="T31" fmla="*/ 45 h 115"/>
                  <a:gd name="T32" fmla="*/ 90 w 104"/>
                  <a:gd name="T33" fmla="*/ 50 h 115"/>
                  <a:gd name="T34" fmla="*/ 84 w 104"/>
                  <a:gd name="T35" fmla="*/ 54 h 115"/>
                  <a:gd name="T36" fmla="*/ 92 w 104"/>
                  <a:gd name="T37" fmla="*/ 58 h 115"/>
                  <a:gd name="T38" fmla="*/ 99 w 104"/>
                  <a:gd name="T39" fmla="*/ 64 h 115"/>
                  <a:gd name="T40" fmla="*/ 31 w 104"/>
                  <a:gd name="T41" fmla="*/ 46 h 115"/>
                  <a:gd name="T42" fmla="*/ 53 w 104"/>
                  <a:gd name="T43" fmla="*/ 46 h 115"/>
                  <a:gd name="T44" fmla="*/ 63 w 104"/>
                  <a:gd name="T45" fmla="*/ 43 h 115"/>
                  <a:gd name="T46" fmla="*/ 67 w 104"/>
                  <a:gd name="T47" fmla="*/ 34 h 115"/>
                  <a:gd name="T48" fmla="*/ 66 w 104"/>
                  <a:gd name="T49" fmla="*/ 29 h 115"/>
                  <a:gd name="T50" fmla="*/ 59 w 104"/>
                  <a:gd name="T51" fmla="*/ 24 h 115"/>
                  <a:gd name="T52" fmla="*/ 31 w 104"/>
                  <a:gd name="T53" fmla="*/ 23 h 115"/>
                  <a:gd name="T54" fmla="*/ 72 w 104"/>
                  <a:gd name="T55" fmla="*/ 79 h 115"/>
                  <a:gd name="T56" fmla="*/ 71 w 104"/>
                  <a:gd name="T57" fmla="*/ 74 h 115"/>
                  <a:gd name="T58" fmla="*/ 64 w 104"/>
                  <a:gd name="T59" fmla="*/ 68 h 115"/>
                  <a:gd name="T60" fmla="*/ 32 w 104"/>
                  <a:gd name="T61" fmla="*/ 67 h 115"/>
                  <a:gd name="T62" fmla="*/ 58 w 104"/>
                  <a:gd name="T63" fmla="*/ 91 h 115"/>
                  <a:gd name="T64" fmla="*/ 64 w 104"/>
                  <a:gd name="T65" fmla="*/ 90 h 115"/>
                  <a:gd name="T66" fmla="*/ 71 w 104"/>
                  <a:gd name="T67" fmla="*/ 84 h 115"/>
                  <a:gd name="T68" fmla="*/ 72 w 104"/>
                  <a:gd name="T69" fmla="*/ 79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4" h="115">
                    <a:moveTo>
                      <a:pt x="99" y="64"/>
                    </a:moveTo>
                    <a:lnTo>
                      <a:pt x="99" y="64"/>
                    </a:lnTo>
                    <a:lnTo>
                      <a:pt x="101" y="68"/>
                    </a:lnTo>
                    <a:lnTo>
                      <a:pt x="103" y="72"/>
                    </a:lnTo>
                    <a:lnTo>
                      <a:pt x="104" y="77"/>
                    </a:lnTo>
                    <a:lnTo>
                      <a:pt x="104" y="81"/>
                    </a:lnTo>
                    <a:lnTo>
                      <a:pt x="104" y="81"/>
                    </a:lnTo>
                    <a:lnTo>
                      <a:pt x="104" y="88"/>
                    </a:lnTo>
                    <a:lnTo>
                      <a:pt x="101" y="95"/>
                    </a:lnTo>
                    <a:lnTo>
                      <a:pt x="98" y="101"/>
                    </a:lnTo>
                    <a:lnTo>
                      <a:pt x="92" y="106"/>
                    </a:lnTo>
                    <a:lnTo>
                      <a:pt x="92" y="106"/>
                    </a:lnTo>
                    <a:lnTo>
                      <a:pt x="86" y="110"/>
                    </a:lnTo>
                    <a:lnTo>
                      <a:pt x="78" y="113"/>
                    </a:lnTo>
                    <a:lnTo>
                      <a:pt x="69" y="114"/>
                    </a:lnTo>
                    <a:lnTo>
                      <a:pt x="59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4" y="0"/>
                    </a:lnTo>
                    <a:lnTo>
                      <a:pt x="72" y="2"/>
                    </a:lnTo>
                    <a:lnTo>
                      <a:pt x="80" y="4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93" y="12"/>
                    </a:lnTo>
                    <a:lnTo>
                      <a:pt x="96" y="17"/>
                    </a:lnTo>
                    <a:lnTo>
                      <a:pt x="99" y="23"/>
                    </a:lnTo>
                    <a:lnTo>
                      <a:pt x="99" y="30"/>
                    </a:lnTo>
                    <a:lnTo>
                      <a:pt x="99" y="30"/>
                    </a:lnTo>
                    <a:lnTo>
                      <a:pt x="98" y="37"/>
                    </a:lnTo>
                    <a:lnTo>
                      <a:pt x="95" y="45"/>
                    </a:lnTo>
                    <a:lnTo>
                      <a:pt x="95" y="45"/>
                    </a:lnTo>
                    <a:lnTo>
                      <a:pt x="90" y="50"/>
                    </a:lnTo>
                    <a:lnTo>
                      <a:pt x="84" y="54"/>
                    </a:lnTo>
                    <a:lnTo>
                      <a:pt x="84" y="54"/>
                    </a:lnTo>
                    <a:lnTo>
                      <a:pt x="88" y="56"/>
                    </a:lnTo>
                    <a:lnTo>
                      <a:pt x="92" y="58"/>
                    </a:lnTo>
                    <a:lnTo>
                      <a:pt x="96" y="61"/>
                    </a:lnTo>
                    <a:lnTo>
                      <a:pt x="99" y="64"/>
                    </a:lnTo>
                    <a:lnTo>
                      <a:pt x="99" y="64"/>
                    </a:lnTo>
                    <a:close/>
                    <a:moveTo>
                      <a:pt x="31" y="46"/>
                    </a:moveTo>
                    <a:lnTo>
                      <a:pt x="53" y="46"/>
                    </a:lnTo>
                    <a:lnTo>
                      <a:pt x="53" y="46"/>
                    </a:lnTo>
                    <a:lnTo>
                      <a:pt x="59" y="45"/>
                    </a:lnTo>
                    <a:lnTo>
                      <a:pt x="63" y="43"/>
                    </a:lnTo>
                    <a:lnTo>
                      <a:pt x="66" y="39"/>
                    </a:lnTo>
                    <a:lnTo>
                      <a:pt x="67" y="34"/>
                    </a:lnTo>
                    <a:lnTo>
                      <a:pt x="67" y="34"/>
                    </a:lnTo>
                    <a:lnTo>
                      <a:pt x="66" y="29"/>
                    </a:lnTo>
                    <a:lnTo>
                      <a:pt x="63" y="26"/>
                    </a:lnTo>
                    <a:lnTo>
                      <a:pt x="59" y="24"/>
                    </a:lnTo>
                    <a:lnTo>
                      <a:pt x="53" y="23"/>
                    </a:lnTo>
                    <a:lnTo>
                      <a:pt x="31" y="23"/>
                    </a:lnTo>
                    <a:lnTo>
                      <a:pt x="31" y="46"/>
                    </a:lnTo>
                    <a:close/>
                    <a:moveTo>
                      <a:pt x="72" y="79"/>
                    </a:moveTo>
                    <a:lnTo>
                      <a:pt x="72" y="79"/>
                    </a:lnTo>
                    <a:lnTo>
                      <a:pt x="71" y="74"/>
                    </a:lnTo>
                    <a:lnTo>
                      <a:pt x="68" y="70"/>
                    </a:lnTo>
                    <a:lnTo>
                      <a:pt x="64" y="68"/>
                    </a:lnTo>
                    <a:lnTo>
                      <a:pt x="58" y="67"/>
                    </a:lnTo>
                    <a:lnTo>
                      <a:pt x="32" y="67"/>
                    </a:lnTo>
                    <a:lnTo>
                      <a:pt x="32" y="91"/>
                    </a:lnTo>
                    <a:lnTo>
                      <a:pt x="58" y="91"/>
                    </a:lnTo>
                    <a:lnTo>
                      <a:pt x="58" y="91"/>
                    </a:lnTo>
                    <a:lnTo>
                      <a:pt x="64" y="90"/>
                    </a:lnTo>
                    <a:lnTo>
                      <a:pt x="68" y="88"/>
                    </a:lnTo>
                    <a:lnTo>
                      <a:pt x="71" y="84"/>
                    </a:lnTo>
                    <a:lnTo>
                      <a:pt x="72" y="79"/>
                    </a:lnTo>
                    <a:lnTo>
                      <a:pt x="72" y="7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15">
                <a:extLst>
                  <a:ext uri="{FF2B5EF4-FFF2-40B4-BE49-F238E27FC236}">
                    <a16:creationId xmlns:a16="http://schemas.microsoft.com/office/drawing/2014/main" id="{02D55615-C625-43E7-B10D-5282F11544F1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1474454" y="1379538"/>
                <a:ext cx="115888" cy="90487"/>
              </a:xfrm>
              <a:custGeom>
                <a:avLst/>
                <a:gdLst>
                  <a:gd name="T0" fmla="*/ 91 w 147"/>
                  <a:gd name="T1" fmla="*/ 46 h 115"/>
                  <a:gd name="T2" fmla="*/ 91 w 147"/>
                  <a:gd name="T3" fmla="*/ 46 h 115"/>
                  <a:gd name="T4" fmla="*/ 97 w 147"/>
                  <a:gd name="T5" fmla="*/ 51 h 115"/>
                  <a:gd name="T6" fmla="*/ 100 w 147"/>
                  <a:gd name="T7" fmla="*/ 58 h 115"/>
                  <a:gd name="T8" fmla="*/ 103 w 147"/>
                  <a:gd name="T9" fmla="*/ 66 h 115"/>
                  <a:gd name="T10" fmla="*/ 103 w 147"/>
                  <a:gd name="T11" fmla="*/ 73 h 115"/>
                  <a:gd name="T12" fmla="*/ 103 w 147"/>
                  <a:gd name="T13" fmla="*/ 73 h 115"/>
                  <a:gd name="T14" fmla="*/ 102 w 147"/>
                  <a:gd name="T15" fmla="*/ 82 h 115"/>
                  <a:gd name="T16" fmla="*/ 100 w 147"/>
                  <a:gd name="T17" fmla="*/ 90 h 115"/>
                  <a:gd name="T18" fmla="*/ 96 w 147"/>
                  <a:gd name="T19" fmla="*/ 97 h 115"/>
                  <a:gd name="T20" fmla="*/ 90 w 147"/>
                  <a:gd name="T21" fmla="*/ 104 h 115"/>
                  <a:gd name="T22" fmla="*/ 90 w 147"/>
                  <a:gd name="T23" fmla="*/ 104 h 115"/>
                  <a:gd name="T24" fmla="*/ 82 w 147"/>
                  <a:gd name="T25" fmla="*/ 109 h 115"/>
                  <a:gd name="T26" fmla="*/ 73 w 147"/>
                  <a:gd name="T27" fmla="*/ 113 h 115"/>
                  <a:gd name="T28" fmla="*/ 64 w 147"/>
                  <a:gd name="T29" fmla="*/ 115 h 115"/>
                  <a:gd name="T30" fmla="*/ 55 w 147"/>
                  <a:gd name="T31" fmla="*/ 115 h 115"/>
                  <a:gd name="T32" fmla="*/ 0 w 147"/>
                  <a:gd name="T33" fmla="*/ 115 h 115"/>
                  <a:gd name="T34" fmla="*/ 0 w 147"/>
                  <a:gd name="T35" fmla="*/ 0 h 115"/>
                  <a:gd name="T36" fmla="*/ 32 w 147"/>
                  <a:gd name="T37" fmla="*/ 0 h 115"/>
                  <a:gd name="T38" fmla="*/ 32 w 147"/>
                  <a:gd name="T39" fmla="*/ 36 h 115"/>
                  <a:gd name="T40" fmla="*/ 59 w 147"/>
                  <a:gd name="T41" fmla="*/ 36 h 115"/>
                  <a:gd name="T42" fmla="*/ 59 w 147"/>
                  <a:gd name="T43" fmla="*/ 36 h 115"/>
                  <a:gd name="T44" fmla="*/ 68 w 147"/>
                  <a:gd name="T45" fmla="*/ 37 h 115"/>
                  <a:gd name="T46" fmla="*/ 76 w 147"/>
                  <a:gd name="T47" fmla="*/ 38 h 115"/>
                  <a:gd name="T48" fmla="*/ 84 w 147"/>
                  <a:gd name="T49" fmla="*/ 41 h 115"/>
                  <a:gd name="T50" fmla="*/ 91 w 147"/>
                  <a:gd name="T51" fmla="*/ 46 h 115"/>
                  <a:gd name="T52" fmla="*/ 91 w 147"/>
                  <a:gd name="T53" fmla="*/ 46 h 115"/>
                  <a:gd name="T54" fmla="*/ 66 w 147"/>
                  <a:gd name="T55" fmla="*/ 86 h 115"/>
                  <a:gd name="T56" fmla="*/ 66 w 147"/>
                  <a:gd name="T57" fmla="*/ 86 h 115"/>
                  <a:gd name="T58" fmla="*/ 68 w 147"/>
                  <a:gd name="T59" fmla="*/ 84 h 115"/>
                  <a:gd name="T60" fmla="*/ 69 w 147"/>
                  <a:gd name="T61" fmla="*/ 81 h 115"/>
                  <a:gd name="T62" fmla="*/ 70 w 147"/>
                  <a:gd name="T63" fmla="*/ 77 h 115"/>
                  <a:gd name="T64" fmla="*/ 71 w 147"/>
                  <a:gd name="T65" fmla="*/ 74 h 115"/>
                  <a:gd name="T66" fmla="*/ 71 w 147"/>
                  <a:gd name="T67" fmla="*/ 74 h 115"/>
                  <a:gd name="T68" fmla="*/ 70 w 147"/>
                  <a:gd name="T69" fmla="*/ 71 h 115"/>
                  <a:gd name="T70" fmla="*/ 70 w 147"/>
                  <a:gd name="T71" fmla="*/ 68 h 115"/>
                  <a:gd name="T72" fmla="*/ 68 w 147"/>
                  <a:gd name="T73" fmla="*/ 65 h 115"/>
                  <a:gd name="T74" fmla="*/ 66 w 147"/>
                  <a:gd name="T75" fmla="*/ 63 h 115"/>
                  <a:gd name="T76" fmla="*/ 64 w 147"/>
                  <a:gd name="T77" fmla="*/ 61 h 115"/>
                  <a:gd name="T78" fmla="*/ 61 w 147"/>
                  <a:gd name="T79" fmla="*/ 60 h 115"/>
                  <a:gd name="T80" fmla="*/ 53 w 147"/>
                  <a:gd name="T81" fmla="*/ 59 h 115"/>
                  <a:gd name="T82" fmla="*/ 32 w 147"/>
                  <a:gd name="T83" fmla="*/ 59 h 115"/>
                  <a:gd name="T84" fmla="*/ 32 w 147"/>
                  <a:gd name="T85" fmla="*/ 91 h 115"/>
                  <a:gd name="T86" fmla="*/ 53 w 147"/>
                  <a:gd name="T87" fmla="*/ 91 h 115"/>
                  <a:gd name="T88" fmla="*/ 53 w 147"/>
                  <a:gd name="T89" fmla="*/ 91 h 115"/>
                  <a:gd name="T90" fmla="*/ 56 w 147"/>
                  <a:gd name="T91" fmla="*/ 91 h 115"/>
                  <a:gd name="T92" fmla="*/ 60 w 147"/>
                  <a:gd name="T93" fmla="*/ 90 h 115"/>
                  <a:gd name="T94" fmla="*/ 63 w 147"/>
                  <a:gd name="T95" fmla="*/ 88 h 115"/>
                  <a:gd name="T96" fmla="*/ 66 w 147"/>
                  <a:gd name="T97" fmla="*/ 86 h 115"/>
                  <a:gd name="T98" fmla="*/ 66 w 147"/>
                  <a:gd name="T99" fmla="*/ 86 h 115"/>
                  <a:gd name="T100" fmla="*/ 115 w 147"/>
                  <a:gd name="T101" fmla="*/ 0 h 115"/>
                  <a:gd name="T102" fmla="*/ 147 w 147"/>
                  <a:gd name="T103" fmla="*/ 0 h 115"/>
                  <a:gd name="T104" fmla="*/ 147 w 147"/>
                  <a:gd name="T105" fmla="*/ 115 h 115"/>
                  <a:gd name="T106" fmla="*/ 115 w 147"/>
                  <a:gd name="T107" fmla="*/ 115 h 115"/>
                  <a:gd name="T108" fmla="*/ 115 w 147"/>
                  <a:gd name="T109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47" h="115">
                    <a:moveTo>
                      <a:pt x="91" y="46"/>
                    </a:moveTo>
                    <a:lnTo>
                      <a:pt x="91" y="46"/>
                    </a:lnTo>
                    <a:lnTo>
                      <a:pt x="97" y="51"/>
                    </a:lnTo>
                    <a:lnTo>
                      <a:pt x="100" y="58"/>
                    </a:lnTo>
                    <a:lnTo>
                      <a:pt x="103" y="66"/>
                    </a:lnTo>
                    <a:lnTo>
                      <a:pt x="103" y="73"/>
                    </a:lnTo>
                    <a:lnTo>
                      <a:pt x="103" y="73"/>
                    </a:lnTo>
                    <a:lnTo>
                      <a:pt x="102" y="82"/>
                    </a:lnTo>
                    <a:lnTo>
                      <a:pt x="100" y="90"/>
                    </a:lnTo>
                    <a:lnTo>
                      <a:pt x="96" y="97"/>
                    </a:lnTo>
                    <a:lnTo>
                      <a:pt x="90" y="104"/>
                    </a:lnTo>
                    <a:lnTo>
                      <a:pt x="90" y="104"/>
                    </a:lnTo>
                    <a:lnTo>
                      <a:pt x="82" y="109"/>
                    </a:lnTo>
                    <a:lnTo>
                      <a:pt x="73" y="113"/>
                    </a:lnTo>
                    <a:lnTo>
                      <a:pt x="64" y="115"/>
                    </a:lnTo>
                    <a:lnTo>
                      <a:pt x="55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2" y="0"/>
                    </a:lnTo>
                    <a:lnTo>
                      <a:pt x="32" y="36"/>
                    </a:lnTo>
                    <a:lnTo>
                      <a:pt x="59" y="36"/>
                    </a:lnTo>
                    <a:lnTo>
                      <a:pt x="59" y="36"/>
                    </a:lnTo>
                    <a:lnTo>
                      <a:pt x="68" y="37"/>
                    </a:lnTo>
                    <a:lnTo>
                      <a:pt x="76" y="38"/>
                    </a:lnTo>
                    <a:lnTo>
                      <a:pt x="84" y="41"/>
                    </a:lnTo>
                    <a:lnTo>
                      <a:pt x="91" y="46"/>
                    </a:lnTo>
                    <a:lnTo>
                      <a:pt x="91" y="46"/>
                    </a:lnTo>
                    <a:close/>
                    <a:moveTo>
                      <a:pt x="66" y="86"/>
                    </a:moveTo>
                    <a:lnTo>
                      <a:pt x="66" y="86"/>
                    </a:lnTo>
                    <a:lnTo>
                      <a:pt x="68" y="84"/>
                    </a:lnTo>
                    <a:lnTo>
                      <a:pt x="69" y="81"/>
                    </a:lnTo>
                    <a:lnTo>
                      <a:pt x="70" y="77"/>
                    </a:lnTo>
                    <a:lnTo>
                      <a:pt x="71" y="74"/>
                    </a:lnTo>
                    <a:lnTo>
                      <a:pt x="71" y="74"/>
                    </a:lnTo>
                    <a:lnTo>
                      <a:pt x="70" y="71"/>
                    </a:lnTo>
                    <a:lnTo>
                      <a:pt x="70" y="68"/>
                    </a:lnTo>
                    <a:lnTo>
                      <a:pt x="68" y="65"/>
                    </a:lnTo>
                    <a:lnTo>
                      <a:pt x="66" y="63"/>
                    </a:lnTo>
                    <a:lnTo>
                      <a:pt x="64" y="61"/>
                    </a:lnTo>
                    <a:lnTo>
                      <a:pt x="61" y="60"/>
                    </a:lnTo>
                    <a:lnTo>
                      <a:pt x="53" y="59"/>
                    </a:lnTo>
                    <a:lnTo>
                      <a:pt x="32" y="59"/>
                    </a:lnTo>
                    <a:lnTo>
                      <a:pt x="32" y="91"/>
                    </a:lnTo>
                    <a:lnTo>
                      <a:pt x="53" y="91"/>
                    </a:lnTo>
                    <a:lnTo>
                      <a:pt x="53" y="91"/>
                    </a:lnTo>
                    <a:lnTo>
                      <a:pt x="56" y="91"/>
                    </a:lnTo>
                    <a:lnTo>
                      <a:pt x="60" y="90"/>
                    </a:lnTo>
                    <a:lnTo>
                      <a:pt x="63" y="88"/>
                    </a:lnTo>
                    <a:lnTo>
                      <a:pt x="66" y="86"/>
                    </a:lnTo>
                    <a:lnTo>
                      <a:pt x="66" y="86"/>
                    </a:lnTo>
                    <a:close/>
                    <a:moveTo>
                      <a:pt x="115" y="0"/>
                    </a:moveTo>
                    <a:lnTo>
                      <a:pt x="147" y="0"/>
                    </a:lnTo>
                    <a:lnTo>
                      <a:pt x="147" y="115"/>
                    </a:lnTo>
                    <a:lnTo>
                      <a:pt x="115" y="115"/>
                    </a:lnTo>
                    <a:lnTo>
                      <a:pt x="11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16">
                <a:extLst>
                  <a:ext uri="{FF2B5EF4-FFF2-40B4-BE49-F238E27FC236}">
                    <a16:creationId xmlns:a16="http://schemas.microsoft.com/office/drawing/2014/main" id="{37EC8587-C930-44AF-A398-D5F0334ACAD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344154" y="1535113"/>
                <a:ext cx="85725" cy="90487"/>
              </a:xfrm>
              <a:custGeom>
                <a:avLst/>
                <a:gdLst>
                  <a:gd name="T0" fmla="*/ 109 w 109"/>
                  <a:gd name="T1" fmla="*/ 0 h 115"/>
                  <a:gd name="T2" fmla="*/ 109 w 109"/>
                  <a:gd name="T3" fmla="*/ 115 h 115"/>
                  <a:gd name="T4" fmla="*/ 77 w 109"/>
                  <a:gd name="T5" fmla="*/ 115 h 115"/>
                  <a:gd name="T6" fmla="*/ 77 w 109"/>
                  <a:gd name="T7" fmla="*/ 71 h 115"/>
                  <a:gd name="T8" fmla="*/ 32 w 109"/>
                  <a:gd name="T9" fmla="*/ 71 h 115"/>
                  <a:gd name="T10" fmla="*/ 32 w 109"/>
                  <a:gd name="T11" fmla="*/ 115 h 115"/>
                  <a:gd name="T12" fmla="*/ 0 w 109"/>
                  <a:gd name="T13" fmla="*/ 115 h 115"/>
                  <a:gd name="T14" fmla="*/ 0 w 109"/>
                  <a:gd name="T15" fmla="*/ 0 h 115"/>
                  <a:gd name="T16" fmla="*/ 32 w 109"/>
                  <a:gd name="T17" fmla="*/ 0 h 115"/>
                  <a:gd name="T18" fmla="*/ 32 w 109"/>
                  <a:gd name="T19" fmla="*/ 43 h 115"/>
                  <a:gd name="T20" fmla="*/ 77 w 109"/>
                  <a:gd name="T21" fmla="*/ 43 h 115"/>
                  <a:gd name="T22" fmla="*/ 77 w 109"/>
                  <a:gd name="T23" fmla="*/ 0 h 115"/>
                  <a:gd name="T24" fmla="*/ 109 w 109"/>
                  <a:gd name="T25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9" h="115">
                    <a:moveTo>
                      <a:pt x="109" y="0"/>
                    </a:moveTo>
                    <a:lnTo>
                      <a:pt x="109" y="115"/>
                    </a:lnTo>
                    <a:lnTo>
                      <a:pt x="77" y="115"/>
                    </a:lnTo>
                    <a:lnTo>
                      <a:pt x="77" y="71"/>
                    </a:lnTo>
                    <a:lnTo>
                      <a:pt x="32" y="71"/>
                    </a:lnTo>
                    <a:lnTo>
                      <a:pt x="3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2" y="0"/>
                    </a:lnTo>
                    <a:lnTo>
                      <a:pt x="32" y="43"/>
                    </a:lnTo>
                    <a:lnTo>
                      <a:pt x="77" y="43"/>
                    </a:lnTo>
                    <a:lnTo>
                      <a:pt x="77" y="0"/>
                    </a:lnTo>
                    <a:lnTo>
                      <a:pt x="109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17">
                <a:extLst>
                  <a:ext uri="{FF2B5EF4-FFF2-40B4-BE49-F238E27FC236}">
                    <a16:creationId xmlns:a16="http://schemas.microsoft.com/office/drawing/2014/main" id="{52417923-9DE8-49FA-8DE2-921C56ADDD16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447341" y="1533525"/>
                <a:ext cx="101600" cy="95250"/>
              </a:xfrm>
              <a:custGeom>
                <a:avLst/>
                <a:gdLst>
                  <a:gd name="T0" fmla="*/ 31 w 128"/>
                  <a:gd name="T1" fmla="*/ 112 h 120"/>
                  <a:gd name="T2" fmla="*/ 21 w 128"/>
                  <a:gd name="T3" fmla="*/ 105 h 120"/>
                  <a:gd name="T4" fmla="*/ 6 w 128"/>
                  <a:gd name="T5" fmla="*/ 88 h 120"/>
                  <a:gd name="T6" fmla="*/ 0 w 128"/>
                  <a:gd name="T7" fmla="*/ 67 h 120"/>
                  <a:gd name="T8" fmla="*/ 2 w 128"/>
                  <a:gd name="T9" fmla="*/ 43 h 120"/>
                  <a:gd name="T10" fmla="*/ 6 w 128"/>
                  <a:gd name="T11" fmla="*/ 32 h 120"/>
                  <a:gd name="T12" fmla="*/ 11 w 128"/>
                  <a:gd name="T13" fmla="*/ 25 h 120"/>
                  <a:gd name="T14" fmla="*/ 23 w 128"/>
                  <a:gd name="T15" fmla="*/ 12 h 120"/>
                  <a:gd name="T16" fmla="*/ 31 w 128"/>
                  <a:gd name="T17" fmla="*/ 8 h 120"/>
                  <a:gd name="T18" fmla="*/ 46 w 128"/>
                  <a:gd name="T19" fmla="*/ 2 h 120"/>
                  <a:gd name="T20" fmla="*/ 64 w 128"/>
                  <a:gd name="T21" fmla="*/ 0 h 120"/>
                  <a:gd name="T22" fmla="*/ 81 w 128"/>
                  <a:gd name="T23" fmla="*/ 2 h 120"/>
                  <a:gd name="T24" fmla="*/ 97 w 128"/>
                  <a:gd name="T25" fmla="*/ 8 h 120"/>
                  <a:gd name="T26" fmla="*/ 102 w 128"/>
                  <a:gd name="T27" fmla="*/ 11 h 120"/>
                  <a:gd name="T28" fmla="*/ 115 w 128"/>
                  <a:gd name="T29" fmla="*/ 22 h 120"/>
                  <a:gd name="T30" fmla="*/ 125 w 128"/>
                  <a:gd name="T31" fmla="*/ 42 h 120"/>
                  <a:gd name="T32" fmla="*/ 128 w 128"/>
                  <a:gd name="T33" fmla="*/ 65 h 120"/>
                  <a:gd name="T34" fmla="*/ 124 w 128"/>
                  <a:gd name="T35" fmla="*/ 82 h 120"/>
                  <a:gd name="T36" fmla="*/ 121 w 128"/>
                  <a:gd name="T37" fmla="*/ 87 h 120"/>
                  <a:gd name="T38" fmla="*/ 111 w 128"/>
                  <a:gd name="T39" fmla="*/ 101 h 120"/>
                  <a:gd name="T40" fmla="*/ 97 w 128"/>
                  <a:gd name="T41" fmla="*/ 112 h 120"/>
                  <a:gd name="T42" fmla="*/ 89 w 128"/>
                  <a:gd name="T43" fmla="*/ 115 h 120"/>
                  <a:gd name="T44" fmla="*/ 72 w 128"/>
                  <a:gd name="T45" fmla="*/ 119 h 120"/>
                  <a:gd name="T46" fmla="*/ 55 w 128"/>
                  <a:gd name="T47" fmla="*/ 119 h 120"/>
                  <a:gd name="T48" fmla="*/ 38 w 128"/>
                  <a:gd name="T49" fmla="*/ 115 h 120"/>
                  <a:gd name="T50" fmla="*/ 31 w 128"/>
                  <a:gd name="T51" fmla="*/ 112 h 120"/>
                  <a:gd name="T52" fmla="*/ 80 w 128"/>
                  <a:gd name="T53" fmla="*/ 89 h 120"/>
                  <a:gd name="T54" fmla="*/ 91 w 128"/>
                  <a:gd name="T55" fmla="*/ 77 h 120"/>
                  <a:gd name="T56" fmla="*/ 94 w 128"/>
                  <a:gd name="T57" fmla="*/ 69 h 120"/>
                  <a:gd name="T58" fmla="*/ 94 w 128"/>
                  <a:gd name="T59" fmla="*/ 52 h 120"/>
                  <a:gd name="T60" fmla="*/ 91 w 128"/>
                  <a:gd name="T61" fmla="*/ 42 h 120"/>
                  <a:gd name="T62" fmla="*/ 80 w 128"/>
                  <a:gd name="T63" fmla="*/ 31 h 120"/>
                  <a:gd name="T64" fmla="*/ 72 w 128"/>
                  <a:gd name="T65" fmla="*/ 28 h 120"/>
                  <a:gd name="T66" fmla="*/ 55 w 128"/>
                  <a:gd name="T67" fmla="*/ 28 h 120"/>
                  <a:gd name="T68" fmla="*/ 47 w 128"/>
                  <a:gd name="T69" fmla="*/ 31 h 120"/>
                  <a:gd name="T70" fmla="*/ 36 w 128"/>
                  <a:gd name="T71" fmla="*/ 42 h 120"/>
                  <a:gd name="T72" fmla="*/ 33 w 128"/>
                  <a:gd name="T73" fmla="*/ 52 h 120"/>
                  <a:gd name="T74" fmla="*/ 33 w 128"/>
                  <a:gd name="T75" fmla="*/ 69 h 120"/>
                  <a:gd name="T76" fmla="*/ 36 w 128"/>
                  <a:gd name="T77" fmla="*/ 77 h 120"/>
                  <a:gd name="T78" fmla="*/ 47 w 128"/>
                  <a:gd name="T79" fmla="*/ 89 h 120"/>
                  <a:gd name="T80" fmla="*/ 55 w 128"/>
                  <a:gd name="T81" fmla="*/ 92 h 120"/>
                  <a:gd name="T82" fmla="*/ 72 w 128"/>
                  <a:gd name="T83" fmla="*/ 92 h 120"/>
                  <a:gd name="T84" fmla="*/ 80 w 128"/>
                  <a:gd name="T85" fmla="*/ 89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28" h="120">
                    <a:moveTo>
                      <a:pt x="31" y="112"/>
                    </a:moveTo>
                    <a:lnTo>
                      <a:pt x="31" y="112"/>
                    </a:lnTo>
                    <a:lnTo>
                      <a:pt x="25" y="109"/>
                    </a:lnTo>
                    <a:lnTo>
                      <a:pt x="21" y="105"/>
                    </a:lnTo>
                    <a:lnTo>
                      <a:pt x="13" y="97"/>
                    </a:lnTo>
                    <a:lnTo>
                      <a:pt x="6" y="88"/>
                    </a:lnTo>
                    <a:lnTo>
                      <a:pt x="2" y="78"/>
                    </a:lnTo>
                    <a:lnTo>
                      <a:pt x="0" y="67"/>
                    </a:lnTo>
                    <a:lnTo>
                      <a:pt x="0" y="55"/>
                    </a:lnTo>
                    <a:lnTo>
                      <a:pt x="2" y="43"/>
                    </a:lnTo>
                    <a:lnTo>
                      <a:pt x="4" y="38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11" y="25"/>
                    </a:lnTo>
                    <a:lnTo>
                      <a:pt x="16" y="18"/>
                    </a:lnTo>
                    <a:lnTo>
                      <a:pt x="23" y="12"/>
                    </a:lnTo>
                    <a:lnTo>
                      <a:pt x="31" y="8"/>
                    </a:lnTo>
                    <a:lnTo>
                      <a:pt x="31" y="8"/>
                    </a:lnTo>
                    <a:lnTo>
                      <a:pt x="38" y="4"/>
                    </a:lnTo>
                    <a:lnTo>
                      <a:pt x="46" y="2"/>
                    </a:lnTo>
                    <a:lnTo>
                      <a:pt x="55" y="0"/>
                    </a:lnTo>
                    <a:lnTo>
                      <a:pt x="64" y="0"/>
                    </a:lnTo>
                    <a:lnTo>
                      <a:pt x="72" y="0"/>
                    </a:lnTo>
                    <a:lnTo>
                      <a:pt x="81" y="2"/>
                    </a:lnTo>
                    <a:lnTo>
                      <a:pt x="89" y="4"/>
                    </a:lnTo>
                    <a:lnTo>
                      <a:pt x="97" y="8"/>
                    </a:lnTo>
                    <a:lnTo>
                      <a:pt x="97" y="8"/>
                    </a:lnTo>
                    <a:lnTo>
                      <a:pt x="102" y="11"/>
                    </a:lnTo>
                    <a:lnTo>
                      <a:pt x="106" y="14"/>
                    </a:lnTo>
                    <a:lnTo>
                      <a:pt x="115" y="22"/>
                    </a:lnTo>
                    <a:lnTo>
                      <a:pt x="121" y="32"/>
                    </a:lnTo>
                    <a:lnTo>
                      <a:pt x="125" y="42"/>
                    </a:lnTo>
                    <a:lnTo>
                      <a:pt x="127" y="54"/>
                    </a:lnTo>
                    <a:lnTo>
                      <a:pt x="128" y="65"/>
                    </a:lnTo>
                    <a:lnTo>
                      <a:pt x="126" y="76"/>
                    </a:lnTo>
                    <a:lnTo>
                      <a:pt x="124" y="82"/>
                    </a:lnTo>
                    <a:lnTo>
                      <a:pt x="121" y="87"/>
                    </a:lnTo>
                    <a:lnTo>
                      <a:pt x="121" y="87"/>
                    </a:lnTo>
                    <a:lnTo>
                      <a:pt x="116" y="95"/>
                    </a:lnTo>
                    <a:lnTo>
                      <a:pt x="111" y="101"/>
                    </a:lnTo>
                    <a:lnTo>
                      <a:pt x="104" y="107"/>
                    </a:lnTo>
                    <a:lnTo>
                      <a:pt x="97" y="112"/>
                    </a:lnTo>
                    <a:lnTo>
                      <a:pt x="97" y="112"/>
                    </a:lnTo>
                    <a:lnTo>
                      <a:pt x="89" y="115"/>
                    </a:lnTo>
                    <a:lnTo>
                      <a:pt x="81" y="118"/>
                    </a:lnTo>
                    <a:lnTo>
                      <a:pt x="72" y="119"/>
                    </a:lnTo>
                    <a:lnTo>
                      <a:pt x="64" y="120"/>
                    </a:lnTo>
                    <a:lnTo>
                      <a:pt x="55" y="119"/>
                    </a:lnTo>
                    <a:lnTo>
                      <a:pt x="46" y="118"/>
                    </a:lnTo>
                    <a:lnTo>
                      <a:pt x="38" y="115"/>
                    </a:lnTo>
                    <a:lnTo>
                      <a:pt x="31" y="112"/>
                    </a:lnTo>
                    <a:lnTo>
                      <a:pt x="31" y="112"/>
                    </a:lnTo>
                    <a:close/>
                    <a:moveTo>
                      <a:pt x="80" y="89"/>
                    </a:moveTo>
                    <a:lnTo>
                      <a:pt x="80" y="89"/>
                    </a:lnTo>
                    <a:lnTo>
                      <a:pt x="86" y="84"/>
                    </a:lnTo>
                    <a:lnTo>
                      <a:pt x="91" y="77"/>
                    </a:lnTo>
                    <a:lnTo>
                      <a:pt x="91" y="77"/>
                    </a:lnTo>
                    <a:lnTo>
                      <a:pt x="94" y="69"/>
                    </a:lnTo>
                    <a:lnTo>
                      <a:pt x="95" y="60"/>
                    </a:lnTo>
                    <a:lnTo>
                      <a:pt x="94" y="52"/>
                    </a:lnTo>
                    <a:lnTo>
                      <a:pt x="91" y="42"/>
                    </a:lnTo>
                    <a:lnTo>
                      <a:pt x="91" y="42"/>
                    </a:lnTo>
                    <a:lnTo>
                      <a:pt x="86" y="36"/>
                    </a:lnTo>
                    <a:lnTo>
                      <a:pt x="80" y="31"/>
                    </a:lnTo>
                    <a:lnTo>
                      <a:pt x="80" y="31"/>
                    </a:lnTo>
                    <a:lnTo>
                      <a:pt x="72" y="28"/>
                    </a:lnTo>
                    <a:lnTo>
                      <a:pt x="64" y="27"/>
                    </a:lnTo>
                    <a:lnTo>
                      <a:pt x="55" y="28"/>
                    </a:lnTo>
                    <a:lnTo>
                      <a:pt x="47" y="31"/>
                    </a:lnTo>
                    <a:lnTo>
                      <a:pt x="47" y="31"/>
                    </a:lnTo>
                    <a:lnTo>
                      <a:pt x="41" y="36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3" y="52"/>
                    </a:lnTo>
                    <a:lnTo>
                      <a:pt x="32" y="60"/>
                    </a:lnTo>
                    <a:lnTo>
                      <a:pt x="33" y="69"/>
                    </a:lnTo>
                    <a:lnTo>
                      <a:pt x="36" y="77"/>
                    </a:lnTo>
                    <a:lnTo>
                      <a:pt x="36" y="77"/>
                    </a:lnTo>
                    <a:lnTo>
                      <a:pt x="41" y="84"/>
                    </a:lnTo>
                    <a:lnTo>
                      <a:pt x="47" y="89"/>
                    </a:lnTo>
                    <a:lnTo>
                      <a:pt x="47" y="89"/>
                    </a:lnTo>
                    <a:lnTo>
                      <a:pt x="55" y="92"/>
                    </a:lnTo>
                    <a:lnTo>
                      <a:pt x="64" y="93"/>
                    </a:lnTo>
                    <a:lnTo>
                      <a:pt x="72" y="92"/>
                    </a:lnTo>
                    <a:lnTo>
                      <a:pt x="80" y="89"/>
                    </a:lnTo>
                    <a:lnTo>
                      <a:pt x="80" y="8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18">
                <a:extLst>
                  <a:ext uri="{FF2B5EF4-FFF2-40B4-BE49-F238E27FC236}">
                    <a16:creationId xmlns:a16="http://schemas.microsoft.com/office/drawing/2014/main" id="{D06F1B0A-12CF-453E-B31C-F6E516FD9F04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564816" y="1535113"/>
                <a:ext cx="84138" cy="90487"/>
              </a:xfrm>
              <a:custGeom>
                <a:avLst/>
                <a:gdLst>
                  <a:gd name="T0" fmla="*/ 99 w 105"/>
                  <a:gd name="T1" fmla="*/ 66 h 115"/>
                  <a:gd name="T2" fmla="*/ 103 w 105"/>
                  <a:gd name="T3" fmla="*/ 74 h 115"/>
                  <a:gd name="T4" fmla="*/ 105 w 105"/>
                  <a:gd name="T5" fmla="*/ 83 h 115"/>
                  <a:gd name="T6" fmla="*/ 104 w 105"/>
                  <a:gd name="T7" fmla="*/ 90 h 115"/>
                  <a:gd name="T8" fmla="*/ 98 w 105"/>
                  <a:gd name="T9" fmla="*/ 102 h 115"/>
                  <a:gd name="T10" fmla="*/ 93 w 105"/>
                  <a:gd name="T11" fmla="*/ 107 h 115"/>
                  <a:gd name="T12" fmla="*/ 77 w 105"/>
                  <a:gd name="T13" fmla="*/ 114 h 115"/>
                  <a:gd name="T14" fmla="*/ 59 w 105"/>
                  <a:gd name="T15" fmla="*/ 115 h 115"/>
                  <a:gd name="T16" fmla="*/ 0 w 105"/>
                  <a:gd name="T17" fmla="*/ 0 h 115"/>
                  <a:gd name="T18" fmla="*/ 56 w 105"/>
                  <a:gd name="T19" fmla="*/ 0 h 115"/>
                  <a:gd name="T20" fmla="*/ 73 w 105"/>
                  <a:gd name="T21" fmla="*/ 2 h 115"/>
                  <a:gd name="T22" fmla="*/ 88 w 105"/>
                  <a:gd name="T23" fmla="*/ 8 h 115"/>
                  <a:gd name="T24" fmla="*/ 93 w 105"/>
                  <a:gd name="T25" fmla="*/ 12 h 115"/>
                  <a:gd name="T26" fmla="*/ 99 w 105"/>
                  <a:gd name="T27" fmla="*/ 24 h 115"/>
                  <a:gd name="T28" fmla="*/ 99 w 105"/>
                  <a:gd name="T29" fmla="*/ 30 h 115"/>
                  <a:gd name="T30" fmla="*/ 95 w 105"/>
                  <a:gd name="T31" fmla="*/ 45 h 115"/>
                  <a:gd name="T32" fmla="*/ 90 w 105"/>
                  <a:gd name="T33" fmla="*/ 52 h 115"/>
                  <a:gd name="T34" fmla="*/ 84 w 105"/>
                  <a:gd name="T35" fmla="*/ 56 h 115"/>
                  <a:gd name="T36" fmla="*/ 92 w 105"/>
                  <a:gd name="T37" fmla="*/ 60 h 115"/>
                  <a:gd name="T38" fmla="*/ 99 w 105"/>
                  <a:gd name="T39" fmla="*/ 66 h 115"/>
                  <a:gd name="T40" fmla="*/ 32 w 105"/>
                  <a:gd name="T41" fmla="*/ 46 h 115"/>
                  <a:gd name="T42" fmla="*/ 53 w 105"/>
                  <a:gd name="T43" fmla="*/ 46 h 115"/>
                  <a:gd name="T44" fmla="*/ 63 w 105"/>
                  <a:gd name="T45" fmla="*/ 43 h 115"/>
                  <a:gd name="T46" fmla="*/ 67 w 105"/>
                  <a:gd name="T47" fmla="*/ 35 h 115"/>
                  <a:gd name="T48" fmla="*/ 66 w 105"/>
                  <a:gd name="T49" fmla="*/ 30 h 115"/>
                  <a:gd name="T50" fmla="*/ 59 w 105"/>
                  <a:gd name="T51" fmla="*/ 24 h 115"/>
                  <a:gd name="T52" fmla="*/ 32 w 105"/>
                  <a:gd name="T53" fmla="*/ 23 h 115"/>
                  <a:gd name="T54" fmla="*/ 72 w 105"/>
                  <a:gd name="T55" fmla="*/ 80 h 115"/>
                  <a:gd name="T56" fmla="*/ 71 w 105"/>
                  <a:gd name="T57" fmla="*/ 75 h 115"/>
                  <a:gd name="T58" fmla="*/ 64 w 105"/>
                  <a:gd name="T59" fmla="*/ 69 h 115"/>
                  <a:gd name="T60" fmla="*/ 32 w 105"/>
                  <a:gd name="T61" fmla="*/ 69 h 115"/>
                  <a:gd name="T62" fmla="*/ 58 w 105"/>
                  <a:gd name="T63" fmla="*/ 92 h 115"/>
                  <a:gd name="T64" fmla="*/ 64 w 105"/>
                  <a:gd name="T65" fmla="*/ 91 h 115"/>
                  <a:gd name="T66" fmla="*/ 71 w 105"/>
                  <a:gd name="T67" fmla="*/ 85 h 115"/>
                  <a:gd name="T68" fmla="*/ 72 w 105"/>
                  <a:gd name="T69" fmla="*/ 8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5" h="115">
                    <a:moveTo>
                      <a:pt x="99" y="66"/>
                    </a:moveTo>
                    <a:lnTo>
                      <a:pt x="99" y="66"/>
                    </a:lnTo>
                    <a:lnTo>
                      <a:pt x="102" y="70"/>
                    </a:lnTo>
                    <a:lnTo>
                      <a:pt x="103" y="74"/>
                    </a:lnTo>
                    <a:lnTo>
                      <a:pt x="104" y="78"/>
                    </a:lnTo>
                    <a:lnTo>
                      <a:pt x="105" y="83"/>
                    </a:lnTo>
                    <a:lnTo>
                      <a:pt x="105" y="83"/>
                    </a:lnTo>
                    <a:lnTo>
                      <a:pt x="104" y="90"/>
                    </a:lnTo>
                    <a:lnTo>
                      <a:pt x="102" y="96"/>
                    </a:lnTo>
                    <a:lnTo>
                      <a:pt x="98" y="102"/>
                    </a:lnTo>
                    <a:lnTo>
                      <a:pt x="93" y="107"/>
                    </a:lnTo>
                    <a:lnTo>
                      <a:pt x="93" y="107"/>
                    </a:lnTo>
                    <a:lnTo>
                      <a:pt x="85" y="111"/>
                    </a:lnTo>
                    <a:lnTo>
                      <a:pt x="77" y="114"/>
                    </a:lnTo>
                    <a:lnTo>
                      <a:pt x="68" y="115"/>
                    </a:lnTo>
                    <a:lnTo>
                      <a:pt x="59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5" y="1"/>
                    </a:lnTo>
                    <a:lnTo>
                      <a:pt x="73" y="2"/>
                    </a:lnTo>
                    <a:lnTo>
                      <a:pt x="81" y="4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93" y="12"/>
                    </a:lnTo>
                    <a:lnTo>
                      <a:pt x="97" y="18"/>
                    </a:lnTo>
                    <a:lnTo>
                      <a:pt x="99" y="24"/>
                    </a:lnTo>
                    <a:lnTo>
                      <a:pt x="99" y="30"/>
                    </a:lnTo>
                    <a:lnTo>
                      <a:pt x="99" y="30"/>
                    </a:lnTo>
                    <a:lnTo>
                      <a:pt x="98" y="38"/>
                    </a:lnTo>
                    <a:lnTo>
                      <a:pt x="95" y="45"/>
                    </a:lnTo>
                    <a:lnTo>
                      <a:pt x="95" y="45"/>
                    </a:lnTo>
                    <a:lnTo>
                      <a:pt x="90" y="52"/>
                    </a:lnTo>
                    <a:lnTo>
                      <a:pt x="84" y="56"/>
                    </a:lnTo>
                    <a:lnTo>
                      <a:pt x="84" y="56"/>
                    </a:lnTo>
                    <a:lnTo>
                      <a:pt x="88" y="57"/>
                    </a:lnTo>
                    <a:lnTo>
                      <a:pt x="92" y="60"/>
                    </a:lnTo>
                    <a:lnTo>
                      <a:pt x="96" y="62"/>
                    </a:lnTo>
                    <a:lnTo>
                      <a:pt x="99" y="66"/>
                    </a:lnTo>
                    <a:lnTo>
                      <a:pt x="99" y="66"/>
                    </a:lnTo>
                    <a:close/>
                    <a:moveTo>
                      <a:pt x="32" y="46"/>
                    </a:moveTo>
                    <a:lnTo>
                      <a:pt x="53" y="46"/>
                    </a:lnTo>
                    <a:lnTo>
                      <a:pt x="53" y="46"/>
                    </a:lnTo>
                    <a:lnTo>
                      <a:pt x="59" y="45"/>
                    </a:lnTo>
                    <a:lnTo>
                      <a:pt x="63" y="43"/>
                    </a:lnTo>
                    <a:lnTo>
                      <a:pt x="66" y="40"/>
                    </a:lnTo>
                    <a:lnTo>
                      <a:pt x="67" y="35"/>
                    </a:lnTo>
                    <a:lnTo>
                      <a:pt x="67" y="35"/>
                    </a:lnTo>
                    <a:lnTo>
                      <a:pt x="66" y="30"/>
                    </a:lnTo>
                    <a:lnTo>
                      <a:pt x="63" y="26"/>
                    </a:lnTo>
                    <a:lnTo>
                      <a:pt x="59" y="24"/>
                    </a:lnTo>
                    <a:lnTo>
                      <a:pt x="53" y="23"/>
                    </a:lnTo>
                    <a:lnTo>
                      <a:pt x="32" y="23"/>
                    </a:lnTo>
                    <a:lnTo>
                      <a:pt x="32" y="46"/>
                    </a:lnTo>
                    <a:close/>
                    <a:moveTo>
                      <a:pt x="72" y="80"/>
                    </a:moveTo>
                    <a:lnTo>
                      <a:pt x="72" y="80"/>
                    </a:lnTo>
                    <a:lnTo>
                      <a:pt x="71" y="75"/>
                    </a:lnTo>
                    <a:lnTo>
                      <a:pt x="69" y="72"/>
                    </a:lnTo>
                    <a:lnTo>
                      <a:pt x="64" y="69"/>
                    </a:lnTo>
                    <a:lnTo>
                      <a:pt x="58" y="69"/>
                    </a:lnTo>
                    <a:lnTo>
                      <a:pt x="32" y="69"/>
                    </a:lnTo>
                    <a:lnTo>
                      <a:pt x="32" y="92"/>
                    </a:lnTo>
                    <a:lnTo>
                      <a:pt x="58" y="92"/>
                    </a:lnTo>
                    <a:lnTo>
                      <a:pt x="58" y="92"/>
                    </a:lnTo>
                    <a:lnTo>
                      <a:pt x="64" y="91"/>
                    </a:lnTo>
                    <a:lnTo>
                      <a:pt x="69" y="89"/>
                    </a:lnTo>
                    <a:lnTo>
                      <a:pt x="71" y="85"/>
                    </a:lnTo>
                    <a:lnTo>
                      <a:pt x="72" y="80"/>
                    </a:lnTo>
                    <a:lnTo>
                      <a:pt x="72" y="8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19">
                <a:extLst>
                  <a:ext uri="{FF2B5EF4-FFF2-40B4-BE49-F238E27FC236}">
                    <a16:creationId xmlns:a16="http://schemas.microsoft.com/office/drawing/2014/main" id="{2BF857BF-116A-4C28-9683-C88EA3887C1D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664829" y="1535113"/>
                <a:ext cx="115888" cy="90487"/>
              </a:xfrm>
              <a:custGeom>
                <a:avLst/>
                <a:gdLst>
                  <a:gd name="T0" fmla="*/ 92 w 147"/>
                  <a:gd name="T1" fmla="*/ 46 h 115"/>
                  <a:gd name="T2" fmla="*/ 92 w 147"/>
                  <a:gd name="T3" fmla="*/ 46 h 115"/>
                  <a:gd name="T4" fmla="*/ 97 w 147"/>
                  <a:gd name="T5" fmla="*/ 53 h 115"/>
                  <a:gd name="T6" fmla="*/ 101 w 147"/>
                  <a:gd name="T7" fmla="*/ 60 h 115"/>
                  <a:gd name="T8" fmla="*/ 103 w 147"/>
                  <a:gd name="T9" fmla="*/ 67 h 115"/>
                  <a:gd name="T10" fmla="*/ 103 w 147"/>
                  <a:gd name="T11" fmla="*/ 75 h 115"/>
                  <a:gd name="T12" fmla="*/ 103 w 147"/>
                  <a:gd name="T13" fmla="*/ 75 h 115"/>
                  <a:gd name="T14" fmla="*/ 103 w 147"/>
                  <a:gd name="T15" fmla="*/ 83 h 115"/>
                  <a:gd name="T16" fmla="*/ 100 w 147"/>
                  <a:gd name="T17" fmla="*/ 91 h 115"/>
                  <a:gd name="T18" fmla="*/ 96 w 147"/>
                  <a:gd name="T19" fmla="*/ 99 h 115"/>
                  <a:gd name="T20" fmla="*/ 90 w 147"/>
                  <a:gd name="T21" fmla="*/ 105 h 115"/>
                  <a:gd name="T22" fmla="*/ 90 w 147"/>
                  <a:gd name="T23" fmla="*/ 105 h 115"/>
                  <a:gd name="T24" fmla="*/ 82 w 147"/>
                  <a:gd name="T25" fmla="*/ 110 h 115"/>
                  <a:gd name="T26" fmla="*/ 74 w 147"/>
                  <a:gd name="T27" fmla="*/ 113 h 115"/>
                  <a:gd name="T28" fmla="*/ 65 w 147"/>
                  <a:gd name="T29" fmla="*/ 115 h 115"/>
                  <a:gd name="T30" fmla="*/ 55 w 147"/>
                  <a:gd name="T31" fmla="*/ 115 h 115"/>
                  <a:gd name="T32" fmla="*/ 0 w 147"/>
                  <a:gd name="T33" fmla="*/ 115 h 115"/>
                  <a:gd name="T34" fmla="*/ 0 w 147"/>
                  <a:gd name="T35" fmla="*/ 1 h 115"/>
                  <a:gd name="T36" fmla="*/ 32 w 147"/>
                  <a:gd name="T37" fmla="*/ 1 h 115"/>
                  <a:gd name="T38" fmla="*/ 32 w 147"/>
                  <a:gd name="T39" fmla="*/ 37 h 115"/>
                  <a:gd name="T40" fmla="*/ 59 w 147"/>
                  <a:gd name="T41" fmla="*/ 37 h 115"/>
                  <a:gd name="T42" fmla="*/ 59 w 147"/>
                  <a:gd name="T43" fmla="*/ 37 h 115"/>
                  <a:gd name="T44" fmla="*/ 68 w 147"/>
                  <a:gd name="T45" fmla="*/ 37 h 115"/>
                  <a:gd name="T46" fmla="*/ 76 w 147"/>
                  <a:gd name="T47" fmla="*/ 39 h 115"/>
                  <a:gd name="T48" fmla="*/ 84 w 147"/>
                  <a:gd name="T49" fmla="*/ 42 h 115"/>
                  <a:gd name="T50" fmla="*/ 92 w 147"/>
                  <a:gd name="T51" fmla="*/ 46 h 115"/>
                  <a:gd name="T52" fmla="*/ 92 w 147"/>
                  <a:gd name="T53" fmla="*/ 46 h 115"/>
                  <a:gd name="T54" fmla="*/ 66 w 147"/>
                  <a:gd name="T55" fmla="*/ 88 h 115"/>
                  <a:gd name="T56" fmla="*/ 66 w 147"/>
                  <a:gd name="T57" fmla="*/ 88 h 115"/>
                  <a:gd name="T58" fmla="*/ 68 w 147"/>
                  <a:gd name="T59" fmla="*/ 85 h 115"/>
                  <a:gd name="T60" fmla="*/ 70 w 147"/>
                  <a:gd name="T61" fmla="*/ 82 h 115"/>
                  <a:gd name="T62" fmla="*/ 71 w 147"/>
                  <a:gd name="T63" fmla="*/ 79 h 115"/>
                  <a:gd name="T64" fmla="*/ 71 w 147"/>
                  <a:gd name="T65" fmla="*/ 76 h 115"/>
                  <a:gd name="T66" fmla="*/ 71 w 147"/>
                  <a:gd name="T67" fmla="*/ 76 h 115"/>
                  <a:gd name="T68" fmla="*/ 71 w 147"/>
                  <a:gd name="T69" fmla="*/ 72 h 115"/>
                  <a:gd name="T70" fmla="*/ 70 w 147"/>
                  <a:gd name="T71" fmla="*/ 69 h 115"/>
                  <a:gd name="T72" fmla="*/ 68 w 147"/>
                  <a:gd name="T73" fmla="*/ 67 h 115"/>
                  <a:gd name="T74" fmla="*/ 66 w 147"/>
                  <a:gd name="T75" fmla="*/ 64 h 115"/>
                  <a:gd name="T76" fmla="*/ 64 w 147"/>
                  <a:gd name="T77" fmla="*/ 63 h 115"/>
                  <a:gd name="T78" fmla="*/ 61 w 147"/>
                  <a:gd name="T79" fmla="*/ 62 h 115"/>
                  <a:gd name="T80" fmla="*/ 53 w 147"/>
                  <a:gd name="T81" fmla="*/ 61 h 115"/>
                  <a:gd name="T82" fmla="*/ 32 w 147"/>
                  <a:gd name="T83" fmla="*/ 61 h 115"/>
                  <a:gd name="T84" fmla="*/ 32 w 147"/>
                  <a:gd name="T85" fmla="*/ 92 h 115"/>
                  <a:gd name="T86" fmla="*/ 53 w 147"/>
                  <a:gd name="T87" fmla="*/ 92 h 115"/>
                  <a:gd name="T88" fmla="*/ 53 w 147"/>
                  <a:gd name="T89" fmla="*/ 92 h 115"/>
                  <a:gd name="T90" fmla="*/ 57 w 147"/>
                  <a:gd name="T91" fmla="*/ 92 h 115"/>
                  <a:gd name="T92" fmla="*/ 60 w 147"/>
                  <a:gd name="T93" fmla="*/ 91 h 115"/>
                  <a:gd name="T94" fmla="*/ 63 w 147"/>
                  <a:gd name="T95" fmla="*/ 90 h 115"/>
                  <a:gd name="T96" fmla="*/ 66 w 147"/>
                  <a:gd name="T97" fmla="*/ 88 h 115"/>
                  <a:gd name="T98" fmla="*/ 66 w 147"/>
                  <a:gd name="T99" fmla="*/ 88 h 115"/>
                  <a:gd name="T100" fmla="*/ 116 w 147"/>
                  <a:gd name="T101" fmla="*/ 0 h 115"/>
                  <a:gd name="T102" fmla="*/ 147 w 147"/>
                  <a:gd name="T103" fmla="*/ 0 h 115"/>
                  <a:gd name="T104" fmla="*/ 147 w 147"/>
                  <a:gd name="T105" fmla="*/ 115 h 115"/>
                  <a:gd name="T106" fmla="*/ 116 w 147"/>
                  <a:gd name="T107" fmla="*/ 115 h 115"/>
                  <a:gd name="T108" fmla="*/ 116 w 147"/>
                  <a:gd name="T109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47" h="115">
                    <a:moveTo>
                      <a:pt x="92" y="46"/>
                    </a:moveTo>
                    <a:lnTo>
                      <a:pt x="92" y="46"/>
                    </a:lnTo>
                    <a:lnTo>
                      <a:pt x="97" y="53"/>
                    </a:lnTo>
                    <a:lnTo>
                      <a:pt x="101" y="60"/>
                    </a:lnTo>
                    <a:lnTo>
                      <a:pt x="103" y="67"/>
                    </a:lnTo>
                    <a:lnTo>
                      <a:pt x="103" y="75"/>
                    </a:lnTo>
                    <a:lnTo>
                      <a:pt x="103" y="75"/>
                    </a:lnTo>
                    <a:lnTo>
                      <a:pt x="103" y="83"/>
                    </a:lnTo>
                    <a:lnTo>
                      <a:pt x="100" y="91"/>
                    </a:lnTo>
                    <a:lnTo>
                      <a:pt x="96" y="99"/>
                    </a:lnTo>
                    <a:lnTo>
                      <a:pt x="90" y="105"/>
                    </a:lnTo>
                    <a:lnTo>
                      <a:pt x="90" y="105"/>
                    </a:lnTo>
                    <a:lnTo>
                      <a:pt x="82" y="110"/>
                    </a:lnTo>
                    <a:lnTo>
                      <a:pt x="74" y="113"/>
                    </a:lnTo>
                    <a:lnTo>
                      <a:pt x="65" y="115"/>
                    </a:lnTo>
                    <a:lnTo>
                      <a:pt x="55" y="115"/>
                    </a:lnTo>
                    <a:lnTo>
                      <a:pt x="0" y="115"/>
                    </a:lnTo>
                    <a:lnTo>
                      <a:pt x="0" y="1"/>
                    </a:lnTo>
                    <a:lnTo>
                      <a:pt x="32" y="1"/>
                    </a:lnTo>
                    <a:lnTo>
                      <a:pt x="32" y="37"/>
                    </a:lnTo>
                    <a:lnTo>
                      <a:pt x="59" y="37"/>
                    </a:lnTo>
                    <a:lnTo>
                      <a:pt x="59" y="37"/>
                    </a:lnTo>
                    <a:lnTo>
                      <a:pt x="68" y="37"/>
                    </a:lnTo>
                    <a:lnTo>
                      <a:pt x="76" y="39"/>
                    </a:lnTo>
                    <a:lnTo>
                      <a:pt x="84" y="42"/>
                    </a:lnTo>
                    <a:lnTo>
                      <a:pt x="92" y="46"/>
                    </a:lnTo>
                    <a:lnTo>
                      <a:pt x="92" y="46"/>
                    </a:lnTo>
                    <a:close/>
                    <a:moveTo>
                      <a:pt x="66" y="88"/>
                    </a:moveTo>
                    <a:lnTo>
                      <a:pt x="66" y="88"/>
                    </a:lnTo>
                    <a:lnTo>
                      <a:pt x="68" y="85"/>
                    </a:lnTo>
                    <a:lnTo>
                      <a:pt x="70" y="82"/>
                    </a:lnTo>
                    <a:lnTo>
                      <a:pt x="71" y="79"/>
                    </a:lnTo>
                    <a:lnTo>
                      <a:pt x="71" y="76"/>
                    </a:lnTo>
                    <a:lnTo>
                      <a:pt x="71" y="76"/>
                    </a:lnTo>
                    <a:lnTo>
                      <a:pt x="71" y="72"/>
                    </a:lnTo>
                    <a:lnTo>
                      <a:pt x="70" y="69"/>
                    </a:lnTo>
                    <a:lnTo>
                      <a:pt x="68" y="67"/>
                    </a:lnTo>
                    <a:lnTo>
                      <a:pt x="66" y="64"/>
                    </a:lnTo>
                    <a:lnTo>
                      <a:pt x="64" y="63"/>
                    </a:lnTo>
                    <a:lnTo>
                      <a:pt x="61" y="62"/>
                    </a:lnTo>
                    <a:lnTo>
                      <a:pt x="53" y="61"/>
                    </a:lnTo>
                    <a:lnTo>
                      <a:pt x="32" y="61"/>
                    </a:lnTo>
                    <a:lnTo>
                      <a:pt x="32" y="92"/>
                    </a:lnTo>
                    <a:lnTo>
                      <a:pt x="53" y="92"/>
                    </a:lnTo>
                    <a:lnTo>
                      <a:pt x="53" y="92"/>
                    </a:lnTo>
                    <a:lnTo>
                      <a:pt x="57" y="92"/>
                    </a:lnTo>
                    <a:lnTo>
                      <a:pt x="60" y="91"/>
                    </a:lnTo>
                    <a:lnTo>
                      <a:pt x="63" y="90"/>
                    </a:lnTo>
                    <a:lnTo>
                      <a:pt x="66" y="88"/>
                    </a:lnTo>
                    <a:lnTo>
                      <a:pt x="66" y="88"/>
                    </a:lnTo>
                    <a:close/>
                    <a:moveTo>
                      <a:pt x="116" y="0"/>
                    </a:moveTo>
                    <a:lnTo>
                      <a:pt x="147" y="0"/>
                    </a:lnTo>
                    <a:lnTo>
                      <a:pt x="147" y="115"/>
                    </a:lnTo>
                    <a:lnTo>
                      <a:pt x="116" y="115"/>
                    </a:lnTo>
                    <a:lnTo>
                      <a:pt x="116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20">
                <a:extLst>
                  <a:ext uri="{FF2B5EF4-FFF2-40B4-BE49-F238E27FC236}">
                    <a16:creationId xmlns:a16="http://schemas.microsoft.com/office/drawing/2014/main" id="{C1378182-866D-4A64-837A-91E3D033C8A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802941" y="1535113"/>
                <a:ext cx="74613" cy="90487"/>
              </a:xfrm>
              <a:custGeom>
                <a:avLst/>
                <a:gdLst>
                  <a:gd name="T0" fmla="*/ 92 w 92"/>
                  <a:gd name="T1" fmla="*/ 90 h 115"/>
                  <a:gd name="T2" fmla="*/ 92 w 92"/>
                  <a:gd name="T3" fmla="*/ 115 h 115"/>
                  <a:gd name="T4" fmla="*/ 0 w 92"/>
                  <a:gd name="T5" fmla="*/ 115 h 115"/>
                  <a:gd name="T6" fmla="*/ 0 w 92"/>
                  <a:gd name="T7" fmla="*/ 0 h 115"/>
                  <a:gd name="T8" fmla="*/ 90 w 92"/>
                  <a:gd name="T9" fmla="*/ 0 h 115"/>
                  <a:gd name="T10" fmla="*/ 90 w 92"/>
                  <a:gd name="T11" fmla="*/ 25 h 115"/>
                  <a:gd name="T12" fmla="*/ 32 w 92"/>
                  <a:gd name="T13" fmla="*/ 25 h 115"/>
                  <a:gd name="T14" fmla="*/ 32 w 92"/>
                  <a:gd name="T15" fmla="*/ 44 h 115"/>
                  <a:gd name="T16" fmla="*/ 83 w 92"/>
                  <a:gd name="T17" fmla="*/ 44 h 115"/>
                  <a:gd name="T18" fmla="*/ 83 w 92"/>
                  <a:gd name="T19" fmla="*/ 69 h 115"/>
                  <a:gd name="T20" fmla="*/ 32 w 92"/>
                  <a:gd name="T21" fmla="*/ 69 h 115"/>
                  <a:gd name="T22" fmla="*/ 32 w 92"/>
                  <a:gd name="T23" fmla="*/ 90 h 115"/>
                  <a:gd name="T24" fmla="*/ 92 w 92"/>
                  <a:gd name="T25" fmla="*/ 9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2" h="115">
                    <a:moveTo>
                      <a:pt x="92" y="90"/>
                    </a:moveTo>
                    <a:lnTo>
                      <a:pt x="9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25"/>
                    </a:lnTo>
                    <a:lnTo>
                      <a:pt x="32" y="25"/>
                    </a:lnTo>
                    <a:lnTo>
                      <a:pt x="32" y="44"/>
                    </a:lnTo>
                    <a:lnTo>
                      <a:pt x="83" y="44"/>
                    </a:lnTo>
                    <a:lnTo>
                      <a:pt x="83" y="69"/>
                    </a:lnTo>
                    <a:lnTo>
                      <a:pt x="32" y="69"/>
                    </a:lnTo>
                    <a:lnTo>
                      <a:pt x="32" y="90"/>
                    </a:lnTo>
                    <a:lnTo>
                      <a:pt x="92" y="9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21">
                <a:extLst>
                  <a:ext uri="{FF2B5EF4-FFF2-40B4-BE49-F238E27FC236}">
                    <a16:creationId xmlns:a16="http://schemas.microsoft.com/office/drawing/2014/main" id="{3D723717-6A25-496E-894B-58FDBA962B31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934704" y="1535113"/>
                <a:ext cx="82550" cy="90487"/>
              </a:xfrm>
              <a:custGeom>
                <a:avLst/>
                <a:gdLst>
                  <a:gd name="T0" fmla="*/ 79 w 104"/>
                  <a:gd name="T1" fmla="*/ 5 h 115"/>
                  <a:gd name="T2" fmla="*/ 79 w 104"/>
                  <a:gd name="T3" fmla="*/ 5 h 115"/>
                  <a:gd name="T4" fmla="*/ 85 w 104"/>
                  <a:gd name="T5" fmla="*/ 8 h 115"/>
                  <a:gd name="T6" fmla="*/ 90 w 104"/>
                  <a:gd name="T7" fmla="*/ 12 h 115"/>
                  <a:gd name="T8" fmla="*/ 94 w 104"/>
                  <a:gd name="T9" fmla="*/ 16 h 115"/>
                  <a:gd name="T10" fmla="*/ 98 w 104"/>
                  <a:gd name="T11" fmla="*/ 20 h 115"/>
                  <a:gd name="T12" fmla="*/ 98 w 104"/>
                  <a:gd name="T13" fmla="*/ 20 h 115"/>
                  <a:gd name="T14" fmla="*/ 101 w 104"/>
                  <a:gd name="T15" fmla="*/ 27 h 115"/>
                  <a:gd name="T16" fmla="*/ 104 w 104"/>
                  <a:gd name="T17" fmla="*/ 35 h 115"/>
                  <a:gd name="T18" fmla="*/ 104 w 104"/>
                  <a:gd name="T19" fmla="*/ 43 h 115"/>
                  <a:gd name="T20" fmla="*/ 104 w 104"/>
                  <a:gd name="T21" fmla="*/ 51 h 115"/>
                  <a:gd name="T22" fmla="*/ 102 w 104"/>
                  <a:gd name="T23" fmla="*/ 59 h 115"/>
                  <a:gd name="T24" fmla="*/ 98 w 104"/>
                  <a:gd name="T25" fmla="*/ 66 h 115"/>
                  <a:gd name="T26" fmla="*/ 93 w 104"/>
                  <a:gd name="T27" fmla="*/ 72 h 115"/>
                  <a:gd name="T28" fmla="*/ 87 w 104"/>
                  <a:gd name="T29" fmla="*/ 77 h 115"/>
                  <a:gd name="T30" fmla="*/ 87 w 104"/>
                  <a:gd name="T31" fmla="*/ 77 h 115"/>
                  <a:gd name="T32" fmla="*/ 79 w 104"/>
                  <a:gd name="T33" fmla="*/ 81 h 115"/>
                  <a:gd name="T34" fmla="*/ 79 w 104"/>
                  <a:gd name="T35" fmla="*/ 81 h 115"/>
                  <a:gd name="T36" fmla="*/ 72 w 104"/>
                  <a:gd name="T37" fmla="*/ 83 h 115"/>
                  <a:gd name="T38" fmla="*/ 66 w 104"/>
                  <a:gd name="T39" fmla="*/ 85 h 115"/>
                  <a:gd name="T40" fmla="*/ 59 w 104"/>
                  <a:gd name="T41" fmla="*/ 85 h 115"/>
                  <a:gd name="T42" fmla="*/ 52 w 104"/>
                  <a:gd name="T43" fmla="*/ 86 h 115"/>
                  <a:gd name="T44" fmla="*/ 32 w 104"/>
                  <a:gd name="T45" fmla="*/ 86 h 115"/>
                  <a:gd name="T46" fmla="*/ 32 w 104"/>
                  <a:gd name="T47" fmla="*/ 115 h 115"/>
                  <a:gd name="T48" fmla="*/ 0 w 104"/>
                  <a:gd name="T49" fmla="*/ 115 h 115"/>
                  <a:gd name="T50" fmla="*/ 0 w 104"/>
                  <a:gd name="T51" fmla="*/ 0 h 115"/>
                  <a:gd name="T52" fmla="*/ 52 w 104"/>
                  <a:gd name="T53" fmla="*/ 0 h 115"/>
                  <a:gd name="T54" fmla="*/ 52 w 104"/>
                  <a:gd name="T55" fmla="*/ 0 h 115"/>
                  <a:gd name="T56" fmla="*/ 59 w 104"/>
                  <a:gd name="T57" fmla="*/ 1 h 115"/>
                  <a:gd name="T58" fmla="*/ 66 w 104"/>
                  <a:gd name="T59" fmla="*/ 2 h 115"/>
                  <a:gd name="T60" fmla="*/ 73 w 104"/>
                  <a:gd name="T61" fmla="*/ 3 h 115"/>
                  <a:gd name="T62" fmla="*/ 79 w 104"/>
                  <a:gd name="T63" fmla="*/ 5 h 115"/>
                  <a:gd name="T64" fmla="*/ 79 w 104"/>
                  <a:gd name="T65" fmla="*/ 5 h 115"/>
                  <a:gd name="T66" fmla="*/ 65 w 104"/>
                  <a:gd name="T67" fmla="*/ 56 h 115"/>
                  <a:gd name="T68" fmla="*/ 65 w 104"/>
                  <a:gd name="T69" fmla="*/ 56 h 115"/>
                  <a:gd name="T70" fmla="*/ 67 w 104"/>
                  <a:gd name="T71" fmla="*/ 53 h 115"/>
                  <a:gd name="T72" fmla="*/ 69 w 104"/>
                  <a:gd name="T73" fmla="*/ 50 h 115"/>
                  <a:gd name="T74" fmla="*/ 70 w 104"/>
                  <a:gd name="T75" fmla="*/ 46 h 115"/>
                  <a:gd name="T76" fmla="*/ 70 w 104"/>
                  <a:gd name="T77" fmla="*/ 43 h 115"/>
                  <a:gd name="T78" fmla="*/ 70 w 104"/>
                  <a:gd name="T79" fmla="*/ 43 h 115"/>
                  <a:gd name="T80" fmla="*/ 70 w 104"/>
                  <a:gd name="T81" fmla="*/ 39 h 115"/>
                  <a:gd name="T82" fmla="*/ 69 w 104"/>
                  <a:gd name="T83" fmla="*/ 36 h 115"/>
                  <a:gd name="T84" fmla="*/ 67 w 104"/>
                  <a:gd name="T85" fmla="*/ 33 h 115"/>
                  <a:gd name="T86" fmla="*/ 65 w 104"/>
                  <a:gd name="T87" fmla="*/ 30 h 115"/>
                  <a:gd name="T88" fmla="*/ 65 w 104"/>
                  <a:gd name="T89" fmla="*/ 30 h 115"/>
                  <a:gd name="T90" fmla="*/ 62 w 104"/>
                  <a:gd name="T91" fmla="*/ 28 h 115"/>
                  <a:gd name="T92" fmla="*/ 58 w 104"/>
                  <a:gd name="T93" fmla="*/ 27 h 115"/>
                  <a:gd name="T94" fmla="*/ 54 w 104"/>
                  <a:gd name="T95" fmla="*/ 26 h 115"/>
                  <a:gd name="T96" fmla="*/ 50 w 104"/>
                  <a:gd name="T97" fmla="*/ 26 h 115"/>
                  <a:gd name="T98" fmla="*/ 32 w 104"/>
                  <a:gd name="T99" fmla="*/ 26 h 115"/>
                  <a:gd name="T100" fmla="*/ 32 w 104"/>
                  <a:gd name="T101" fmla="*/ 60 h 115"/>
                  <a:gd name="T102" fmla="*/ 50 w 104"/>
                  <a:gd name="T103" fmla="*/ 60 h 115"/>
                  <a:gd name="T104" fmla="*/ 50 w 104"/>
                  <a:gd name="T105" fmla="*/ 60 h 115"/>
                  <a:gd name="T106" fmla="*/ 54 w 104"/>
                  <a:gd name="T107" fmla="*/ 60 h 115"/>
                  <a:gd name="T108" fmla="*/ 58 w 104"/>
                  <a:gd name="T109" fmla="*/ 59 h 115"/>
                  <a:gd name="T110" fmla="*/ 62 w 104"/>
                  <a:gd name="T111" fmla="*/ 58 h 115"/>
                  <a:gd name="T112" fmla="*/ 65 w 104"/>
                  <a:gd name="T113" fmla="*/ 56 h 115"/>
                  <a:gd name="T114" fmla="*/ 65 w 104"/>
                  <a:gd name="T115" fmla="*/ 56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04" h="115">
                    <a:moveTo>
                      <a:pt x="79" y="5"/>
                    </a:moveTo>
                    <a:lnTo>
                      <a:pt x="79" y="5"/>
                    </a:lnTo>
                    <a:lnTo>
                      <a:pt x="85" y="8"/>
                    </a:lnTo>
                    <a:lnTo>
                      <a:pt x="90" y="12"/>
                    </a:lnTo>
                    <a:lnTo>
                      <a:pt x="94" y="16"/>
                    </a:lnTo>
                    <a:lnTo>
                      <a:pt x="98" y="20"/>
                    </a:lnTo>
                    <a:lnTo>
                      <a:pt x="98" y="20"/>
                    </a:lnTo>
                    <a:lnTo>
                      <a:pt x="101" y="27"/>
                    </a:lnTo>
                    <a:lnTo>
                      <a:pt x="104" y="35"/>
                    </a:lnTo>
                    <a:lnTo>
                      <a:pt x="104" y="43"/>
                    </a:lnTo>
                    <a:lnTo>
                      <a:pt x="104" y="51"/>
                    </a:lnTo>
                    <a:lnTo>
                      <a:pt x="102" y="59"/>
                    </a:lnTo>
                    <a:lnTo>
                      <a:pt x="98" y="66"/>
                    </a:lnTo>
                    <a:lnTo>
                      <a:pt x="93" y="72"/>
                    </a:lnTo>
                    <a:lnTo>
                      <a:pt x="87" y="77"/>
                    </a:lnTo>
                    <a:lnTo>
                      <a:pt x="87" y="77"/>
                    </a:lnTo>
                    <a:lnTo>
                      <a:pt x="79" y="81"/>
                    </a:lnTo>
                    <a:lnTo>
                      <a:pt x="79" y="81"/>
                    </a:lnTo>
                    <a:lnTo>
                      <a:pt x="72" y="83"/>
                    </a:lnTo>
                    <a:lnTo>
                      <a:pt x="66" y="85"/>
                    </a:lnTo>
                    <a:lnTo>
                      <a:pt x="59" y="85"/>
                    </a:lnTo>
                    <a:lnTo>
                      <a:pt x="52" y="86"/>
                    </a:lnTo>
                    <a:lnTo>
                      <a:pt x="32" y="86"/>
                    </a:lnTo>
                    <a:lnTo>
                      <a:pt x="3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52" y="0"/>
                    </a:lnTo>
                    <a:lnTo>
                      <a:pt x="52" y="0"/>
                    </a:lnTo>
                    <a:lnTo>
                      <a:pt x="59" y="1"/>
                    </a:lnTo>
                    <a:lnTo>
                      <a:pt x="66" y="2"/>
                    </a:lnTo>
                    <a:lnTo>
                      <a:pt x="73" y="3"/>
                    </a:lnTo>
                    <a:lnTo>
                      <a:pt x="79" y="5"/>
                    </a:lnTo>
                    <a:lnTo>
                      <a:pt x="79" y="5"/>
                    </a:lnTo>
                    <a:close/>
                    <a:moveTo>
                      <a:pt x="65" y="56"/>
                    </a:moveTo>
                    <a:lnTo>
                      <a:pt x="65" y="56"/>
                    </a:lnTo>
                    <a:lnTo>
                      <a:pt x="67" y="53"/>
                    </a:lnTo>
                    <a:lnTo>
                      <a:pt x="69" y="50"/>
                    </a:lnTo>
                    <a:lnTo>
                      <a:pt x="70" y="46"/>
                    </a:lnTo>
                    <a:lnTo>
                      <a:pt x="70" y="43"/>
                    </a:lnTo>
                    <a:lnTo>
                      <a:pt x="70" y="43"/>
                    </a:lnTo>
                    <a:lnTo>
                      <a:pt x="70" y="39"/>
                    </a:lnTo>
                    <a:lnTo>
                      <a:pt x="69" y="36"/>
                    </a:lnTo>
                    <a:lnTo>
                      <a:pt x="67" y="33"/>
                    </a:lnTo>
                    <a:lnTo>
                      <a:pt x="65" y="30"/>
                    </a:lnTo>
                    <a:lnTo>
                      <a:pt x="65" y="30"/>
                    </a:lnTo>
                    <a:lnTo>
                      <a:pt x="62" y="28"/>
                    </a:lnTo>
                    <a:lnTo>
                      <a:pt x="58" y="27"/>
                    </a:lnTo>
                    <a:lnTo>
                      <a:pt x="54" y="26"/>
                    </a:lnTo>
                    <a:lnTo>
                      <a:pt x="50" y="26"/>
                    </a:lnTo>
                    <a:lnTo>
                      <a:pt x="32" y="26"/>
                    </a:lnTo>
                    <a:lnTo>
                      <a:pt x="32" y="60"/>
                    </a:lnTo>
                    <a:lnTo>
                      <a:pt x="50" y="60"/>
                    </a:lnTo>
                    <a:lnTo>
                      <a:pt x="50" y="60"/>
                    </a:lnTo>
                    <a:lnTo>
                      <a:pt x="54" y="60"/>
                    </a:lnTo>
                    <a:lnTo>
                      <a:pt x="58" y="59"/>
                    </a:lnTo>
                    <a:lnTo>
                      <a:pt x="62" y="58"/>
                    </a:lnTo>
                    <a:lnTo>
                      <a:pt x="65" y="56"/>
                    </a:lnTo>
                    <a:lnTo>
                      <a:pt x="65" y="5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22">
                <a:extLst>
                  <a:ext uri="{FF2B5EF4-FFF2-40B4-BE49-F238E27FC236}">
                    <a16:creationId xmlns:a16="http://schemas.microsoft.com/office/drawing/2014/main" id="{18BD0DA6-78F7-4EC6-9B8D-DEBB6FB2934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029954" y="1535113"/>
                <a:ext cx="74613" cy="90487"/>
              </a:xfrm>
              <a:custGeom>
                <a:avLst/>
                <a:gdLst>
                  <a:gd name="T0" fmla="*/ 93 w 93"/>
                  <a:gd name="T1" fmla="*/ 90 h 115"/>
                  <a:gd name="T2" fmla="*/ 93 w 93"/>
                  <a:gd name="T3" fmla="*/ 115 h 115"/>
                  <a:gd name="T4" fmla="*/ 0 w 93"/>
                  <a:gd name="T5" fmla="*/ 115 h 115"/>
                  <a:gd name="T6" fmla="*/ 0 w 93"/>
                  <a:gd name="T7" fmla="*/ 0 h 115"/>
                  <a:gd name="T8" fmla="*/ 91 w 93"/>
                  <a:gd name="T9" fmla="*/ 0 h 115"/>
                  <a:gd name="T10" fmla="*/ 91 w 93"/>
                  <a:gd name="T11" fmla="*/ 25 h 115"/>
                  <a:gd name="T12" fmla="*/ 32 w 93"/>
                  <a:gd name="T13" fmla="*/ 25 h 115"/>
                  <a:gd name="T14" fmla="*/ 32 w 93"/>
                  <a:gd name="T15" fmla="*/ 44 h 115"/>
                  <a:gd name="T16" fmla="*/ 83 w 93"/>
                  <a:gd name="T17" fmla="*/ 44 h 115"/>
                  <a:gd name="T18" fmla="*/ 83 w 93"/>
                  <a:gd name="T19" fmla="*/ 69 h 115"/>
                  <a:gd name="T20" fmla="*/ 32 w 93"/>
                  <a:gd name="T21" fmla="*/ 69 h 115"/>
                  <a:gd name="T22" fmla="*/ 32 w 93"/>
                  <a:gd name="T23" fmla="*/ 90 h 115"/>
                  <a:gd name="T24" fmla="*/ 93 w 93"/>
                  <a:gd name="T25" fmla="*/ 9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3" h="115">
                    <a:moveTo>
                      <a:pt x="93" y="90"/>
                    </a:moveTo>
                    <a:lnTo>
                      <a:pt x="93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91" y="0"/>
                    </a:lnTo>
                    <a:lnTo>
                      <a:pt x="91" y="25"/>
                    </a:lnTo>
                    <a:lnTo>
                      <a:pt x="32" y="25"/>
                    </a:lnTo>
                    <a:lnTo>
                      <a:pt x="32" y="44"/>
                    </a:lnTo>
                    <a:lnTo>
                      <a:pt x="83" y="44"/>
                    </a:lnTo>
                    <a:lnTo>
                      <a:pt x="83" y="69"/>
                    </a:lnTo>
                    <a:lnTo>
                      <a:pt x="32" y="69"/>
                    </a:lnTo>
                    <a:lnTo>
                      <a:pt x="32" y="90"/>
                    </a:lnTo>
                    <a:lnTo>
                      <a:pt x="93" y="9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23">
                <a:extLst>
                  <a:ext uri="{FF2B5EF4-FFF2-40B4-BE49-F238E27FC236}">
                    <a16:creationId xmlns:a16="http://schemas.microsoft.com/office/drawing/2014/main" id="{47998676-E568-486E-8375-65C2CD4EE08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122029" y="1535113"/>
                <a:ext cx="122238" cy="90487"/>
              </a:xfrm>
              <a:custGeom>
                <a:avLst/>
                <a:gdLst>
                  <a:gd name="T0" fmla="*/ 155 w 155"/>
                  <a:gd name="T1" fmla="*/ 0 h 115"/>
                  <a:gd name="T2" fmla="*/ 155 w 155"/>
                  <a:gd name="T3" fmla="*/ 115 h 115"/>
                  <a:gd name="T4" fmla="*/ 0 w 155"/>
                  <a:gd name="T5" fmla="*/ 115 h 115"/>
                  <a:gd name="T6" fmla="*/ 0 w 155"/>
                  <a:gd name="T7" fmla="*/ 0 h 115"/>
                  <a:gd name="T8" fmla="*/ 31 w 155"/>
                  <a:gd name="T9" fmla="*/ 0 h 115"/>
                  <a:gd name="T10" fmla="*/ 31 w 155"/>
                  <a:gd name="T11" fmla="*/ 90 h 115"/>
                  <a:gd name="T12" fmla="*/ 61 w 155"/>
                  <a:gd name="T13" fmla="*/ 90 h 115"/>
                  <a:gd name="T14" fmla="*/ 61 w 155"/>
                  <a:gd name="T15" fmla="*/ 0 h 115"/>
                  <a:gd name="T16" fmla="*/ 93 w 155"/>
                  <a:gd name="T17" fmla="*/ 0 h 115"/>
                  <a:gd name="T18" fmla="*/ 93 w 155"/>
                  <a:gd name="T19" fmla="*/ 90 h 115"/>
                  <a:gd name="T20" fmla="*/ 123 w 155"/>
                  <a:gd name="T21" fmla="*/ 90 h 115"/>
                  <a:gd name="T22" fmla="*/ 123 w 155"/>
                  <a:gd name="T23" fmla="*/ 0 h 115"/>
                  <a:gd name="T24" fmla="*/ 155 w 155"/>
                  <a:gd name="T25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5" h="115">
                    <a:moveTo>
                      <a:pt x="155" y="0"/>
                    </a:moveTo>
                    <a:lnTo>
                      <a:pt x="155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1" y="0"/>
                    </a:lnTo>
                    <a:lnTo>
                      <a:pt x="31" y="90"/>
                    </a:lnTo>
                    <a:lnTo>
                      <a:pt x="61" y="90"/>
                    </a:lnTo>
                    <a:lnTo>
                      <a:pt x="61" y="0"/>
                    </a:lnTo>
                    <a:lnTo>
                      <a:pt x="93" y="0"/>
                    </a:lnTo>
                    <a:lnTo>
                      <a:pt x="93" y="90"/>
                    </a:lnTo>
                    <a:lnTo>
                      <a:pt x="123" y="90"/>
                    </a:lnTo>
                    <a:lnTo>
                      <a:pt x="123" y="0"/>
                    </a:lnTo>
                    <a:lnTo>
                      <a:pt x="15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24">
                <a:extLst>
                  <a:ext uri="{FF2B5EF4-FFF2-40B4-BE49-F238E27FC236}">
                    <a16:creationId xmlns:a16="http://schemas.microsoft.com/office/drawing/2014/main" id="{E6F0B679-A4AA-43DD-9BA2-270CE47C4C9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268079" y="1535113"/>
                <a:ext cx="71438" cy="90487"/>
              </a:xfrm>
              <a:custGeom>
                <a:avLst/>
                <a:gdLst>
                  <a:gd name="T0" fmla="*/ 92 w 92"/>
                  <a:gd name="T1" fmla="*/ 90 h 115"/>
                  <a:gd name="T2" fmla="*/ 92 w 92"/>
                  <a:gd name="T3" fmla="*/ 115 h 115"/>
                  <a:gd name="T4" fmla="*/ 0 w 92"/>
                  <a:gd name="T5" fmla="*/ 115 h 115"/>
                  <a:gd name="T6" fmla="*/ 0 w 92"/>
                  <a:gd name="T7" fmla="*/ 0 h 115"/>
                  <a:gd name="T8" fmla="*/ 90 w 92"/>
                  <a:gd name="T9" fmla="*/ 0 h 115"/>
                  <a:gd name="T10" fmla="*/ 90 w 92"/>
                  <a:gd name="T11" fmla="*/ 25 h 115"/>
                  <a:gd name="T12" fmla="*/ 32 w 92"/>
                  <a:gd name="T13" fmla="*/ 25 h 115"/>
                  <a:gd name="T14" fmla="*/ 32 w 92"/>
                  <a:gd name="T15" fmla="*/ 44 h 115"/>
                  <a:gd name="T16" fmla="*/ 83 w 92"/>
                  <a:gd name="T17" fmla="*/ 44 h 115"/>
                  <a:gd name="T18" fmla="*/ 83 w 92"/>
                  <a:gd name="T19" fmla="*/ 69 h 115"/>
                  <a:gd name="T20" fmla="*/ 32 w 92"/>
                  <a:gd name="T21" fmla="*/ 69 h 115"/>
                  <a:gd name="T22" fmla="*/ 32 w 92"/>
                  <a:gd name="T23" fmla="*/ 90 h 115"/>
                  <a:gd name="T24" fmla="*/ 92 w 92"/>
                  <a:gd name="T25" fmla="*/ 9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2" h="115">
                    <a:moveTo>
                      <a:pt x="92" y="90"/>
                    </a:moveTo>
                    <a:lnTo>
                      <a:pt x="9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90" y="0"/>
                    </a:lnTo>
                    <a:lnTo>
                      <a:pt x="90" y="25"/>
                    </a:lnTo>
                    <a:lnTo>
                      <a:pt x="32" y="25"/>
                    </a:lnTo>
                    <a:lnTo>
                      <a:pt x="32" y="44"/>
                    </a:lnTo>
                    <a:lnTo>
                      <a:pt x="83" y="44"/>
                    </a:lnTo>
                    <a:lnTo>
                      <a:pt x="83" y="69"/>
                    </a:lnTo>
                    <a:lnTo>
                      <a:pt x="32" y="69"/>
                    </a:lnTo>
                    <a:lnTo>
                      <a:pt x="32" y="90"/>
                    </a:lnTo>
                    <a:lnTo>
                      <a:pt x="92" y="9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25">
                <a:extLst>
                  <a:ext uri="{FF2B5EF4-FFF2-40B4-BE49-F238E27FC236}">
                    <a16:creationId xmlns:a16="http://schemas.microsoft.com/office/drawing/2014/main" id="{9C94DEDC-E06D-4E88-A694-D7DDD9EF7E7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358566" y="1535113"/>
                <a:ext cx="85725" cy="90487"/>
              </a:xfrm>
              <a:custGeom>
                <a:avLst/>
                <a:gdLst>
                  <a:gd name="T0" fmla="*/ 109 w 109"/>
                  <a:gd name="T1" fmla="*/ 0 h 115"/>
                  <a:gd name="T2" fmla="*/ 109 w 109"/>
                  <a:gd name="T3" fmla="*/ 115 h 115"/>
                  <a:gd name="T4" fmla="*/ 77 w 109"/>
                  <a:gd name="T5" fmla="*/ 115 h 115"/>
                  <a:gd name="T6" fmla="*/ 77 w 109"/>
                  <a:gd name="T7" fmla="*/ 71 h 115"/>
                  <a:gd name="T8" fmla="*/ 32 w 109"/>
                  <a:gd name="T9" fmla="*/ 71 h 115"/>
                  <a:gd name="T10" fmla="*/ 32 w 109"/>
                  <a:gd name="T11" fmla="*/ 115 h 115"/>
                  <a:gd name="T12" fmla="*/ 0 w 109"/>
                  <a:gd name="T13" fmla="*/ 115 h 115"/>
                  <a:gd name="T14" fmla="*/ 0 w 109"/>
                  <a:gd name="T15" fmla="*/ 0 h 115"/>
                  <a:gd name="T16" fmla="*/ 32 w 109"/>
                  <a:gd name="T17" fmla="*/ 0 h 115"/>
                  <a:gd name="T18" fmla="*/ 32 w 109"/>
                  <a:gd name="T19" fmla="*/ 43 h 115"/>
                  <a:gd name="T20" fmla="*/ 77 w 109"/>
                  <a:gd name="T21" fmla="*/ 43 h 115"/>
                  <a:gd name="T22" fmla="*/ 77 w 109"/>
                  <a:gd name="T23" fmla="*/ 0 h 115"/>
                  <a:gd name="T24" fmla="*/ 109 w 109"/>
                  <a:gd name="T25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9" h="115">
                    <a:moveTo>
                      <a:pt x="109" y="0"/>
                    </a:moveTo>
                    <a:lnTo>
                      <a:pt x="109" y="115"/>
                    </a:lnTo>
                    <a:lnTo>
                      <a:pt x="77" y="115"/>
                    </a:lnTo>
                    <a:lnTo>
                      <a:pt x="77" y="71"/>
                    </a:lnTo>
                    <a:lnTo>
                      <a:pt x="32" y="71"/>
                    </a:lnTo>
                    <a:lnTo>
                      <a:pt x="32" y="115"/>
                    </a:lnTo>
                    <a:lnTo>
                      <a:pt x="0" y="115"/>
                    </a:lnTo>
                    <a:lnTo>
                      <a:pt x="0" y="0"/>
                    </a:lnTo>
                    <a:lnTo>
                      <a:pt x="32" y="0"/>
                    </a:lnTo>
                    <a:lnTo>
                      <a:pt x="32" y="43"/>
                    </a:lnTo>
                    <a:lnTo>
                      <a:pt x="77" y="43"/>
                    </a:lnTo>
                    <a:lnTo>
                      <a:pt x="77" y="0"/>
                    </a:lnTo>
                    <a:lnTo>
                      <a:pt x="109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26">
                <a:extLst>
                  <a:ext uri="{FF2B5EF4-FFF2-40B4-BE49-F238E27FC236}">
                    <a16:creationId xmlns:a16="http://schemas.microsoft.com/office/drawing/2014/main" id="{2C674851-33BA-452E-825C-5BDC77E0543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466516" y="1535113"/>
                <a:ext cx="87313" cy="90487"/>
              </a:xfrm>
              <a:custGeom>
                <a:avLst/>
                <a:gdLst>
                  <a:gd name="T0" fmla="*/ 0 w 110"/>
                  <a:gd name="T1" fmla="*/ 0 h 115"/>
                  <a:gd name="T2" fmla="*/ 32 w 110"/>
                  <a:gd name="T3" fmla="*/ 0 h 115"/>
                  <a:gd name="T4" fmla="*/ 32 w 110"/>
                  <a:gd name="T5" fmla="*/ 68 h 115"/>
                  <a:gd name="T6" fmla="*/ 80 w 110"/>
                  <a:gd name="T7" fmla="*/ 0 h 115"/>
                  <a:gd name="T8" fmla="*/ 110 w 110"/>
                  <a:gd name="T9" fmla="*/ 0 h 115"/>
                  <a:gd name="T10" fmla="*/ 110 w 110"/>
                  <a:gd name="T11" fmla="*/ 115 h 115"/>
                  <a:gd name="T12" fmla="*/ 78 w 110"/>
                  <a:gd name="T13" fmla="*/ 115 h 115"/>
                  <a:gd name="T14" fmla="*/ 78 w 110"/>
                  <a:gd name="T15" fmla="*/ 48 h 115"/>
                  <a:gd name="T16" fmla="*/ 30 w 110"/>
                  <a:gd name="T17" fmla="*/ 115 h 115"/>
                  <a:gd name="T18" fmla="*/ 0 w 110"/>
                  <a:gd name="T19" fmla="*/ 115 h 115"/>
                  <a:gd name="T20" fmla="*/ 0 w 110"/>
                  <a:gd name="T21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0" h="115">
                    <a:moveTo>
                      <a:pt x="0" y="0"/>
                    </a:moveTo>
                    <a:lnTo>
                      <a:pt x="32" y="0"/>
                    </a:lnTo>
                    <a:lnTo>
                      <a:pt x="32" y="68"/>
                    </a:lnTo>
                    <a:lnTo>
                      <a:pt x="80" y="0"/>
                    </a:lnTo>
                    <a:lnTo>
                      <a:pt x="110" y="0"/>
                    </a:lnTo>
                    <a:lnTo>
                      <a:pt x="110" y="115"/>
                    </a:lnTo>
                    <a:lnTo>
                      <a:pt x="78" y="115"/>
                    </a:lnTo>
                    <a:lnTo>
                      <a:pt x="78" y="48"/>
                    </a:lnTo>
                    <a:lnTo>
                      <a:pt x="30" y="115"/>
                    </a:lnTo>
                    <a:lnTo>
                      <a:pt x="0" y="11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27">
                <a:extLst>
                  <a:ext uri="{FF2B5EF4-FFF2-40B4-BE49-F238E27FC236}">
                    <a16:creationId xmlns:a16="http://schemas.microsoft.com/office/drawing/2014/main" id="{F5518089-759C-4B12-BF8E-F2AFFC67AF71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1571291" y="1535113"/>
                <a:ext cx="80963" cy="90487"/>
              </a:xfrm>
              <a:custGeom>
                <a:avLst/>
                <a:gdLst>
                  <a:gd name="T0" fmla="*/ 103 w 103"/>
                  <a:gd name="T1" fmla="*/ 0 h 115"/>
                  <a:gd name="T2" fmla="*/ 103 w 103"/>
                  <a:gd name="T3" fmla="*/ 115 h 115"/>
                  <a:gd name="T4" fmla="*/ 71 w 103"/>
                  <a:gd name="T5" fmla="*/ 115 h 115"/>
                  <a:gd name="T6" fmla="*/ 71 w 103"/>
                  <a:gd name="T7" fmla="*/ 87 h 115"/>
                  <a:gd name="T8" fmla="*/ 54 w 103"/>
                  <a:gd name="T9" fmla="*/ 87 h 115"/>
                  <a:gd name="T10" fmla="*/ 34 w 103"/>
                  <a:gd name="T11" fmla="*/ 115 h 115"/>
                  <a:gd name="T12" fmla="*/ 0 w 103"/>
                  <a:gd name="T13" fmla="*/ 115 h 115"/>
                  <a:gd name="T14" fmla="*/ 23 w 103"/>
                  <a:gd name="T15" fmla="*/ 82 h 115"/>
                  <a:gd name="T16" fmla="*/ 23 w 103"/>
                  <a:gd name="T17" fmla="*/ 82 h 115"/>
                  <a:gd name="T18" fmla="*/ 18 w 103"/>
                  <a:gd name="T19" fmla="*/ 79 h 115"/>
                  <a:gd name="T20" fmla="*/ 13 w 103"/>
                  <a:gd name="T21" fmla="*/ 76 h 115"/>
                  <a:gd name="T22" fmla="*/ 9 w 103"/>
                  <a:gd name="T23" fmla="*/ 72 h 115"/>
                  <a:gd name="T24" fmla="*/ 6 w 103"/>
                  <a:gd name="T25" fmla="*/ 67 h 115"/>
                  <a:gd name="T26" fmla="*/ 6 w 103"/>
                  <a:gd name="T27" fmla="*/ 67 h 115"/>
                  <a:gd name="T28" fmla="*/ 3 w 103"/>
                  <a:gd name="T29" fmla="*/ 62 h 115"/>
                  <a:gd name="T30" fmla="*/ 1 w 103"/>
                  <a:gd name="T31" fmla="*/ 57 h 115"/>
                  <a:gd name="T32" fmla="*/ 0 w 103"/>
                  <a:gd name="T33" fmla="*/ 51 h 115"/>
                  <a:gd name="T34" fmla="*/ 0 w 103"/>
                  <a:gd name="T35" fmla="*/ 44 h 115"/>
                  <a:gd name="T36" fmla="*/ 0 w 103"/>
                  <a:gd name="T37" fmla="*/ 44 h 115"/>
                  <a:gd name="T38" fmla="*/ 0 w 103"/>
                  <a:gd name="T39" fmla="*/ 38 h 115"/>
                  <a:gd name="T40" fmla="*/ 1 w 103"/>
                  <a:gd name="T41" fmla="*/ 32 h 115"/>
                  <a:gd name="T42" fmla="*/ 3 w 103"/>
                  <a:gd name="T43" fmla="*/ 26 h 115"/>
                  <a:gd name="T44" fmla="*/ 6 w 103"/>
                  <a:gd name="T45" fmla="*/ 21 h 115"/>
                  <a:gd name="T46" fmla="*/ 6 w 103"/>
                  <a:gd name="T47" fmla="*/ 21 h 115"/>
                  <a:gd name="T48" fmla="*/ 10 w 103"/>
                  <a:gd name="T49" fmla="*/ 16 h 115"/>
                  <a:gd name="T50" fmla="*/ 14 w 103"/>
                  <a:gd name="T51" fmla="*/ 12 h 115"/>
                  <a:gd name="T52" fmla="*/ 19 w 103"/>
                  <a:gd name="T53" fmla="*/ 8 h 115"/>
                  <a:gd name="T54" fmla="*/ 24 w 103"/>
                  <a:gd name="T55" fmla="*/ 6 h 115"/>
                  <a:gd name="T56" fmla="*/ 24 w 103"/>
                  <a:gd name="T57" fmla="*/ 6 h 115"/>
                  <a:gd name="T58" fmla="*/ 30 w 103"/>
                  <a:gd name="T59" fmla="*/ 3 h 115"/>
                  <a:gd name="T60" fmla="*/ 37 w 103"/>
                  <a:gd name="T61" fmla="*/ 2 h 115"/>
                  <a:gd name="T62" fmla="*/ 45 w 103"/>
                  <a:gd name="T63" fmla="*/ 1 h 115"/>
                  <a:gd name="T64" fmla="*/ 52 w 103"/>
                  <a:gd name="T65" fmla="*/ 1 h 115"/>
                  <a:gd name="T66" fmla="*/ 103 w 103"/>
                  <a:gd name="T67" fmla="*/ 0 h 115"/>
                  <a:gd name="T68" fmla="*/ 32 w 103"/>
                  <a:gd name="T69" fmla="*/ 43 h 115"/>
                  <a:gd name="T70" fmla="*/ 32 w 103"/>
                  <a:gd name="T71" fmla="*/ 43 h 115"/>
                  <a:gd name="T72" fmla="*/ 33 w 103"/>
                  <a:gd name="T73" fmla="*/ 48 h 115"/>
                  <a:gd name="T74" fmla="*/ 34 w 103"/>
                  <a:gd name="T75" fmla="*/ 51 h 115"/>
                  <a:gd name="T76" fmla="*/ 35 w 103"/>
                  <a:gd name="T77" fmla="*/ 54 h 115"/>
                  <a:gd name="T78" fmla="*/ 37 w 103"/>
                  <a:gd name="T79" fmla="*/ 57 h 115"/>
                  <a:gd name="T80" fmla="*/ 37 w 103"/>
                  <a:gd name="T81" fmla="*/ 57 h 115"/>
                  <a:gd name="T82" fmla="*/ 42 w 103"/>
                  <a:gd name="T83" fmla="*/ 59 h 115"/>
                  <a:gd name="T84" fmla="*/ 45 w 103"/>
                  <a:gd name="T85" fmla="*/ 61 h 115"/>
                  <a:gd name="T86" fmla="*/ 49 w 103"/>
                  <a:gd name="T87" fmla="*/ 62 h 115"/>
                  <a:gd name="T88" fmla="*/ 52 w 103"/>
                  <a:gd name="T89" fmla="*/ 62 h 115"/>
                  <a:gd name="T90" fmla="*/ 72 w 103"/>
                  <a:gd name="T91" fmla="*/ 62 h 115"/>
                  <a:gd name="T92" fmla="*/ 72 w 103"/>
                  <a:gd name="T93" fmla="*/ 26 h 115"/>
                  <a:gd name="T94" fmla="*/ 53 w 103"/>
                  <a:gd name="T95" fmla="*/ 26 h 115"/>
                  <a:gd name="T96" fmla="*/ 53 w 103"/>
                  <a:gd name="T97" fmla="*/ 26 h 115"/>
                  <a:gd name="T98" fmla="*/ 48 w 103"/>
                  <a:gd name="T99" fmla="*/ 26 h 115"/>
                  <a:gd name="T100" fmla="*/ 44 w 103"/>
                  <a:gd name="T101" fmla="*/ 27 h 115"/>
                  <a:gd name="T102" fmla="*/ 41 w 103"/>
                  <a:gd name="T103" fmla="*/ 28 h 115"/>
                  <a:gd name="T104" fmla="*/ 37 w 103"/>
                  <a:gd name="T105" fmla="*/ 30 h 115"/>
                  <a:gd name="T106" fmla="*/ 35 w 103"/>
                  <a:gd name="T107" fmla="*/ 32 h 115"/>
                  <a:gd name="T108" fmla="*/ 34 w 103"/>
                  <a:gd name="T109" fmla="*/ 35 h 115"/>
                  <a:gd name="T110" fmla="*/ 33 w 103"/>
                  <a:gd name="T111" fmla="*/ 39 h 115"/>
                  <a:gd name="T112" fmla="*/ 32 w 103"/>
                  <a:gd name="T113" fmla="*/ 43 h 115"/>
                  <a:gd name="T114" fmla="*/ 32 w 103"/>
                  <a:gd name="T115" fmla="*/ 43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03" h="115">
                    <a:moveTo>
                      <a:pt x="103" y="0"/>
                    </a:moveTo>
                    <a:lnTo>
                      <a:pt x="103" y="115"/>
                    </a:lnTo>
                    <a:lnTo>
                      <a:pt x="71" y="115"/>
                    </a:lnTo>
                    <a:lnTo>
                      <a:pt x="71" y="87"/>
                    </a:lnTo>
                    <a:lnTo>
                      <a:pt x="54" y="87"/>
                    </a:lnTo>
                    <a:lnTo>
                      <a:pt x="34" y="115"/>
                    </a:lnTo>
                    <a:lnTo>
                      <a:pt x="0" y="115"/>
                    </a:lnTo>
                    <a:lnTo>
                      <a:pt x="23" y="82"/>
                    </a:lnTo>
                    <a:lnTo>
                      <a:pt x="23" y="82"/>
                    </a:lnTo>
                    <a:lnTo>
                      <a:pt x="18" y="79"/>
                    </a:lnTo>
                    <a:lnTo>
                      <a:pt x="13" y="76"/>
                    </a:lnTo>
                    <a:lnTo>
                      <a:pt x="9" y="72"/>
                    </a:lnTo>
                    <a:lnTo>
                      <a:pt x="6" y="67"/>
                    </a:lnTo>
                    <a:lnTo>
                      <a:pt x="6" y="67"/>
                    </a:lnTo>
                    <a:lnTo>
                      <a:pt x="3" y="62"/>
                    </a:lnTo>
                    <a:lnTo>
                      <a:pt x="1" y="57"/>
                    </a:lnTo>
                    <a:lnTo>
                      <a:pt x="0" y="51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38"/>
                    </a:lnTo>
                    <a:lnTo>
                      <a:pt x="1" y="32"/>
                    </a:lnTo>
                    <a:lnTo>
                      <a:pt x="3" y="26"/>
                    </a:lnTo>
                    <a:lnTo>
                      <a:pt x="6" y="21"/>
                    </a:lnTo>
                    <a:lnTo>
                      <a:pt x="6" y="21"/>
                    </a:lnTo>
                    <a:lnTo>
                      <a:pt x="10" y="16"/>
                    </a:lnTo>
                    <a:lnTo>
                      <a:pt x="14" y="12"/>
                    </a:lnTo>
                    <a:lnTo>
                      <a:pt x="19" y="8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30" y="3"/>
                    </a:lnTo>
                    <a:lnTo>
                      <a:pt x="37" y="2"/>
                    </a:lnTo>
                    <a:lnTo>
                      <a:pt x="45" y="1"/>
                    </a:lnTo>
                    <a:lnTo>
                      <a:pt x="52" y="1"/>
                    </a:lnTo>
                    <a:lnTo>
                      <a:pt x="103" y="0"/>
                    </a:lnTo>
                    <a:close/>
                    <a:moveTo>
                      <a:pt x="32" y="43"/>
                    </a:moveTo>
                    <a:lnTo>
                      <a:pt x="32" y="43"/>
                    </a:lnTo>
                    <a:lnTo>
                      <a:pt x="33" y="48"/>
                    </a:lnTo>
                    <a:lnTo>
                      <a:pt x="34" y="51"/>
                    </a:lnTo>
                    <a:lnTo>
                      <a:pt x="35" y="54"/>
                    </a:lnTo>
                    <a:lnTo>
                      <a:pt x="37" y="57"/>
                    </a:lnTo>
                    <a:lnTo>
                      <a:pt x="37" y="57"/>
                    </a:lnTo>
                    <a:lnTo>
                      <a:pt x="42" y="59"/>
                    </a:lnTo>
                    <a:lnTo>
                      <a:pt x="45" y="61"/>
                    </a:lnTo>
                    <a:lnTo>
                      <a:pt x="49" y="62"/>
                    </a:lnTo>
                    <a:lnTo>
                      <a:pt x="52" y="62"/>
                    </a:lnTo>
                    <a:lnTo>
                      <a:pt x="72" y="62"/>
                    </a:lnTo>
                    <a:lnTo>
                      <a:pt x="72" y="26"/>
                    </a:lnTo>
                    <a:lnTo>
                      <a:pt x="53" y="26"/>
                    </a:lnTo>
                    <a:lnTo>
                      <a:pt x="53" y="26"/>
                    </a:lnTo>
                    <a:lnTo>
                      <a:pt x="48" y="26"/>
                    </a:lnTo>
                    <a:lnTo>
                      <a:pt x="44" y="27"/>
                    </a:lnTo>
                    <a:lnTo>
                      <a:pt x="41" y="28"/>
                    </a:lnTo>
                    <a:lnTo>
                      <a:pt x="37" y="30"/>
                    </a:lnTo>
                    <a:lnTo>
                      <a:pt x="35" y="32"/>
                    </a:lnTo>
                    <a:lnTo>
                      <a:pt x="34" y="35"/>
                    </a:lnTo>
                    <a:lnTo>
                      <a:pt x="33" y="39"/>
                    </a:lnTo>
                    <a:lnTo>
                      <a:pt x="32" y="43"/>
                    </a:lnTo>
                    <a:lnTo>
                      <a:pt x="32" y="4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C77EE064-D602-4468-88EE-8272B944B3EC}"/>
                </a:ext>
              </a:extLst>
            </p:cNvPr>
            <p:cNvGrpSpPr/>
            <p:nvPr userDrawn="1"/>
          </p:nvGrpSpPr>
          <p:grpSpPr>
            <a:xfrm>
              <a:off x="10332720" y="658368"/>
              <a:ext cx="670092" cy="617763"/>
              <a:chOff x="10301291" y="611188"/>
              <a:chExt cx="731838" cy="674687"/>
            </a:xfrm>
          </p:grpSpPr>
          <p:sp>
            <p:nvSpPr>
              <p:cNvPr id="45" name="Freeform 28">
                <a:extLst>
                  <a:ext uri="{FF2B5EF4-FFF2-40B4-BE49-F238E27FC236}">
                    <a16:creationId xmlns:a16="http://schemas.microsoft.com/office/drawing/2014/main" id="{C9F0EBC4-7D48-490D-BE5A-3B732C10F5B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301291" y="611188"/>
                <a:ext cx="731838" cy="674687"/>
              </a:xfrm>
              <a:custGeom>
                <a:avLst/>
                <a:gdLst>
                  <a:gd name="T0" fmla="*/ 922 w 922"/>
                  <a:gd name="T1" fmla="*/ 0 h 850"/>
                  <a:gd name="T2" fmla="*/ 922 w 922"/>
                  <a:gd name="T3" fmla="*/ 850 h 850"/>
                  <a:gd name="T4" fmla="*/ 0 w 922"/>
                  <a:gd name="T5" fmla="*/ 850 h 850"/>
                  <a:gd name="T6" fmla="*/ 922 w 922"/>
                  <a:gd name="T7" fmla="*/ 0 h 8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22" h="850">
                    <a:moveTo>
                      <a:pt x="922" y="0"/>
                    </a:moveTo>
                    <a:lnTo>
                      <a:pt x="922" y="850"/>
                    </a:lnTo>
                    <a:lnTo>
                      <a:pt x="0" y="850"/>
                    </a:lnTo>
                    <a:lnTo>
                      <a:pt x="922" y="0"/>
                    </a:lnTo>
                    <a:close/>
                  </a:path>
                </a:pathLst>
              </a:custGeom>
              <a:solidFill>
                <a:srgbClr val="46AC4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29">
                <a:extLst>
                  <a:ext uri="{FF2B5EF4-FFF2-40B4-BE49-F238E27FC236}">
                    <a16:creationId xmlns:a16="http://schemas.microsoft.com/office/drawing/2014/main" id="{BE6ECD25-E584-45C1-9491-2BA0E50057D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877554" y="611188"/>
                <a:ext cx="155575" cy="674687"/>
              </a:xfrm>
              <a:custGeom>
                <a:avLst/>
                <a:gdLst>
                  <a:gd name="T0" fmla="*/ 196 w 196"/>
                  <a:gd name="T1" fmla="*/ 0 h 850"/>
                  <a:gd name="T2" fmla="*/ 196 w 196"/>
                  <a:gd name="T3" fmla="*/ 850 h 850"/>
                  <a:gd name="T4" fmla="*/ 0 w 196"/>
                  <a:gd name="T5" fmla="*/ 850 h 850"/>
                  <a:gd name="T6" fmla="*/ 0 w 196"/>
                  <a:gd name="T7" fmla="*/ 181 h 850"/>
                  <a:gd name="T8" fmla="*/ 196 w 196"/>
                  <a:gd name="T9" fmla="*/ 0 h 8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6" h="850">
                    <a:moveTo>
                      <a:pt x="196" y="0"/>
                    </a:moveTo>
                    <a:lnTo>
                      <a:pt x="196" y="850"/>
                    </a:lnTo>
                    <a:lnTo>
                      <a:pt x="0" y="850"/>
                    </a:lnTo>
                    <a:lnTo>
                      <a:pt x="0" y="181"/>
                    </a:lnTo>
                    <a:lnTo>
                      <a:pt x="196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30">
                <a:extLst>
                  <a:ext uri="{FF2B5EF4-FFF2-40B4-BE49-F238E27FC236}">
                    <a16:creationId xmlns:a16="http://schemas.microsoft.com/office/drawing/2014/main" id="{2385975A-B65D-4B04-A7FD-0BE9BB2C73A4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301291" y="625475"/>
                <a:ext cx="493713" cy="660400"/>
              </a:xfrm>
              <a:custGeom>
                <a:avLst/>
                <a:gdLst>
                  <a:gd name="T0" fmla="*/ 339 w 622"/>
                  <a:gd name="T1" fmla="*/ 302 h 833"/>
                  <a:gd name="T2" fmla="*/ 366 w 622"/>
                  <a:gd name="T3" fmla="*/ 303 h 833"/>
                  <a:gd name="T4" fmla="*/ 419 w 622"/>
                  <a:gd name="T5" fmla="*/ 309 h 833"/>
                  <a:gd name="T6" fmla="*/ 447 w 622"/>
                  <a:gd name="T7" fmla="*/ 315 h 833"/>
                  <a:gd name="T8" fmla="*/ 493 w 622"/>
                  <a:gd name="T9" fmla="*/ 332 h 833"/>
                  <a:gd name="T10" fmla="*/ 536 w 622"/>
                  <a:gd name="T11" fmla="*/ 358 h 833"/>
                  <a:gd name="T12" fmla="*/ 546 w 622"/>
                  <a:gd name="T13" fmla="*/ 366 h 833"/>
                  <a:gd name="T14" fmla="*/ 564 w 622"/>
                  <a:gd name="T15" fmla="*/ 383 h 833"/>
                  <a:gd name="T16" fmla="*/ 580 w 622"/>
                  <a:gd name="T17" fmla="*/ 404 h 833"/>
                  <a:gd name="T18" fmla="*/ 594 w 622"/>
                  <a:gd name="T19" fmla="*/ 428 h 833"/>
                  <a:gd name="T20" fmla="*/ 600 w 622"/>
                  <a:gd name="T21" fmla="*/ 440 h 833"/>
                  <a:gd name="T22" fmla="*/ 609 w 622"/>
                  <a:gd name="T23" fmla="*/ 468 h 833"/>
                  <a:gd name="T24" fmla="*/ 616 w 622"/>
                  <a:gd name="T25" fmla="*/ 500 h 833"/>
                  <a:gd name="T26" fmla="*/ 620 w 622"/>
                  <a:gd name="T27" fmla="*/ 532 h 833"/>
                  <a:gd name="T28" fmla="*/ 622 w 622"/>
                  <a:gd name="T29" fmla="*/ 568 h 833"/>
                  <a:gd name="T30" fmla="*/ 621 w 622"/>
                  <a:gd name="T31" fmla="*/ 586 h 833"/>
                  <a:gd name="T32" fmla="*/ 619 w 622"/>
                  <a:gd name="T33" fmla="*/ 620 h 833"/>
                  <a:gd name="T34" fmla="*/ 613 w 622"/>
                  <a:gd name="T35" fmla="*/ 653 h 833"/>
                  <a:gd name="T36" fmla="*/ 605 w 622"/>
                  <a:gd name="T37" fmla="*/ 682 h 833"/>
                  <a:gd name="T38" fmla="*/ 600 w 622"/>
                  <a:gd name="T39" fmla="*/ 695 h 833"/>
                  <a:gd name="T40" fmla="*/ 587 w 622"/>
                  <a:gd name="T41" fmla="*/ 720 h 833"/>
                  <a:gd name="T42" fmla="*/ 573 w 622"/>
                  <a:gd name="T43" fmla="*/ 742 h 833"/>
                  <a:gd name="T44" fmla="*/ 555 w 622"/>
                  <a:gd name="T45" fmla="*/ 761 h 833"/>
                  <a:gd name="T46" fmla="*/ 536 w 622"/>
                  <a:gd name="T47" fmla="*/ 779 h 833"/>
                  <a:gd name="T48" fmla="*/ 515 w 622"/>
                  <a:gd name="T49" fmla="*/ 792 h 833"/>
                  <a:gd name="T50" fmla="*/ 470 w 622"/>
                  <a:gd name="T51" fmla="*/ 813 h 833"/>
                  <a:gd name="T52" fmla="*/ 447 w 622"/>
                  <a:gd name="T53" fmla="*/ 820 h 833"/>
                  <a:gd name="T54" fmla="*/ 392 w 622"/>
                  <a:gd name="T55" fmla="*/ 830 h 833"/>
                  <a:gd name="T56" fmla="*/ 338 w 622"/>
                  <a:gd name="T57" fmla="*/ 833 h 833"/>
                  <a:gd name="T58" fmla="*/ 0 w 622"/>
                  <a:gd name="T59" fmla="*/ 0 h 833"/>
                  <a:gd name="T60" fmla="*/ 558 w 622"/>
                  <a:gd name="T61" fmla="*/ 187 h 833"/>
                  <a:gd name="T62" fmla="*/ 187 w 622"/>
                  <a:gd name="T63" fmla="*/ 302 h 833"/>
                  <a:gd name="T64" fmla="*/ 338 w 622"/>
                  <a:gd name="T65" fmla="*/ 661 h 833"/>
                  <a:gd name="T66" fmla="*/ 349 w 622"/>
                  <a:gd name="T67" fmla="*/ 660 h 833"/>
                  <a:gd name="T68" fmla="*/ 368 w 622"/>
                  <a:gd name="T69" fmla="*/ 658 h 833"/>
                  <a:gd name="T70" fmla="*/ 384 w 622"/>
                  <a:gd name="T71" fmla="*/ 652 h 833"/>
                  <a:gd name="T72" fmla="*/ 397 w 622"/>
                  <a:gd name="T73" fmla="*/ 644 h 833"/>
                  <a:gd name="T74" fmla="*/ 408 w 622"/>
                  <a:gd name="T75" fmla="*/ 634 h 833"/>
                  <a:gd name="T76" fmla="*/ 416 w 622"/>
                  <a:gd name="T77" fmla="*/ 620 h 833"/>
                  <a:gd name="T78" fmla="*/ 422 w 622"/>
                  <a:gd name="T79" fmla="*/ 604 h 833"/>
                  <a:gd name="T80" fmla="*/ 424 w 622"/>
                  <a:gd name="T81" fmla="*/ 586 h 833"/>
                  <a:gd name="T82" fmla="*/ 425 w 622"/>
                  <a:gd name="T83" fmla="*/ 575 h 833"/>
                  <a:gd name="T84" fmla="*/ 423 w 622"/>
                  <a:gd name="T85" fmla="*/ 556 h 833"/>
                  <a:gd name="T86" fmla="*/ 419 w 622"/>
                  <a:gd name="T87" fmla="*/ 539 h 833"/>
                  <a:gd name="T88" fmla="*/ 413 w 622"/>
                  <a:gd name="T89" fmla="*/ 524 h 833"/>
                  <a:gd name="T90" fmla="*/ 403 w 622"/>
                  <a:gd name="T91" fmla="*/ 512 h 833"/>
                  <a:gd name="T92" fmla="*/ 391 w 622"/>
                  <a:gd name="T93" fmla="*/ 503 h 833"/>
                  <a:gd name="T94" fmla="*/ 376 w 622"/>
                  <a:gd name="T95" fmla="*/ 497 h 833"/>
                  <a:gd name="T96" fmla="*/ 358 w 622"/>
                  <a:gd name="T97" fmla="*/ 493 h 833"/>
                  <a:gd name="T98" fmla="*/ 338 w 622"/>
                  <a:gd name="T99" fmla="*/ 491 h 833"/>
                  <a:gd name="T100" fmla="*/ 187 w 622"/>
                  <a:gd name="T101" fmla="*/ 661 h 8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622" h="833">
                    <a:moveTo>
                      <a:pt x="187" y="302"/>
                    </a:moveTo>
                    <a:lnTo>
                      <a:pt x="339" y="302"/>
                    </a:lnTo>
                    <a:lnTo>
                      <a:pt x="339" y="302"/>
                    </a:lnTo>
                    <a:lnTo>
                      <a:pt x="366" y="303"/>
                    </a:lnTo>
                    <a:lnTo>
                      <a:pt x="393" y="305"/>
                    </a:lnTo>
                    <a:lnTo>
                      <a:pt x="419" y="309"/>
                    </a:lnTo>
                    <a:lnTo>
                      <a:pt x="447" y="315"/>
                    </a:lnTo>
                    <a:lnTo>
                      <a:pt x="447" y="315"/>
                    </a:lnTo>
                    <a:lnTo>
                      <a:pt x="471" y="323"/>
                    </a:lnTo>
                    <a:lnTo>
                      <a:pt x="493" y="332"/>
                    </a:lnTo>
                    <a:lnTo>
                      <a:pt x="515" y="345"/>
                    </a:lnTo>
                    <a:lnTo>
                      <a:pt x="536" y="358"/>
                    </a:lnTo>
                    <a:lnTo>
                      <a:pt x="536" y="358"/>
                    </a:lnTo>
                    <a:lnTo>
                      <a:pt x="546" y="366"/>
                    </a:lnTo>
                    <a:lnTo>
                      <a:pt x="555" y="374"/>
                    </a:lnTo>
                    <a:lnTo>
                      <a:pt x="564" y="383"/>
                    </a:lnTo>
                    <a:lnTo>
                      <a:pt x="573" y="393"/>
                    </a:lnTo>
                    <a:lnTo>
                      <a:pt x="580" y="404"/>
                    </a:lnTo>
                    <a:lnTo>
                      <a:pt x="587" y="415"/>
                    </a:lnTo>
                    <a:lnTo>
                      <a:pt x="594" y="428"/>
                    </a:lnTo>
                    <a:lnTo>
                      <a:pt x="600" y="440"/>
                    </a:lnTo>
                    <a:lnTo>
                      <a:pt x="600" y="440"/>
                    </a:lnTo>
                    <a:lnTo>
                      <a:pt x="605" y="454"/>
                    </a:lnTo>
                    <a:lnTo>
                      <a:pt x="609" y="468"/>
                    </a:lnTo>
                    <a:lnTo>
                      <a:pt x="613" y="484"/>
                    </a:lnTo>
                    <a:lnTo>
                      <a:pt x="616" y="500"/>
                    </a:lnTo>
                    <a:lnTo>
                      <a:pt x="619" y="516"/>
                    </a:lnTo>
                    <a:lnTo>
                      <a:pt x="620" y="532"/>
                    </a:lnTo>
                    <a:lnTo>
                      <a:pt x="621" y="550"/>
                    </a:lnTo>
                    <a:lnTo>
                      <a:pt x="622" y="568"/>
                    </a:lnTo>
                    <a:lnTo>
                      <a:pt x="622" y="568"/>
                    </a:lnTo>
                    <a:lnTo>
                      <a:pt x="621" y="586"/>
                    </a:lnTo>
                    <a:lnTo>
                      <a:pt x="620" y="603"/>
                    </a:lnTo>
                    <a:lnTo>
                      <a:pt x="619" y="620"/>
                    </a:lnTo>
                    <a:lnTo>
                      <a:pt x="616" y="637"/>
                    </a:lnTo>
                    <a:lnTo>
                      <a:pt x="613" y="653"/>
                    </a:lnTo>
                    <a:lnTo>
                      <a:pt x="609" y="668"/>
                    </a:lnTo>
                    <a:lnTo>
                      <a:pt x="605" y="682"/>
                    </a:lnTo>
                    <a:lnTo>
                      <a:pt x="600" y="695"/>
                    </a:lnTo>
                    <a:lnTo>
                      <a:pt x="600" y="695"/>
                    </a:lnTo>
                    <a:lnTo>
                      <a:pt x="594" y="708"/>
                    </a:lnTo>
                    <a:lnTo>
                      <a:pt x="587" y="720"/>
                    </a:lnTo>
                    <a:lnTo>
                      <a:pt x="580" y="732"/>
                    </a:lnTo>
                    <a:lnTo>
                      <a:pt x="573" y="742"/>
                    </a:lnTo>
                    <a:lnTo>
                      <a:pt x="564" y="752"/>
                    </a:lnTo>
                    <a:lnTo>
                      <a:pt x="555" y="761"/>
                    </a:lnTo>
                    <a:lnTo>
                      <a:pt x="546" y="771"/>
                    </a:lnTo>
                    <a:lnTo>
                      <a:pt x="536" y="779"/>
                    </a:lnTo>
                    <a:lnTo>
                      <a:pt x="536" y="779"/>
                    </a:lnTo>
                    <a:lnTo>
                      <a:pt x="515" y="792"/>
                    </a:lnTo>
                    <a:lnTo>
                      <a:pt x="493" y="804"/>
                    </a:lnTo>
                    <a:lnTo>
                      <a:pt x="470" y="813"/>
                    </a:lnTo>
                    <a:lnTo>
                      <a:pt x="447" y="820"/>
                    </a:lnTo>
                    <a:lnTo>
                      <a:pt x="447" y="820"/>
                    </a:lnTo>
                    <a:lnTo>
                      <a:pt x="419" y="826"/>
                    </a:lnTo>
                    <a:lnTo>
                      <a:pt x="392" y="830"/>
                    </a:lnTo>
                    <a:lnTo>
                      <a:pt x="365" y="833"/>
                    </a:lnTo>
                    <a:lnTo>
                      <a:pt x="338" y="833"/>
                    </a:lnTo>
                    <a:lnTo>
                      <a:pt x="0" y="833"/>
                    </a:lnTo>
                    <a:lnTo>
                      <a:pt x="0" y="0"/>
                    </a:lnTo>
                    <a:lnTo>
                      <a:pt x="558" y="0"/>
                    </a:lnTo>
                    <a:lnTo>
                      <a:pt x="558" y="187"/>
                    </a:lnTo>
                    <a:lnTo>
                      <a:pt x="187" y="187"/>
                    </a:lnTo>
                    <a:lnTo>
                      <a:pt x="187" y="302"/>
                    </a:lnTo>
                    <a:close/>
                    <a:moveTo>
                      <a:pt x="187" y="661"/>
                    </a:moveTo>
                    <a:lnTo>
                      <a:pt x="338" y="661"/>
                    </a:lnTo>
                    <a:lnTo>
                      <a:pt x="338" y="661"/>
                    </a:lnTo>
                    <a:lnTo>
                      <a:pt x="349" y="660"/>
                    </a:lnTo>
                    <a:lnTo>
                      <a:pt x="358" y="659"/>
                    </a:lnTo>
                    <a:lnTo>
                      <a:pt x="368" y="658"/>
                    </a:lnTo>
                    <a:lnTo>
                      <a:pt x="376" y="655"/>
                    </a:lnTo>
                    <a:lnTo>
                      <a:pt x="384" y="652"/>
                    </a:lnTo>
                    <a:lnTo>
                      <a:pt x="391" y="649"/>
                    </a:lnTo>
                    <a:lnTo>
                      <a:pt x="397" y="644"/>
                    </a:lnTo>
                    <a:lnTo>
                      <a:pt x="403" y="640"/>
                    </a:lnTo>
                    <a:lnTo>
                      <a:pt x="408" y="634"/>
                    </a:lnTo>
                    <a:lnTo>
                      <a:pt x="413" y="628"/>
                    </a:lnTo>
                    <a:lnTo>
                      <a:pt x="416" y="620"/>
                    </a:lnTo>
                    <a:lnTo>
                      <a:pt x="419" y="612"/>
                    </a:lnTo>
                    <a:lnTo>
                      <a:pt x="422" y="604"/>
                    </a:lnTo>
                    <a:lnTo>
                      <a:pt x="423" y="595"/>
                    </a:lnTo>
                    <a:lnTo>
                      <a:pt x="424" y="586"/>
                    </a:lnTo>
                    <a:lnTo>
                      <a:pt x="425" y="575"/>
                    </a:lnTo>
                    <a:lnTo>
                      <a:pt x="425" y="575"/>
                    </a:lnTo>
                    <a:lnTo>
                      <a:pt x="424" y="565"/>
                    </a:lnTo>
                    <a:lnTo>
                      <a:pt x="423" y="556"/>
                    </a:lnTo>
                    <a:lnTo>
                      <a:pt x="422" y="547"/>
                    </a:lnTo>
                    <a:lnTo>
                      <a:pt x="419" y="539"/>
                    </a:lnTo>
                    <a:lnTo>
                      <a:pt x="416" y="531"/>
                    </a:lnTo>
                    <a:lnTo>
                      <a:pt x="413" y="524"/>
                    </a:lnTo>
                    <a:lnTo>
                      <a:pt x="408" y="518"/>
                    </a:lnTo>
                    <a:lnTo>
                      <a:pt x="403" y="512"/>
                    </a:lnTo>
                    <a:lnTo>
                      <a:pt x="397" y="507"/>
                    </a:lnTo>
                    <a:lnTo>
                      <a:pt x="391" y="503"/>
                    </a:lnTo>
                    <a:lnTo>
                      <a:pt x="384" y="500"/>
                    </a:lnTo>
                    <a:lnTo>
                      <a:pt x="376" y="497"/>
                    </a:lnTo>
                    <a:lnTo>
                      <a:pt x="368" y="494"/>
                    </a:lnTo>
                    <a:lnTo>
                      <a:pt x="358" y="493"/>
                    </a:lnTo>
                    <a:lnTo>
                      <a:pt x="349" y="492"/>
                    </a:lnTo>
                    <a:lnTo>
                      <a:pt x="338" y="491"/>
                    </a:lnTo>
                    <a:lnTo>
                      <a:pt x="187" y="491"/>
                    </a:lnTo>
                    <a:lnTo>
                      <a:pt x="187" y="66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06008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37" userDrawn="1">
          <p15:clr>
            <a:srgbClr val="FBAE40"/>
          </p15:clr>
        </p15:guide>
        <p15:guide id="2" pos="5123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heading+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2000" y="1152000"/>
            <a:ext cx="10972800" cy="48348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D8D38AB-1665-6EC5-CEB4-A487516C56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2000" y="540000"/>
            <a:ext cx="10972800" cy="590400"/>
          </a:xfrm>
        </p:spPr>
        <p:txBody>
          <a:bodyPr/>
          <a:lstStyle>
            <a:lvl1pPr>
              <a:defRPr sz="2400">
                <a:solidFill>
                  <a:srgbClr val="4AA851"/>
                </a:solidFill>
              </a:defRPr>
            </a:lvl1pPr>
          </a:lstStyle>
          <a:p>
            <a:r>
              <a:rPr lang="en-US" dirty="0"/>
              <a:t>MONTSERRAT 24</a:t>
            </a:r>
            <a:r>
              <a:rPr lang="ru-RU" dirty="0"/>
              <a:t> </a:t>
            </a:r>
            <a:r>
              <a:rPr lang="en-US" dirty="0" err="1"/>
              <a:t>pt</a:t>
            </a:r>
            <a:endParaRPr lang="en-GB" dirty="0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DB90992C-43E2-464A-A1F5-CC4E06E70F9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677397" y="6463527"/>
            <a:ext cx="1588344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685767" rtl="0" eaLnBrk="1" latinLnBrk="0" hangingPunct="1">
              <a:defRPr lang="en-IN" sz="800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fld id="{65B9F540-8D27-44D7-AB04-AA66F22DF8A3}" type="datetime4">
              <a:rPr lang="ru-RU" smtClean="0"/>
              <a:t>16 августа 2022 г.</a:t>
            </a:fld>
            <a:endParaRPr lang="en-US" dirty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3C8FEDD1-7CD7-4BA0-8D44-50319F4B525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83077" y="6463527"/>
            <a:ext cx="41148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685767" rtl="0" eaLnBrk="1" latinLnBrk="0" hangingPunct="1">
              <a:defRPr lang="en-IN" sz="8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ru-RU"/>
              <a:t>Название темы</a:t>
            </a:r>
            <a:endParaRPr lang="en-US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EBB0416D-20B9-4198-BE7E-C78DCAEB8DE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09601" y="6463527"/>
            <a:ext cx="884088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685767" rtl="0" eaLnBrk="1" latinLnBrk="0" hangingPunct="1">
              <a:defRPr lang="en-IN" sz="800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ru-RU"/>
              <a:t>Страница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39203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D47F6661-2ECC-80AF-073D-25CDB6E318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2000" y="540000"/>
            <a:ext cx="10972800" cy="590400"/>
          </a:xfrm>
        </p:spPr>
        <p:txBody>
          <a:bodyPr/>
          <a:lstStyle>
            <a:lvl1pPr>
              <a:defRPr sz="2400">
                <a:solidFill>
                  <a:srgbClr val="4AA851"/>
                </a:solidFill>
              </a:defRPr>
            </a:lvl1pPr>
          </a:lstStyle>
          <a:p>
            <a:r>
              <a:rPr lang="en-US" dirty="0"/>
              <a:t>MONTSERRAT 24</a:t>
            </a:r>
            <a:r>
              <a:rPr lang="ru-RU" dirty="0"/>
              <a:t> </a:t>
            </a:r>
            <a:r>
              <a:rPr lang="en-US" dirty="0" err="1"/>
              <a:t>pt</a:t>
            </a:r>
            <a:endParaRPr lang="en-GB" dirty="0"/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BF37EE83-5A84-464D-A148-2DED8AEA3AD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677397" y="6463527"/>
            <a:ext cx="1588344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685767" rtl="0" eaLnBrk="1" latinLnBrk="0" hangingPunct="1">
              <a:defRPr lang="en-IN" sz="800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fld id="{1744E45B-9FAC-43FA-BD7C-7B41C3A31E51}" type="datetime4">
              <a:rPr lang="ru-RU" smtClean="0"/>
              <a:t>16 августа 2022 г.</a:t>
            </a:fld>
            <a:endParaRPr lang="en-US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56298475-F780-42D1-A0AC-E83DEFCE242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83077" y="6463527"/>
            <a:ext cx="41148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685767" rtl="0" eaLnBrk="1" latinLnBrk="0" hangingPunct="1">
              <a:defRPr lang="en-IN" sz="8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ru-RU"/>
              <a:t>Название темы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1E8DEBF3-A2B8-4FE3-B477-C59B34BD10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09601" y="6463527"/>
            <a:ext cx="884088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685767" rtl="0" eaLnBrk="1" latinLnBrk="0" hangingPunct="1">
              <a:defRPr lang="en-IN" sz="800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ru-RU"/>
              <a:t>Страница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9501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-heading+text 20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F144AE0F-A74E-E6FC-8978-51BCC40D98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2000" y="540000"/>
            <a:ext cx="10972800" cy="590400"/>
          </a:xfrm>
        </p:spPr>
        <p:txBody>
          <a:bodyPr/>
          <a:lstStyle>
            <a:lvl1pPr>
              <a:defRPr sz="2400">
                <a:solidFill>
                  <a:srgbClr val="4AA851"/>
                </a:solidFill>
              </a:defRPr>
            </a:lvl1pPr>
          </a:lstStyle>
          <a:p>
            <a:r>
              <a:rPr lang="en-US" dirty="0"/>
              <a:t>MONTSERRAT 24</a:t>
            </a:r>
            <a:r>
              <a:rPr lang="ru-RU" dirty="0"/>
              <a:t> </a:t>
            </a:r>
            <a:r>
              <a:rPr lang="en-US" dirty="0" err="1"/>
              <a:t>pt</a:t>
            </a:r>
            <a:endParaRPr lang="en-GB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6EB6ADD0-9EA9-71BE-B9DF-C1F3DCDD63F8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612000" y="1152000"/>
            <a:ext cx="10972800" cy="1012990"/>
          </a:xfrm>
        </p:spPr>
        <p:txBody>
          <a:bodyPr/>
          <a:lstStyle>
            <a:lvl1pPr marL="0" indent="0">
              <a:lnSpc>
                <a:spcPts val="2000"/>
              </a:lnSpc>
              <a:spcBef>
                <a:spcPts val="984"/>
              </a:spcBef>
              <a:buNone/>
              <a:defRPr sz="2000">
                <a:solidFill>
                  <a:srgbClr val="C4C4CD"/>
                </a:solidFill>
                <a:latin typeface="+mj-lt"/>
              </a:defRPr>
            </a:lvl1pPr>
            <a:lvl2pPr marL="200479" indent="0">
              <a:buNone/>
              <a:defRPr sz="1012">
                <a:solidFill>
                  <a:schemeClr val="bg1"/>
                </a:solidFill>
              </a:defRPr>
            </a:lvl2pPr>
            <a:lvl3pPr marL="400959" indent="0">
              <a:buNone/>
              <a:defRPr sz="900">
                <a:solidFill>
                  <a:schemeClr val="bg1"/>
                </a:solidFill>
              </a:defRPr>
            </a:lvl3pPr>
            <a:lvl4pPr marL="601440" indent="0">
              <a:buNone/>
              <a:defRPr sz="788">
                <a:solidFill>
                  <a:schemeClr val="bg1"/>
                </a:solidFill>
              </a:defRPr>
            </a:lvl4pPr>
            <a:lvl5pPr marL="801919" indent="0">
              <a:buNone/>
              <a:defRPr sz="676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 Monserrat 2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093A92AF-F510-4444-81BF-91F9E96671D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677397" y="6463527"/>
            <a:ext cx="1588344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685767" rtl="0" eaLnBrk="1" latinLnBrk="0" hangingPunct="1">
              <a:defRPr lang="en-IN" sz="800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fld id="{2EB3B6A1-4DBF-4850-94DA-AA3DE1B1359E}" type="datetime4">
              <a:rPr lang="ru-RU" smtClean="0"/>
              <a:t>16 августа 2022 г.</a:t>
            </a:fld>
            <a:endParaRPr lang="en-US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7D49204B-9C9A-4215-9319-EA32F7626DD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83077" y="6463527"/>
            <a:ext cx="41148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685767" rtl="0" eaLnBrk="1" latinLnBrk="0" hangingPunct="1">
              <a:defRPr lang="en-IN" sz="8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ru-RU"/>
              <a:t>Название темы</a:t>
            </a:r>
            <a:endParaRPr lang="en-US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BB90DBF3-DEC4-41F4-802E-B2F371B8BF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09601" y="6463527"/>
            <a:ext cx="884088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685767" rtl="0" eaLnBrk="1" latinLnBrk="0" hangingPunct="1">
              <a:defRPr lang="en-IN" sz="800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ru-RU"/>
              <a:t>Страница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6441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93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heading+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997BEB0E-F6CB-E962-9DE0-48C24FE284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2000" y="540000"/>
            <a:ext cx="10972800" cy="590400"/>
          </a:xfrm>
        </p:spPr>
        <p:txBody>
          <a:bodyPr/>
          <a:lstStyle>
            <a:lvl1pPr>
              <a:defRPr sz="2400">
                <a:solidFill>
                  <a:srgbClr val="4AA851"/>
                </a:solidFill>
              </a:defRPr>
            </a:lvl1pPr>
          </a:lstStyle>
          <a:p>
            <a:r>
              <a:rPr lang="en-US" dirty="0"/>
              <a:t>MONTSERRAT 24</a:t>
            </a:r>
            <a:r>
              <a:rPr lang="ru-RU" dirty="0"/>
              <a:t> </a:t>
            </a:r>
            <a:r>
              <a:rPr lang="en-US" dirty="0" err="1"/>
              <a:t>pt</a:t>
            </a:r>
            <a:endParaRPr lang="en-GB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692AA491-36D3-05C9-5EC4-DC446A2E3DC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2000" y="1152000"/>
            <a:ext cx="109728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00479" indent="-200479">
              <a:buFont typeface="Montserrat Light" panose="00000400000000000000" pitchFamily="2" charset="-52"/>
              <a:buChar char="▶"/>
              <a:defRPr sz="2000"/>
            </a:lvl1pPr>
            <a:lvl2pPr marL="400959" indent="-200479">
              <a:buFont typeface="Montserrat Light" panose="00000400000000000000" pitchFamily="2" charset="-52"/>
              <a:buChar char="▶"/>
              <a:defRPr sz="1800"/>
            </a:lvl2pPr>
            <a:lvl3pPr marL="601440" indent="-200479">
              <a:buFont typeface="Montserrat Light" panose="00000400000000000000" pitchFamily="2" charset="-52"/>
              <a:buChar char="▶"/>
              <a:defRPr sz="1600"/>
            </a:lvl3pPr>
            <a:lvl4pPr marL="801919" indent="-200479">
              <a:buFont typeface="Montserrat Light" panose="00000400000000000000" pitchFamily="2" charset="-52"/>
              <a:buChar char="▶"/>
              <a:defRPr sz="1400"/>
            </a:lvl4pPr>
            <a:lvl5pPr marL="1002398" indent="-200479">
              <a:buFont typeface="Montserrat Light" panose="00000400000000000000" pitchFamily="2" charset="-52"/>
              <a:buChar char="▶"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A7ECF19F-A331-4A7B-A2C8-F8B03BC7E31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677397" y="6463527"/>
            <a:ext cx="1588344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685767" rtl="0" eaLnBrk="1" latinLnBrk="0" hangingPunct="1">
              <a:defRPr lang="en-IN" sz="800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fld id="{B46E53C6-CF7F-40B2-942B-4C8BB4BA5B48}" type="datetime4">
              <a:rPr lang="ru-RU" smtClean="0"/>
              <a:t>16 августа 2022 г.</a:t>
            </a:fld>
            <a:endParaRPr lang="en-US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E445D1BA-5D02-422D-B587-BE85306F0B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83077" y="6463527"/>
            <a:ext cx="41148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685767" rtl="0" eaLnBrk="1" latinLnBrk="0" hangingPunct="1">
              <a:defRPr lang="en-IN" sz="8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ru-RU"/>
              <a:t>Название темы</a:t>
            </a:r>
            <a:endParaRPr lang="en-US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4DBCFDCA-B728-4F09-9F81-8BD3BC318C7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09601" y="6463527"/>
            <a:ext cx="884088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685767" rtl="0" eaLnBrk="1" latinLnBrk="0" hangingPunct="1">
              <a:defRPr lang="en-IN" sz="800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ru-RU"/>
              <a:t>Страница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059328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Relationship Id="rId30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29.xml"/><Relationship Id="rId21" Type="http://schemas.openxmlformats.org/officeDocument/2006/relationships/oleObject" Target="../embeddings/oleObject2.bin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slideLayout" Target="../slideLayouts/slideLayout43.xml"/><Relationship Id="rId2" Type="http://schemas.openxmlformats.org/officeDocument/2006/relationships/slideLayout" Target="../slideLayouts/slideLayout28.xml"/><Relationship Id="rId16" Type="http://schemas.openxmlformats.org/officeDocument/2006/relationships/slideLayout" Target="../slideLayouts/slideLayout42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5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36.xml"/><Relationship Id="rId19" Type="http://schemas.openxmlformats.org/officeDocument/2006/relationships/vmlDrawing" Target="../drawings/vmlDrawing2.v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3C2857C-8AE3-4C34-BBD7-83A8BF982F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38679634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1" name="think-cell Slide" r:id="rId30" imgW="395" imgH="396" progId="TCLayout.ActiveDocument.1">
                  <p:embed/>
                </p:oleObj>
              </mc:Choice>
              <mc:Fallback>
                <p:oleObj name="think-cell Slide" r:id="rId30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12000" y="540000"/>
            <a:ext cx="10972800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MONTSERRAT 24</a:t>
            </a:r>
            <a:r>
              <a:rPr lang="ru-RU" dirty="0"/>
              <a:t> </a:t>
            </a:r>
            <a:r>
              <a:rPr lang="en-US" dirty="0" err="1"/>
              <a:t>pt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2000" y="1353228"/>
            <a:ext cx="109728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E69E1F1-58AD-46F1-B809-9D59D36060C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677397" y="6463527"/>
            <a:ext cx="1588344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685767" rtl="0" eaLnBrk="1" latinLnBrk="0" hangingPunct="1">
              <a:defRPr lang="en-IN" sz="800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fld id="{9D0AF0AE-6E54-45A0-BD6E-D50ED686D986}" type="datetime4">
              <a:rPr lang="ru-RU" smtClean="0"/>
              <a:t>16 августа 2022 г.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6E0BE3A-850C-4403-A5AC-24F2FB2AC9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83077" y="6463527"/>
            <a:ext cx="41148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685767" rtl="0" eaLnBrk="1" latinLnBrk="0" hangingPunct="1">
              <a:defRPr lang="en-IN" sz="8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ru-RU"/>
              <a:t>Название темы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B1FFE43-22D2-44DE-9910-040934A9AD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09601" y="6463527"/>
            <a:ext cx="884088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685767" rtl="0" eaLnBrk="1" latinLnBrk="0" hangingPunct="1">
              <a:defRPr lang="en-IN" sz="800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ru-RU"/>
              <a:t>Страница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  <p:grpSp>
        <p:nvGrpSpPr>
          <p:cNvPr id="27" name="Group 4">
            <a:extLst>
              <a:ext uri="{FF2B5EF4-FFF2-40B4-BE49-F238E27FC236}">
                <a16:creationId xmlns:a16="http://schemas.microsoft.com/office/drawing/2014/main" id="{D481AAAA-ACEF-413E-A523-6EC2FC184E3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9455" y="6325052"/>
            <a:ext cx="326172" cy="301752"/>
            <a:chOff x="6956" y="3983"/>
            <a:chExt cx="187" cy="173"/>
          </a:xfrm>
        </p:grpSpPr>
        <p:sp>
          <p:nvSpPr>
            <p:cNvPr id="28" name="AutoShape 3">
              <a:extLst>
                <a:ext uri="{FF2B5EF4-FFF2-40B4-BE49-F238E27FC236}">
                  <a16:creationId xmlns:a16="http://schemas.microsoft.com/office/drawing/2014/main" id="{B12B8D78-92A1-424B-B3B1-7A147BF799A8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6956" y="3983"/>
              <a:ext cx="187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5">
              <a:extLst>
                <a:ext uri="{FF2B5EF4-FFF2-40B4-BE49-F238E27FC236}">
                  <a16:creationId xmlns:a16="http://schemas.microsoft.com/office/drawing/2014/main" id="{F8F7AE80-BF89-45A8-B83C-E43C03BD84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6" y="3983"/>
              <a:ext cx="187" cy="173"/>
            </a:xfrm>
            <a:custGeom>
              <a:avLst/>
              <a:gdLst>
                <a:gd name="T0" fmla="*/ 1683 w 1683"/>
                <a:gd name="T1" fmla="*/ 0 h 1557"/>
                <a:gd name="T2" fmla="*/ 1683 w 1683"/>
                <a:gd name="T3" fmla="*/ 1557 h 1557"/>
                <a:gd name="T4" fmla="*/ 0 w 1683"/>
                <a:gd name="T5" fmla="*/ 1557 h 1557"/>
                <a:gd name="T6" fmla="*/ 1683 w 1683"/>
                <a:gd name="T7" fmla="*/ 0 h 15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83" h="1557">
                  <a:moveTo>
                    <a:pt x="1683" y="0"/>
                  </a:moveTo>
                  <a:lnTo>
                    <a:pt x="1683" y="1557"/>
                  </a:lnTo>
                  <a:lnTo>
                    <a:pt x="0" y="1557"/>
                  </a:lnTo>
                  <a:lnTo>
                    <a:pt x="1683" y="0"/>
                  </a:lnTo>
                  <a:close/>
                </a:path>
              </a:pathLst>
            </a:custGeom>
            <a:solidFill>
              <a:srgbClr val="46AC4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6">
              <a:extLst>
                <a:ext uri="{FF2B5EF4-FFF2-40B4-BE49-F238E27FC236}">
                  <a16:creationId xmlns:a16="http://schemas.microsoft.com/office/drawing/2014/main" id="{10B9FF1E-B1A9-4E2D-9ACF-495D8C25C2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03" y="3983"/>
              <a:ext cx="40" cy="173"/>
            </a:xfrm>
            <a:custGeom>
              <a:avLst/>
              <a:gdLst>
                <a:gd name="T0" fmla="*/ 360 w 360"/>
                <a:gd name="T1" fmla="*/ 0 h 1557"/>
                <a:gd name="T2" fmla="*/ 360 w 360"/>
                <a:gd name="T3" fmla="*/ 1557 h 1557"/>
                <a:gd name="T4" fmla="*/ 0 w 360"/>
                <a:gd name="T5" fmla="*/ 1557 h 1557"/>
                <a:gd name="T6" fmla="*/ 0 w 360"/>
                <a:gd name="T7" fmla="*/ 333 h 1557"/>
                <a:gd name="T8" fmla="*/ 360 w 360"/>
                <a:gd name="T9" fmla="*/ 0 h 15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0" h="1557">
                  <a:moveTo>
                    <a:pt x="360" y="0"/>
                  </a:moveTo>
                  <a:lnTo>
                    <a:pt x="360" y="1557"/>
                  </a:lnTo>
                  <a:lnTo>
                    <a:pt x="0" y="1557"/>
                  </a:lnTo>
                  <a:lnTo>
                    <a:pt x="0" y="333"/>
                  </a:lnTo>
                  <a:lnTo>
                    <a:pt x="36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7">
              <a:extLst>
                <a:ext uri="{FF2B5EF4-FFF2-40B4-BE49-F238E27FC236}">
                  <a16:creationId xmlns:a16="http://schemas.microsoft.com/office/drawing/2014/main" id="{698156C5-1A33-400F-85F8-337309D3FB6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956" y="3987"/>
              <a:ext cx="126" cy="169"/>
            </a:xfrm>
            <a:custGeom>
              <a:avLst/>
              <a:gdLst>
                <a:gd name="T0" fmla="*/ 617 w 1134"/>
                <a:gd name="T1" fmla="*/ 553 h 1524"/>
                <a:gd name="T2" fmla="*/ 642 w 1134"/>
                <a:gd name="T3" fmla="*/ 553 h 1524"/>
                <a:gd name="T4" fmla="*/ 692 w 1134"/>
                <a:gd name="T5" fmla="*/ 556 h 1524"/>
                <a:gd name="T6" fmla="*/ 742 w 1134"/>
                <a:gd name="T7" fmla="*/ 561 h 1524"/>
                <a:gd name="T8" fmla="*/ 791 w 1134"/>
                <a:gd name="T9" fmla="*/ 571 h 1524"/>
                <a:gd name="T10" fmla="*/ 815 w 1134"/>
                <a:gd name="T11" fmla="*/ 576 h 1524"/>
                <a:gd name="T12" fmla="*/ 858 w 1134"/>
                <a:gd name="T13" fmla="*/ 590 h 1524"/>
                <a:gd name="T14" fmla="*/ 900 w 1134"/>
                <a:gd name="T15" fmla="*/ 608 h 1524"/>
                <a:gd name="T16" fmla="*/ 940 w 1134"/>
                <a:gd name="T17" fmla="*/ 629 h 1524"/>
                <a:gd name="T18" fmla="*/ 978 w 1134"/>
                <a:gd name="T19" fmla="*/ 654 h 1524"/>
                <a:gd name="T20" fmla="*/ 997 w 1134"/>
                <a:gd name="T21" fmla="*/ 669 h 1524"/>
                <a:gd name="T22" fmla="*/ 1031 w 1134"/>
                <a:gd name="T23" fmla="*/ 703 h 1524"/>
                <a:gd name="T24" fmla="*/ 1061 w 1134"/>
                <a:gd name="T25" fmla="*/ 741 h 1524"/>
                <a:gd name="T26" fmla="*/ 1084 w 1134"/>
                <a:gd name="T27" fmla="*/ 783 h 1524"/>
                <a:gd name="T28" fmla="*/ 1093 w 1134"/>
                <a:gd name="T29" fmla="*/ 806 h 1524"/>
                <a:gd name="T30" fmla="*/ 1111 w 1134"/>
                <a:gd name="T31" fmla="*/ 857 h 1524"/>
                <a:gd name="T32" fmla="*/ 1123 w 1134"/>
                <a:gd name="T33" fmla="*/ 913 h 1524"/>
                <a:gd name="T34" fmla="*/ 1132 w 1134"/>
                <a:gd name="T35" fmla="*/ 974 h 1524"/>
                <a:gd name="T36" fmla="*/ 1134 w 1134"/>
                <a:gd name="T37" fmla="*/ 1039 h 1524"/>
                <a:gd name="T38" fmla="*/ 1134 w 1134"/>
                <a:gd name="T39" fmla="*/ 1072 h 1524"/>
                <a:gd name="T40" fmla="*/ 1129 w 1134"/>
                <a:gd name="T41" fmla="*/ 1135 h 1524"/>
                <a:gd name="T42" fmla="*/ 1118 w 1134"/>
                <a:gd name="T43" fmla="*/ 1193 h 1524"/>
                <a:gd name="T44" fmla="*/ 1102 w 1134"/>
                <a:gd name="T45" fmla="*/ 1246 h 1524"/>
                <a:gd name="T46" fmla="*/ 1093 w 1134"/>
                <a:gd name="T47" fmla="*/ 1271 h 1524"/>
                <a:gd name="T48" fmla="*/ 1072 w 1134"/>
                <a:gd name="T49" fmla="*/ 1315 h 1524"/>
                <a:gd name="T50" fmla="*/ 1046 w 1134"/>
                <a:gd name="T51" fmla="*/ 1355 h 1524"/>
                <a:gd name="T52" fmla="*/ 1015 w 1134"/>
                <a:gd name="T53" fmla="*/ 1392 h 1524"/>
                <a:gd name="T54" fmla="*/ 978 w 1134"/>
                <a:gd name="T55" fmla="*/ 1423 h 1524"/>
                <a:gd name="T56" fmla="*/ 959 w 1134"/>
                <a:gd name="T57" fmla="*/ 1436 h 1524"/>
                <a:gd name="T58" fmla="*/ 920 w 1134"/>
                <a:gd name="T59" fmla="*/ 1459 h 1524"/>
                <a:gd name="T60" fmla="*/ 879 w 1134"/>
                <a:gd name="T61" fmla="*/ 1479 h 1524"/>
                <a:gd name="T62" fmla="*/ 836 w 1134"/>
                <a:gd name="T63" fmla="*/ 1494 h 1524"/>
                <a:gd name="T64" fmla="*/ 815 w 1134"/>
                <a:gd name="T65" fmla="*/ 1500 h 1524"/>
                <a:gd name="T66" fmla="*/ 766 w 1134"/>
                <a:gd name="T67" fmla="*/ 1511 h 1524"/>
                <a:gd name="T68" fmla="*/ 717 w 1134"/>
                <a:gd name="T69" fmla="*/ 1519 h 1524"/>
                <a:gd name="T70" fmla="*/ 667 w 1134"/>
                <a:gd name="T71" fmla="*/ 1523 h 1524"/>
                <a:gd name="T72" fmla="*/ 617 w 1134"/>
                <a:gd name="T73" fmla="*/ 1524 h 1524"/>
                <a:gd name="T74" fmla="*/ 0 w 1134"/>
                <a:gd name="T75" fmla="*/ 0 h 1524"/>
                <a:gd name="T76" fmla="*/ 1020 w 1134"/>
                <a:gd name="T77" fmla="*/ 342 h 1524"/>
                <a:gd name="T78" fmla="*/ 342 w 1134"/>
                <a:gd name="T79" fmla="*/ 553 h 1524"/>
                <a:gd name="T80" fmla="*/ 616 w 1134"/>
                <a:gd name="T81" fmla="*/ 1207 h 1524"/>
                <a:gd name="T82" fmla="*/ 636 w 1134"/>
                <a:gd name="T83" fmla="*/ 1207 h 1524"/>
                <a:gd name="T84" fmla="*/ 670 w 1134"/>
                <a:gd name="T85" fmla="*/ 1202 h 1524"/>
                <a:gd name="T86" fmla="*/ 701 w 1134"/>
                <a:gd name="T87" fmla="*/ 1193 h 1524"/>
                <a:gd name="T88" fmla="*/ 726 w 1134"/>
                <a:gd name="T89" fmla="*/ 1178 h 1524"/>
                <a:gd name="T90" fmla="*/ 746 w 1134"/>
                <a:gd name="T91" fmla="*/ 1158 h 1524"/>
                <a:gd name="T92" fmla="*/ 760 w 1134"/>
                <a:gd name="T93" fmla="*/ 1134 h 1524"/>
                <a:gd name="T94" fmla="*/ 770 w 1134"/>
                <a:gd name="T95" fmla="*/ 1106 h 1524"/>
                <a:gd name="T96" fmla="*/ 775 w 1134"/>
                <a:gd name="T97" fmla="*/ 1071 h 1524"/>
                <a:gd name="T98" fmla="*/ 776 w 1134"/>
                <a:gd name="T99" fmla="*/ 1052 h 1524"/>
                <a:gd name="T100" fmla="*/ 773 w 1134"/>
                <a:gd name="T101" fmla="*/ 1017 h 1524"/>
                <a:gd name="T102" fmla="*/ 766 w 1134"/>
                <a:gd name="T103" fmla="*/ 985 h 1524"/>
                <a:gd name="T104" fmla="*/ 753 w 1134"/>
                <a:gd name="T105" fmla="*/ 958 h 1524"/>
                <a:gd name="T106" fmla="*/ 736 w 1134"/>
                <a:gd name="T107" fmla="*/ 936 h 1524"/>
                <a:gd name="T108" fmla="*/ 713 w 1134"/>
                <a:gd name="T109" fmla="*/ 919 h 1524"/>
                <a:gd name="T110" fmla="*/ 686 w 1134"/>
                <a:gd name="T111" fmla="*/ 907 h 1524"/>
                <a:gd name="T112" fmla="*/ 654 w 1134"/>
                <a:gd name="T113" fmla="*/ 900 h 1524"/>
                <a:gd name="T114" fmla="*/ 616 w 1134"/>
                <a:gd name="T115" fmla="*/ 897 h 1524"/>
                <a:gd name="T116" fmla="*/ 342 w 1134"/>
                <a:gd name="T117" fmla="*/ 1207 h 1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134" h="1524">
                  <a:moveTo>
                    <a:pt x="342" y="553"/>
                  </a:moveTo>
                  <a:lnTo>
                    <a:pt x="617" y="553"/>
                  </a:lnTo>
                  <a:lnTo>
                    <a:pt x="617" y="553"/>
                  </a:lnTo>
                  <a:lnTo>
                    <a:pt x="642" y="553"/>
                  </a:lnTo>
                  <a:lnTo>
                    <a:pt x="667" y="554"/>
                  </a:lnTo>
                  <a:lnTo>
                    <a:pt x="692" y="556"/>
                  </a:lnTo>
                  <a:lnTo>
                    <a:pt x="717" y="558"/>
                  </a:lnTo>
                  <a:lnTo>
                    <a:pt x="742" y="561"/>
                  </a:lnTo>
                  <a:lnTo>
                    <a:pt x="766" y="566"/>
                  </a:lnTo>
                  <a:lnTo>
                    <a:pt x="791" y="571"/>
                  </a:lnTo>
                  <a:lnTo>
                    <a:pt x="815" y="576"/>
                  </a:lnTo>
                  <a:lnTo>
                    <a:pt x="815" y="576"/>
                  </a:lnTo>
                  <a:lnTo>
                    <a:pt x="837" y="582"/>
                  </a:lnTo>
                  <a:lnTo>
                    <a:pt x="858" y="590"/>
                  </a:lnTo>
                  <a:lnTo>
                    <a:pt x="880" y="598"/>
                  </a:lnTo>
                  <a:lnTo>
                    <a:pt x="900" y="608"/>
                  </a:lnTo>
                  <a:lnTo>
                    <a:pt x="920" y="618"/>
                  </a:lnTo>
                  <a:lnTo>
                    <a:pt x="940" y="629"/>
                  </a:lnTo>
                  <a:lnTo>
                    <a:pt x="959" y="641"/>
                  </a:lnTo>
                  <a:lnTo>
                    <a:pt x="978" y="654"/>
                  </a:lnTo>
                  <a:lnTo>
                    <a:pt x="978" y="654"/>
                  </a:lnTo>
                  <a:lnTo>
                    <a:pt x="997" y="669"/>
                  </a:lnTo>
                  <a:lnTo>
                    <a:pt x="1015" y="685"/>
                  </a:lnTo>
                  <a:lnTo>
                    <a:pt x="1031" y="703"/>
                  </a:lnTo>
                  <a:lnTo>
                    <a:pt x="1047" y="722"/>
                  </a:lnTo>
                  <a:lnTo>
                    <a:pt x="1061" y="741"/>
                  </a:lnTo>
                  <a:lnTo>
                    <a:pt x="1073" y="762"/>
                  </a:lnTo>
                  <a:lnTo>
                    <a:pt x="1084" y="783"/>
                  </a:lnTo>
                  <a:lnTo>
                    <a:pt x="1093" y="806"/>
                  </a:lnTo>
                  <a:lnTo>
                    <a:pt x="1093" y="806"/>
                  </a:lnTo>
                  <a:lnTo>
                    <a:pt x="1102" y="831"/>
                  </a:lnTo>
                  <a:lnTo>
                    <a:pt x="1111" y="857"/>
                  </a:lnTo>
                  <a:lnTo>
                    <a:pt x="1118" y="884"/>
                  </a:lnTo>
                  <a:lnTo>
                    <a:pt x="1123" y="913"/>
                  </a:lnTo>
                  <a:lnTo>
                    <a:pt x="1129" y="942"/>
                  </a:lnTo>
                  <a:lnTo>
                    <a:pt x="1132" y="974"/>
                  </a:lnTo>
                  <a:lnTo>
                    <a:pt x="1134" y="1005"/>
                  </a:lnTo>
                  <a:lnTo>
                    <a:pt x="1134" y="1039"/>
                  </a:lnTo>
                  <a:lnTo>
                    <a:pt x="1134" y="1039"/>
                  </a:lnTo>
                  <a:lnTo>
                    <a:pt x="1134" y="1072"/>
                  </a:lnTo>
                  <a:lnTo>
                    <a:pt x="1132" y="1104"/>
                  </a:lnTo>
                  <a:lnTo>
                    <a:pt x="1129" y="1135"/>
                  </a:lnTo>
                  <a:lnTo>
                    <a:pt x="1123" y="1164"/>
                  </a:lnTo>
                  <a:lnTo>
                    <a:pt x="1118" y="1193"/>
                  </a:lnTo>
                  <a:lnTo>
                    <a:pt x="1111" y="1220"/>
                  </a:lnTo>
                  <a:lnTo>
                    <a:pt x="1102" y="1246"/>
                  </a:lnTo>
                  <a:lnTo>
                    <a:pt x="1093" y="1271"/>
                  </a:lnTo>
                  <a:lnTo>
                    <a:pt x="1093" y="1271"/>
                  </a:lnTo>
                  <a:lnTo>
                    <a:pt x="1084" y="1293"/>
                  </a:lnTo>
                  <a:lnTo>
                    <a:pt x="1072" y="1315"/>
                  </a:lnTo>
                  <a:lnTo>
                    <a:pt x="1061" y="1335"/>
                  </a:lnTo>
                  <a:lnTo>
                    <a:pt x="1046" y="1355"/>
                  </a:lnTo>
                  <a:lnTo>
                    <a:pt x="1031" y="1374"/>
                  </a:lnTo>
                  <a:lnTo>
                    <a:pt x="1015" y="1392"/>
                  </a:lnTo>
                  <a:lnTo>
                    <a:pt x="997" y="1408"/>
                  </a:lnTo>
                  <a:lnTo>
                    <a:pt x="978" y="1423"/>
                  </a:lnTo>
                  <a:lnTo>
                    <a:pt x="978" y="1423"/>
                  </a:lnTo>
                  <a:lnTo>
                    <a:pt x="959" y="1436"/>
                  </a:lnTo>
                  <a:lnTo>
                    <a:pt x="940" y="1447"/>
                  </a:lnTo>
                  <a:lnTo>
                    <a:pt x="920" y="1459"/>
                  </a:lnTo>
                  <a:lnTo>
                    <a:pt x="900" y="1469"/>
                  </a:lnTo>
                  <a:lnTo>
                    <a:pt x="879" y="1479"/>
                  </a:lnTo>
                  <a:lnTo>
                    <a:pt x="858" y="1486"/>
                  </a:lnTo>
                  <a:lnTo>
                    <a:pt x="836" y="1494"/>
                  </a:lnTo>
                  <a:lnTo>
                    <a:pt x="815" y="1500"/>
                  </a:lnTo>
                  <a:lnTo>
                    <a:pt x="815" y="1500"/>
                  </a:lnTo>
                  <a:lnTo>
                    <a:pt x="790" y="1506"/>
                  </a:lnTo>
                  <a:lnTo>
                    <a:pt x="766" y="1511"/>
                  </a:lnTo>
                  <a:lnTo>
                    <a:pt x="742" y="1516"/>
                  </a:lnTo>
                  <a:lnTo>
                    <a:pt x="717" y="1519"/>
                  </a:lnTo>
                  <a:lnTo>
                    <a:pt x="691" y="1521"/>
                  </a:lnTo>
                  <a:lnTo>
                    <a:pt x="667" y="1523"/>
                  </a:lnTo>
                  <a:lnTo>
                    <a:pt x="642" y="1524"/>
                  </a:lnTo>
                  <a:lnTo>
                    <a:pt x="617" y="1524"/>
                  </a:lnTo>
                  <a:lnTo>
                    <a:pt x="0" y="1524"/>
                  </a:lnTo>
                  <a:lnTo>
                    <a:pt x="0" y="0"/>
                  </a:lnTo>
                  <a:lnTo>
                    <a:pt x="1020" y="0"/>
                  </a:lnTo>
                  <a:lnTo>
                    <a:pt x="1020" y="342"/>
                  </a:lnTo>
                  <a:lnTo>
                    <a:pt x="342" y="342"/>
                  </a:lnTo>
                  <a:lnTo>
                    <a:pt x="342" y="553"/>
                  </a:lnTo>
                  <a:close/>
                  <a:moveTo>
                    <a:pt x="342" y="1207"/>
                  </a:moveTo>
                  <a:lnTo>
                    <a:pt x="616" y="1207"/>
                  </a:lnTo>
                  <a:lnTo>
                    <a:pt x="616" y="1207"/>
                  </a:lnTo>
                  <a:lnTo>
                    <a:pt x="636" y="1207"/>
                  </a:lnTo>
                  <a:lnTo>
                    <a:pt x="654" y="1205"/>
                  </a:lnTo>
                  <a:lnTo>
                    <a:pt x="670" y="1202"/>
                  </a:lnTo>
                  <a:lnTo>
                    <a:pt x="686" y="1198"/>
                  </a:lnTo>
                  <a:lnTo>
                    <a:pt x="701" y="1193"/>
                  </a:lnTo>
                  <a:lnTo>
                    <a:pt x="713" y="1185"/>
                  </a:lnTo>
                  <a:lnTo>
                    <a:pt x="726" y="1178"/>
                  </a:lnTo>
                  <a:lnTo>
                    <a:pt x="736" y="1169"/>
                  </a:lnTo>
                  <a:lnTo>
                    <a:pt x="746" y="1158"/>
                  </a:lnTo>
                  <a:lnTo>
                    <a:pt x="753" y="1147"/>
                  </a:lnTo>
                  <a:lnTo>
                    <a:pt x="760" y="1134"/>
                  </a:lnTo>
                  <a:lnTo>
                    <a:pt x="766" y="1120"/>
                  </a:lnTo>
                  <a:lnTo>
                    <a:pt x="770" y="1106"/>
                  </a:lnTo>
                  <a:lnTo>
                    <a:pt x="773" y="1089"/>
                  </a:lnTo>
                  <a:lnTo>
                    <a:pt x="775" y="1071"/>
                  </a:lnTo>
                  <a:lnTo>
                    <a:pt x="776" y="1052"/>
                  </a:lnTo>
                  <a:lnTo>
                    <a:pt x="776" y="1052"/>
                  </a:lnTo>
                  <a:lnTo>
                    <a:pt x="775" y="1033"/>
                  </a:lnTo>
                  <a:lnTo>
                    <a:pt x="773" y="1017"/>
                  </a:lnTo>
                  <a:lnTo>
                    <a:pt x="770" y="1000"/>
                  </a:lnTo>
                  <a:lnTo>
                    <a:pt x="766" y="985"/>
                  </a:lnTo>
                  <a:lnTo>
                    <a:pt x="760" y="970"/>
                  </a:lnTo>
                  <a:lnTo>
                    <a:pt x="753" y="958"/>
                  </a:lnTo>
                  <a:lnTo>
                    <a:pt x="746" y="946"/>
                  </a:lnTo>
                  <a:lnTo>
                    <a:pt x="736" y="936"/>
                  </a:lnTo>
                  <a:lnTo>
                    <a:pt x="726" y="927"/>
                  </a:lnTo>
                  <a:lnTo>
                    <a:pt x="713" y="919"/>
                  </a:lnTo>
                  <a:lnTo>
                    <a:pt x="701" y="913"/>
                  </a:lnTo>
                  <a:lnTo>
                    <a:pt x="686" y="907"/>
                  </a:lnTo>
                  <a:lnTo>
                    <a:pt x="670" y="903"/>
                  </a:lnTo>
                  <a:lnTo>
                    <a:pt x="654" y="900"/>
                  </a:lnTo>
                  <a:lnTo>
                    <a:pt x="636" y="898"/>
                  </a:lnTo>
                  <a:lnTo>
                    <a:pt x="616" y="897"/>
                  </a:lnTo>
                  <a:lnTo>
                    <a:pt x="342" y="897"/>
                  </a:lnTo>
                  <a:lnTo>
                    <a:pt x="342" y="120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8614278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5" r:id="rId1"/>
    <p:sldLayoutId id="2147483976" r:id="rId2"/>
    <p:sldLayoutId id="2147483903" r:id="rId3"/>
    <p:sldLayoutId id="2147483818" r:id="rId4"/>
    <p:sldLayoutId id="2147483945" r:id="rId5"/>
    <p:sldLayoutId id="2147483826" r:id="rId6"/>
    <p:sldLayoutId id="2147483830" r:id="rId7"/>
    <p:sldLayoutId id="2147483948" r:id="rId8"/>
    <p:sldLayoutId id="2147483832" r:id="rId9"/>
    <p:sldLayoutId id="2147483970" r:id="rId10"/>
    <p:sldLayoutId id="2147483975" r:id="rId11"/>
    <p:sldLayoutId id="2147483829" r:id="rId12"/>
    <p:sldLayoutId id="2147483833" r:id="rId13"/>
    <p:sldLayoutId id="2147483834" r:id="rId14"/>
    <p:sldLayoutId id="2147483824" r:id="rId15"/>
    <p:sldLayoutId id="2147483973" r:id="rId16"/>
    <p:sldLayoutId id="2147483974" r:id="rId17"/>
    <p:sldLayoutId id="2147483982" r:id="rId18"/>
    <p:sldLayoutId id="2147483969" r:id="rId19"/>
    <p:sldLayoutId id="2147483906" r:id="rId20"/>
    <p:sldLayoutId id="2147483840" r:id="rId21"/>
    <p:sldLayoutId id="2147483827" r:id="rId22"/>
    <p:sldLayoutId id="2147483828" r:id="rId23"/>
    <p:sldLayoutId id="2147483953" r:id="rId24"/>
    <p:sldLayoutId id="2147483956" r:id="rId25"/>
    <p:sldLayoutId id="2147483893" r:id="rId2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514051" rtl="0" eaLnBrk="1" latinLnBrk="0" hangingPunct="1">
        <a:lnSpc>
          <a:spcPct val="85000"/>
        </a:lnSpc>
        <a:spcBef>
          <a:spcPct val="0"/>
        </a:spcBef>
        <a:buNone/>
        <a:defRPr sz="2400" b="1" kern="1200">
          <a:solidFill>
            <a:srgbClr val="4AA851"/>
          </a:solidFill>
          <a:latin typeface="Montserrat" panose="00000500000000000000" pitchFamily="2" charset="-52"/>
          <a:ea typeface="+mj-ea"/>
          <a:cs typeface="Arial" pitchFamily="34" charset="0"/>
        </a:defRPr>
      </a:lvl1pPr>
    </p:titleStyle>
    <p:bodyStyle>
      <a:lvl1pPr marL="200479" indent="-200479" algn="l" defTabSz="514051" rtl="0" eaLnBrk="1" latinLnBrk="0" hangingPunct="1">
        <a:lnSpc>
          <a:spcPct val="120000"/>
        </a:lnSpc>
        <a:spcBef>
          <a:spcPct val="20000"/>
        </a:spcBef>
        <a:buClr>
          <a:schemeClr val="tx2"/>
        </a:buClr>
        <a:buSzPct val="110000"/>
        <a:buFont typeface="Montserrat Light" panose="00000400000000000000" pitchFamily="2" charset="-52"/>
        <a:buChar char="▶"/>
        <a:defRPr sz="2000" kern="1200">
          <a:solidFill>
            <a:schemeClr val="bg1"/>
          </a:solidFill>
          <a:latin typeface="Montserrat Light" panose="00000400000000000000" pitchFamily="2" charset="-52"/>
          <a:ea typeface="+mn-ea"/>
          <a:cs typeface="+mn-cs"/>
        </a:defRPr>
      </a:lvl1pPr>
      <a:lvl2pPr marL="400959" indent="-200479" algn="l" defTabSz="514051" rtl="0" eaLnBrk="1" latinLnBrk="0" hangingPunct="1">
        <a:lnSpc>
          <a:spcPct val="120000"/>
        </a:lnSpc>
        <a:spcBef>
          <a:spcPct val="20000"/>
        </a:spcBef>
        <a:buClr>
          <a:schemeClr val="tx2"/>
        </a:buClr>
        <a:buSzPct val="110000"/>
        <a:buFont typeface="Montserrat Light" panose="00000400000000000000" pitchFamily="2" charset="-52"/>
        <a:buChar char="▶"/>
        <a:defRPr sz="1800" kern="1200">
          <a:solidFill>
            <a:schemeClr val="bg1"/>
          </a:solidFill>
          <a:latin typeface="Montserrat Light" panose="00000400000000000000" pitchFamily="2" charset="-52"/>
          <a:ea typeface="+mn-ea"/>
          <a:cs typeface="+mn-cs"/>
        </a:defRPr>
      </a:lvl2pPr>
      <a:lvl3pPr marL="601440" indent="-200479" algn="l" defTabSz="514051" rtl="0" eaLnBrk="1" latinLnBrk="0" hangingPunct="1">
        <a:lnSpc>
          <a:spcPct val="120000"/>
        </a:lnSpc>
        <a:spcBef>
          <a:spcPct val="20000"/>
        </a:spcBef>
        <a:buClr>
          <a:schemeClr val="tx2"/>
        </a:buClr>
        <a:buSzPct val="110000"/>
        <a:buFont typeface="Montserrat Light" panose="00000400000000000000" pitchFamily="2" charset="-52"/>
        <a:buChar char="▶"/>
        <a:defRPr sz="1600" kern="1200">
          <a:solidFill>
            <a:schemeClr val="bg1"/>
          </a:solidFill>
          <a:latin typeface="Montserrat Light" panose="00000400000000000000" pitchFamily="2" charset="-52"/>
          <a:ea typeface="+mn-ea"/>
          <a:cs typeface="+mn-cs"/>
        </a:defRPr>
      </a:lvl3pPr>
      <a:lvl4pPr marL="801919" indent="-200479" algn="l" defTabSz="514051" rtl="0" eaLnBrk="1" latinLnBrk="0" hangingPunct="1">
        <a:lnSpc>
          <a:spcPct val="120000"/>
        </a:lnSpc>
        <a:spcBef>
          <a:spcPct val="20000"/>
        </a:spcBef>
        <a:buClr>
          <a:schemeClr val="tx2"/>
        </a:buClr>
        <a:buSzPct val="110000"/>
        <a:buFont typeface="Montserrat Light" panose="00000400000000000000" pitchFamily="2" charset="-52"/>
        <a:buChar char="▶"/>
        <a:defRPr sz="1400" kern="1200">
          <a:solidFill>
            <a:schemeClr val="bg1"/>
          </a:solidFill>
          <a:latin typeface="Montserrat Light" panose="00000400000000000000" pitchFamily="2" charset="-52"/>
          <a:ea typeface="+mn-ea"/>
          <a:cs typeface="+mn-cs"/>
        </a:defRPr>
      </a:lvl4pPr>
      <a:lvl5pPr marL="1002398" indent="-200479" algn="l" defTabSz="514051" rtl="0" eaLnBrk="1" latinLnBrk="0" hangingPunct="1">
        <a:lnSpc>
          <a:spcPct val="120000"/>
        </a:lnSpc>
        <a:spcBef>
          <a:spcPct val="20000"/>
        </a:spcBef>
        <a:buClr>
          <a:schemeClr val="tx2"/>
        </a:buClr>
        <a:buSzPct val="110000"/>
        <a:buFont typeface="Montserrat Light" panose="00000400000000000000" pitchFamily="2" charset="-52"/>
        <a:buChar char="▶"/>
        <a:defRPr sz="1200" kern="1200">
          <a:solidFill>
            <a:schemeClr val="bg1"/>
          </a:solidFill>
          <a:latin typeface="Montserrat Light" panose="00000400000000000000" pitchFamily="2" charset="-52"/>
          <a:ea typeface="+mn-ea"/>
          <a:cs typeface="+mn-cs"/>
        </a:defRPr>
      </a:lvl5pPr>
      <a:lvl6pPr marL="1413638" indent="-128513" algn="l" defTabSz="514051" rtl="0" eaLnBrk="1" latinLnBrk="0" hangingPunct="1">
        <a:spcBef>
          <a:spcPct val="20000"/>
        </a:spcBef>
        <a:buFont typeface="Arial" pitchFamily="34" charset="0"/>
        <a:buChar char="•"/>
        <a:defRPr sz="1124" kern="1200">
          <a:solidFill>
            <a:schemeClr val="tx1"/>
          </a:solidFill>
          <a:latin typeface="+mn-lt"/>
          <a:ea typeface="+mn-ea"/>
          <a:cs typeface="+mn-cs"/>
        </a:defRPr>
      </a:lvl6pPr>
      <a:lvl7pPr marL="1670664" indent="-128513" algn="l" defTabSz="514051" rtl="0" eaLnBrk="1" latinLnBrk="0" hangingPunct="1">
        <a:spcBef>
          <a:spcPct val="20000"/>
        </a:spcBef>
        <a:buFont typeface="Arial" pitchFamily="34" charset="0"/>
        <a:buChar char="•"/>
        <a:defRPr sz="1124" kern="1200">
          <a:solidFill>
            <a:schemeClr val="tx1"/>
          </a:solidFill>
          <a:latin typeface="+mn-lt"/>
          <a:ea typeface="+mn-ea"/>
          <a:cs typeface="+mn-cs"/>
        </a:defRPr>
      </a:lvl7pPr>
      <a:lvl8pPr marL="1927689" indent="-128513" algn="l" defTabSz="514051" rtl="0" eaLnBrk="1" latinLnBrk="0" hangingPunct="1">
        <a:spcBef>
          <a:spcPct val="20000"/>
        </a:spcBef>
        <a:buFont typeface="Arial" pitchFamily="34" charset="0"/>
        <a:buChar char="•"/>
        <a:defRPr sz="1124" kern="1200">
          <a:solidFill>
            <a:schemeClr val="tx1"/>
          </a:solidFill>
          <a:latin typeface="+mn-lt"/>
          <a:ea typeface="+mn-ea"/>
          <a:cs typeface="+mn-cs"/>
        </a:defRPr>
      </a:lvl8pPr>
      <a:lvl9pPr marL="2184713" indent="-128513" algn="l" defTabSz="514051" rtl="0" eaLnBrk="1" latinLnBrk="0" hangingPunct="1">
        <a:spcBef>
          <a:spcPct val="20000"/>
        </a:spcBef>
        <a:buFont typeface="Arial" pitchFamily="34" charset="0"/>
        <a:buChar char="•"/>
        <a:defRPr sz="112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051" rtl="0" eaLnBrk="1" latinLnBrk="0" hangingPunct="1">
        <a:defRPr sz="1012" kern="1200">
          <a:solidFill>
            <a:schemeClr val="tx1"/>
          </a:solidFill>
          <a:latin typeface="+mn-lt"/>
          <a:ea typeface="+mn-ea"/>
          <a:cs typeface="+mn-cs"/>
        </a:defRPr>
      </a:lvl1pPr>
      <a:lvl2pPr marL="257026" algn="l" defTabSz="514051" rtl="0" eaLnBrk="1" latinLnBrk="0" hangingPunct="1">
        <a:defRPr sz="1012" kern="1200">
          <a:solidFill>
            <a:schemeClr val="tx1"/>
          </a:solidFill>
          <a:latin typeface="+mn-lt"/>
          <a:ea typeface="+mn-ea"/>
          <a:cs typeface="+mn-cs"/>
        </a:defRPr>
      </a:lvl2pPr>
      <a:lvl3pPr marL="514051" algn="l" defTabSz="514051" rtl="0" eaLnBrk="1" latinLnBrk="0" hangingPunct="1">
        <a:defRPr sz="1012" kern="1200">
          <a:solidFill>
            <a:schemeClr val="tx1"/>
          </a:solidFill>
          <a:latin typeface="+mn-lt"/>
          <a:ea typeface="+mn-ea"/>
          <a:cs typeface="+mn-cs"/>
        </a:defRPr>
      </a:lvl3pPr>
      <a:lvl4pPr marL="771074" algn="l" defTabSz="514051" rtl="0" eaLnBrk="1" latinLnBrk="0" hangingPunct="1">
        <a:defRPr sz="1012" kern="1200">
          <a:solidFill>
            <a:schemeClr val="tx1"/>
          </a:solidFill>
          <a:latin typeface="+mn-lt"/>
          <a:ea typeface="+mn-ea"/>
          <a:cs typeface="+mn-cs"/>
        </a:defRPr>
      </a:lvl4pPr>
      <a:lvl5pPr marL="1028100" algn="l" defTabSz="514051" rtl="0" eaLnBrk="1" latinLnBrk="0" hangingPunct="1">
        <a:defRPr sz="1012" kern="1200">
          <a:solidFill>
            <a:schemeClr val="tx1"/>
          </a:solidFill>
          <a:latin typeface="+mn-lt"/>
          <a:ea typeface="+mn-ea"/>
          <a:cs typeface="+mn-cs"/>
        </a:defRPr>
      </a:lvl5pPr>
      <a:lvl6pPr marL="1285127" algn="l" defTabSz="514051" rtl="0" eaLnBrk="1" latinLnBrk="0" hangingPunct="1">
        <a:defRPr sz="1012" kern="1200">
          <a:solidFill>
            <a:schemeClr val="tx1"/>
          </a:solidFill>
          <a:latin typeface="+mn-lt"/>
          <a:ea typeface="+mn-ea"/>
          <a:cs typeface="+mn-cs"/>
        </a:defRPr>
      </a:lvl6pPr>
      <a:lvl7pPr marL="1542151" algn="l" defTabSz="514051" rtl="0" eaLnBrk="1" latinLnBrk="0" hangingPunct="1">
        <a:defRPr sz="1012" kern="1200">
          <a:solidFill>
            <a:schemeClr val="tx1"/>
          </a:solidFill>
          <a:latin typeface="+mn-lt"/>
          <a:ea typeface="+mn-ea"/>
          <a:cs typeface="+mn-cs"/>
        </a:defRPr>
      </a:lvl7pPr>
      <a:lvl8pPr marL="1799176" algn="l" defTabSz="514051" rtl="0" eaLnBrk="1" latinLnBrk="0" hangingPunct="1">
        <a:defRPr sz="1012" kern="1200">
          <a:solidFill>
            <a:schemeClr val="tx1"/>
          </a:solidFill>
          <a:latin typeface="+mn-lt"/>
          <a:ea typeface="+mn-ea"/>
          <a:cs typeface="+mn-cs"/>
        </a:defRPr>
      </a:lvl8pPr>
      <a:lvl9pPr marL="2056199" algn="l" defTabSz="514051" rtl="0" eaLnBrk="1" latinLnBrk="0" hangingPunct="1">
        <a:defRPr sz="101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4CAB52A-324D-4E3C-8671-2715F4F405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4947271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5" name="think-cell Slide" r:id="rId21" imgW="395" imgH="396" progId="TCLayout.ActiveDocument.1">
                  <p:embed/>
                </p:oleObj>
              </mc:Choice>
              <mc:Fallback>
                <p:oleObj name="think-cell Slide" r:id="rId21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732228A4-A5CF-098A-DD29-F04BDBE6AF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000" y="540000"/>
            <a:ext cx="10972800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MONTSERRAT 24</a:t>
            </a:r>
            <a:r>
              <a:rPr lang="ru-RU" dirty="0"/>
              <a:t> </a:t>
            </a:r>
            <a:r>
              <a:rPr lang="en-US" dirty="0" err="1"/>
              <a:t>pt</a:t>
            </a:r>
            <a:endParaRPr lang="en-GB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482179D9-BD9A-934A-7A8F-94F5F907262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2000" y="1152000"/>
            <a:ext cx="109728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7D4739B7-6F38-4099-818B-D9112E76AC27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9455" y="6325052"/>
            <a:ext cx="326172" cy="301752"/>
            <a:chOff x="6956" y="3983"/>
            <a:chExt cx="187" cy="173"/>
          </a:xfrm>
        </p:grpSpPr>
        <p:sp>
          <p:nvSpPr>
            <p:cNvPr id="10" name="AutoShape 3">
              <a:extLst>
                <a:ext uri="{FF2B5EF4-FFF2-40B4-BE49-F238E27FC236}">
                  <a16:creationId xmlns:a16="http://schemas.microsoft.com/office/drawing/2014/main" id="{E1F0A5DA-11F5-48F6-AF15-C95081A24C12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6956" y="3983"/>
              <a:ext cx="187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7085E4F3-1164-468A-98E4-F4DB30EFE7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6" y="3983"/>
              <a:ext cx="187" cy="173"/>
            </a:xfrm>
            <a:custGeom>
              <a:avLst/>
              <a:gdLst>
                <a:gd name="T0" fmla="*/ 1683 w 1683"/>
                <a:gd name="T1" fmla="*/ 0 h 1557"/>
                <a:gd name="T2" fmla="*/ 1683 w 1683"/>
                <a:gd name="T3" fmla="*/ 1557 h 1557"/>
                <a:gd name="T4" fmla="*/ 0 w 1683"/>
                <a:gd name="T5" fmla="*/ 1557 h 1557"/>
                <a:gd name="T6" fmla="*/ 1683 w 1683"/>
                <a:gd name="T7" fmla="*/ 0 h 15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83" h="1557">
                  <a:moveTo>
                    <a:pt x="1683" y="0"/>
                  </a:moveTo>
                  <a:lnTo>
                    <a:pt x="1683" y="1557"/>
                  </a:lnTo>
                  <a:lnTo>
                    <a:pt x="0" y="1557"/>
                  </a:lnTo>
                  <a:lnTo>
                    <a:pt x="1683" y="0"/>
                  </a:lnTo>
                  <a:close/>
                </a:path>
              </a:pathLst>
            </a:custGeom>
            <a:solidFill>
              <a:srgbClr val="46AC4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D90438BC-8331-4485-AAF9-AC8AC7FEDF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03" y="3983"/>
              <a:ext cx="40" cy="173"/>
            </a:xfrm>
            <a:custGeom>
              <a:avLst/>
              <a:gdLst>
                <a:gd name="T0" fmla="*/ 360 w 360"/>
                <a:gd name="T1" fmla="*/ 0 h 1557"/>
                <a:gd name="T2" fmla="*/ 360 w 360"/>
                <a:gd name="T3" fmla="*/ 1557 h 1557"/>
                <a:gd name="T4" fmla="*/ 0 w 360"/>
                <a:gd name="T5" fmla="*/ 1557 h 1557"/>
                <a:gd name="T6" fmla="*/ 0 w 360"/>
                <a:gd name="T7" fmla="*/ 333 h 1557"/>
                <a:gd name="T8" fmla="*/ 360 w 360"/>
                <a:gd name="T9" fmla="*/ 0 h 15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0" h="1557">
                  <a:moveTo>
                    <a:pt x="360" y="0"/>
                  </a:moveTo>
                  <a:lnTo>
                    <a:pt x="360" y="1557"/>
                  </a:lnTo>
                  <a:lnTo>
                    <a:pt x="0" y="1557"/>
                  </a:lnTo>
                  <a:lnTo>
                    <a:pt x="0" y="333"/>
                  </a:lnTo>
                  <a:lnTo>
                    <a:pt x="360" y="0"/>
                  </a:lnTo>
                  <a:close/>
                </a:path>
              </a:pathLst>
            </a:custGeom>
            <a:solidFill>
              <a:srgbClr val="4440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2DFE2DFC-A1B7-4930-A6D5-14FF2033371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956" y="3987"/>
              <a:ext cx="126" cy="169"/>
            </a:xfrm>
            <a:custGeom>
              <a:avLst/>
              <a:gdLst>
                <a:gd name="T0" fmla="*/ 617 w 1134"/>
                <a:gd name="T1" fmla="*/ 553 h 1524"/>
                <a:gd name="T2" fmla="*/ 642 w 1134"/>
                <a:gd name="T3" fmla="*/ 553 h 1524"/>
                <a:gd name="T4" fmla="*/ 692 w 1134"/>
                <a:gd name="T5" fmla="*/ 556 h 1524"/>
                <a:gd name="T6" fmla="*/ 742 w 1134"/>
                <a:gd name="T7" fmla="*/ 561 h 1524"/>
                <a:gd name="T8" fmla="*/ 791 w 1134"/>
                <a:gd name="T9" fmla="*/ 571 h 1524"/>
                <a:gd name="T10" fmla="*/ 815 w 1134"/>
                <a:gd name="T11" fmla="*/ 576 h 1524"/>
                <a:gd name="T12" fmla="*/ 858 w 1134"/>
                <a:gd name="T13" fmla="*/ 590 h 1524"/>
                <a:gd name="T14" fmla="*/ 900 w 1134"/>
                <a:gd name="T15" fmla="*/ 608 h 1524"/>
                <a:gd name="T16" fmla="*/ 940 w 1134"/>
                <a:gd name="T17" fmla="*/ 629 h 1524"/>
                <a:gd name="T18" fmla="*/ 978 w 1134"/>
                <a:gd name="T19" fmla="*/ 654 h 1524"/>
                <a:gd name="T20" fmla="*/ 997 w 1134"/>
                <a:gd name="T21" fmla="*/ 669 h 1524"/>
                <a:gd name="T22" fmla="*/ 1031 w 1134"/>
                <a:gd name="T23" fmla="*/ 703 h 1524"/>
                <a:gd name="T24" fmla="*/ 1061 w 1134"/>
                <a:gd name="T25" fmla="*/ 741 h 1524"/>
                <a:gd name="T26" fmla="*/ 1084 w 1134"/>
                <a:gd name="T27" fmla="*/ 783 h 1524"/>
                <a:gd name="T28" fmla="*/ 1093 w 1134"/>
                <a:gd name="T29" fmla="*/ 806 h 1524"/>
                <a:gd name="T30" fmla="*/ 1111 w 1134"/>
                <a:gd name="T31" fmla="*/ 857 h 1524"/>
                <a:gd name="T32" fmla="*/ 1123 w 1134"/>
                <a:gd name="T33" fmla="*/ 913 h 1524"/>
                <a:gd name="T34" fmla="*/ 1132 w 1134"/>
                <a:gd name="T35" fmla="*/ 974 h 1524"/>
                <a:gd name="T36" fmla="*/ 1134 w 1134"/>
                <a:gd name="T37" fmla="*/ 1039 h 1524"/>
                <a:gd name="T38" fmla="*/ 1134 w 1134"/>
                <a:gd name="T39" fmla="*/ 1072 h 1524"/>
                <a:gd name="T40" fmla="*/ 1129 w 1134"/>
                <a:gd name="T41" fmla="*/ 1135 h 1524"/>
                <a:gd name="T42" fmla="*/ 1118 w 1134"/>
                <a:gd name="T43" fmla="*/ 1193 h 1524"/>
                <a:gd name="T44" fmla="*/ 1102 w 1134"/>
                <a:gd name="T45" fmla="*/ 1246 h 1524"/>
                <a:gd name="T46" fmla="*/ 1093 w 1134"/>
                <a:gd name="T47" fmla="*/ 1271 h 1524"/>
                <a:gd name="T48" fmla="*/ 1072 w 1134"/>
                <a:gd name="T49" fmla="*/ 1315 h 1524"/>
                <a:gd name="T50" fmla="*/ 1046 w 1134"/>
                <a:gd name="T51" fmla="*/ 1355 h 1524"/>
                <a:gd name="T52" fmla="*/ 1015 w 1134"/>
                <a:gd name="T53" fmla="*/ 1392 h 1524"/>
                <a:gd name="T54" fmla="*/ 978 w 1134"/>
                <a:gd name="T55" fmla="*/ 1423 h 1524"/>
                <a:gd name="T56" fmla="*/ 959 w 1134"/>
                <a:gd name="T57" fmla="*/ 1436 h 1524"/>
                <a:gd name="T58" fmla="*/ 920 w 1134"/>
                <a:gd name="T59" fmla="*/ 1459 h 1524"/>
                <a:gd name="T60" fmla="*/ 879 w 1134"/>
                <a:gd name="T61" fmla="*/ 1479 h 1524"/>
                <a:gd name="T62" fmla="*/ 836 w 1134"/>
                <a:gd name="T63" fmla="*/ 1494 h 1524"/>
                <a:gd name="T64" fmla="*/ 815 w 1134"/>
                <a:gd name="T65" fmla="*/ 1500 h 1524"/>
                <a:gd name="T66" fmla="*/ 766 w 1134"/>
                <a:gd name="T67" fmla="*/ 1511 h 1524"/>
                <a:gd name="T68" fmla="*/ 717 w 1134"/>
                <a:gd name="T69" fmla="*/ 1519 h 1524"/>
                <a:gd name="T70" fmla="*/ 667 w 1134"/>
                <a:gd name="T71" fmla="*/ 1523 h 1524"/>
                <a:gd name="T72" fmla="*/ 617 w 1134"/>
                <a:gd name="T73" fmla="*/ 1524 h 1524"/>
                <a:gd name="T74" fmla="*/ 0 w 1134"/>
                <a:gd name="T75" fmla="*/ 0 h 1524"/>
                <a:gd name="T76" fmla="*/ 1020 w 1134"/>
                <a:gd name="T77" fmla="*/ 342 h 1524"/>
                <a:gd name="T78" fmla="*/ 342 w 1134"/>
                <a:gd name="T79" fmla="*/ 553 h 1524"/>
                <a:gd name="T80" fmla="*/ 616 w 1134"/>
                <a:gd name="T81" fmla="*/ 1207 h 1524"/>
                <a:gd name="T82" fmla="*/ 636 w 1134"/>
                <a:gd name="T83" fmla="*/ 1207 h 1524"/>
                <a:gd name="T84" fmla="*/ 670 w 1134"/>
                <a:gd name="T85" fmla="*/ 1202 h 1524"/>
                <a:gd name="T86" fmla="*/ 701 w 1134"/>
                <a:gd name="T87" fmla="*/ 1193 h 1524"/>
                <a:gd name="T88" fmla="*/ 726 w 1134"/>
                <a:gd name="T89" fmla="*/ 1178 h 1524"/>
                <a:gd name="T90" fmla="*/ 746 w 1134"/>
                <a:gd name="T91" fmla="*/ 1158 h 1524"/>
                <a:gd name="T92" fmla="*/ 760 w 1134"/>
                <a:gd name="T93" fmla="*/ 1134 h 1524"/>
                <a:gd name="T94" fmla="*/ 770 w 1134"/>
                <a:gd name="T95" fmla="*/ 1106 h 1524"/>
                <a:gd name="T96" fmla="*/ 775 w 1134"/>
                <a:gd name="T97" fmla="*/ 1071 h 1524"/>
                <a:gd name="T98" fmla="*/ 776 w 1134"/>
                <a:gd name="T99" fmla="*/ 1052 h 1524"/>
                <a:gd name="T100" fmla="*/ 773 w 1134"/>
                <a:gd name="T101" fmla="*/ 1017 h 1524"/>
                <a:gd name="T102" fmla="*/ 766 w 1134"/>
                <a:gd name="T103" fmla="*/ 985 h 1524"/>
                <a:gd name="T104" fmla="*/ 753 w 1134"/>
                <a:gd name="T105" fmla="*/ 958 h 1524"/>
                <a:gd name="T106" fmla="*/ 736 w 1134"/>
                <a:gd name="T107" fmla="*/ 936 h 1524"/>
                <a:gd name="T108" fmla="*/ 713 w 1134"/>
                <a:gd name="T109" fmla="*/ 919 h 1524"/>
                <a:gd name="T110" fmla="*/ 686 w 1134"/>
                <a:gd name="T111" fmla="*/ 907 h 1524"/>
                <a:gd name="T112" fmla="*/ 654 w 1134"/>
                <a:gd name="T113" fmla="*/ 900 h 1524"/>
                <a:gd name="T114" fmla="*/ 616 w 1134"/>
                <a:gd name="T115" fmla="*/ 897 h 1524"/>
                <a:gd name="T116" fmla="*/ 342 w 1134"/>
                <a:gd name="T117" fmla="*/ 1207 h 1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134" h="1524">
                  <a:moveTo>
                    <a:pt x="342" y="553"/>
                  </a:moveTo>
                  <a:lnTo>
                    <a:pt x="617" y="553"/>
                  </a:lnTo>
                  <a:lnTo>
                    <a:pt x="617" y="553"/>
                  </a:lnTo>
                  <a:lnTo>
                    <a:pt x="642" y="553"/>
                  </a:lnTo>
                  <a:lnTo>
                    <a:pt x="667" y="554"/>
                  </a:lnTo>
                  <a:lnTo>
                    <a:pt x="692" y="556"/>
                  </a:lnTo>
                  <a:lnTo>
                    <a:pt x="717" y="558"/>
                  </a:lnTo>
                  <a:lnTo>
                    <a:pt x="742" y="561"/>
                  </a:lnTo>
                  <a:lnTo>
                    <a:pt x="766" y="566"/>
                  </a:lnTo>
                  <a:lnTo>
                    <a:pt x="791" y="571"/>
                  </a:lnTo>
                  <a:lnTo>
                    <a:pt x="815" y="576"/>
                  </a:lnTo>
                  <a:lnTo>
                    <a:pt x="815" y="576"/>
                  </a:lnTo>
                  <a:lnTo>
                    <a:pt x="837" y="582"/>
                  </a:lnTo>
                  <a:lnTo>
                    <a:pt x="858" y="590"/>
                  </a:lnTo>
                  <a:lnTo>
                    <a:pt x="880" y="598"/>
                  </a:lnTo>
                  <a:lnTo>
                    <a:pt x="900" y="608"/>
                  </a:lnTo>
                  <a:lnTo>
                    <a:pt x="920" y="618"/>
                  </a:lnTo>
                  <a:lnTo>
                    <a:pt x="940" y="629"/>
                  </a:lnTo>
                  <a:lnTo>
                    <a:pt x="959" y="641"/>
                  </a:lnTo>
                  <a:lnTo>
                    <a:pt x="978" y="654"/>
                  </a:lnTo>
                  <a:lnTo>
                    <a:pt x="978" y="654"/>
                  </a:lnTo>
                  <a:lnTo>
                    <a:pt x="997" y="669"/>
                  </a:lnTo>
                  <a:lnTo>
                    <a:pt x="1015" y="685"/>
                  </a:lnTo>
                  <a:lnTo>
                    <a:pt x="1031" y="703"/>
                  </a:lnTo>
                  <a:lnTo>
                    <a:pt x="1047" y="722"/>
                  </a:lnTo>
                  <a:lnTo>
                    <a:pt x="1061" y="741"/>
                  </a:lnTo>
                  <a:lnTo>
                    <a:pt x="1073" y="762"/>
                  </a:lnTo>
                  <a:lnTo>
                    <a:pt x="1084" y="783"/>
                  </a:lnTo>
                  <a:lnTo>
                    <a:pt x="1093" y="806"/>
                  </a:lnTo>
                  <a:lnTo>
                    <a:pt x="1093" y="806"/>
                  </a:lnTo>
                  <a:lnTo>
                    <a:pt x="1102" y="831"/>
                  </a:lnTo>
                  <a:lnTo>
                    <a:pt x="1111" y="857"/>
                  </a:lnTo>
                  <a:lnTo>
                    <a:pt x="1118" y="884"/>
                  </a:lnTo>
                  <a:lnTo>
                    <a:pt x="1123" y="913"/>
                  </a:lnTo>
                  <a:lnTo>
                    <a:pt x="1129" y="942"/>
                  </a:lnTo>
                  <a:lnTo>
                    <a:pt x="1132" y="974"/>
                  </a:lnTo>
                  <a:lnTo>
                    <a:pt x="1134" y="1005"/>
                  </a:lnTo>
                  <a:lnTo>
                    <a:pt x="1134" y="1039"/>
                  </a:lnTo>
                  <a:lnTo>
                    <a:pt x="1134" y="1039"/>
                  </a:lnTo>
                  <a:lnTo>
                    <a:pt x="1134" y="1072"/>
                  </a:lnTo>
                  <a:lnTo>
                    <a:pt x="1132" y="1104"/>
                  </a:lnTo>
                  <a:lnTo>
                    <a:pt x="1129" y="1135"/>
                  </a:lnTo>
                  <a:lnTo>
                    <a:pt x="1123" y="1164"/>
                  </a:lnTo>
                  <a:lnTo>
                    <a:pt x="1118" y="1193"/>
                  </a:lnTo>
                  <a:lnTo>
                    <a:pt x="1111" y="1220"/>
                  </a:lnTo>
                  <a:lnTo>
                    <a:pt x="1102" y="1246"/>
                  </a:lnTo>
                  <a:lnTo>
                    <a:pt x="1093" y="1271"/>
                  </a:lnTo>
                  <a:lnTo>
                    <a:pt x="1093" y="1271"/>
                  </a:lnTo>
                  <a:lnTo>
                    <a:pt x="1084" y="1293"/>
                  </a:lnTo>
                  <a:lnTo>
                    <a:pt x="1072" y="1315"/>
                  </a:lnTo>
                  <a:lnTo>
                    <a:pt x="1061" y="1335"/>
                  </a:lnTo>
                  <a:lnTo>
                    <a:pt x="1046" y="1355"/>
                  </a:lnTo>
                  <a:lnTo>
                    <a:pt x="1031" y="1374"/>
                  </a:lnTo>
                  <a:lnTo>
                    <a:pt x="1015" y="1392"/>
                  </a:lnTo>
                  <a:lnTo>
                    <a:pt x="997" y="1408"/>
                  </a:lnTo>
                  <a:lnTo>
                    <a:pt x="978" y="1423"/>
                  </a:lnTo>
                  <a:lnTo>
                    <a:pt x="978" y="1423"/>
                  </a:lnTo>
                  <a:lnTo>
                    <a:pt x="959" y="1436"/>
                  </a:lnTo>
                  <a:lnTo>
                    <a:pt x="940" y="1447"/>
                  </a:lnTo>
                  <a:lnTo>
                    <a:pt x="920" y="1459"/>
                  </a:lnTo>
                  <a:lnTo>
                    <a:pt x="900" y="1469"/>
                  </a:lnTo>
                  <a:lnTo>
                    <a:pt x="879" y="1479"/>
                  </a:lnTo>
                  <a:lnTo>
                    <a:pt x="858" y="1486"/>
                  </a:lnTo>
                  <a:lnTo>
                    <a:pt x="836" y="1494"/>
                  </a:lnTo>
                  <a:lnTo>
                    <a:pt x="815" y="1500"/>
                  </a:lnTo>
                  <a:lnTo>
                    <a:pt x="815" y="1500"/>
                  </a:lnTo>
                  <a:lnTo>
                    <a:pt x="790" y="1506"/>
                  </a:lnTo>
                  <a:lnTo>
                    <a:pt x="766" y="1511"/>
                  </a:lnTo>
                  <a:lnTo>
                    <a:pt x="742" y="1516"/>
                  </a:lnTo>
                  <a:lnTo>
                    <a:pt x="717" y="1519"/>
                  </a:lnTo>
                  <a:lnTo>
                    <a:pt x="691" y="1521"/>
                  </a:lnTo>
                  <a:lnTo>
                    <a:pt x="667" y="1523"/>
                  </a:lnTo>
                  <a:lnTo>
                    <a:pt x="642" y="1524"/>
                  </a:lnTo>
                  <a:lnTo>
                    <a:pt x="617" y="1524"/>
                  </a:lnTo>
                  <a:lnTo>
                    <a:pt x="0" y="1524"/>
                  </a:lnTo>
                  <a:lnTo>
                    <a:pt x="0" y="0"/>
                  </a:lnTo>
                  <a:lnTo>
                    <a:pt x="1020" y="0"/>
                  </a:lnTo>
                  <a:lnTo>
                    <a:pt x="1020" y="342"/>
                  </a:lnTo>
                  <a:lnTo>
                    <a:pt x="342" y="342"/>
                  </a:lnTo>
                  <a:lnTo>
                    <a:pt x="342" y="553"/>
                  </a:lnTo>
                  <a:close/>
                  <a:moveTo>
                    <a:pt x="342" y="1207"/>
                  </a:moveTo>
                  <a:lnTo>
                    <a:pt x="616" y="1207"/>
                  </a:lnTo>
                  <a:lnTo>
                    <a:pt x="616" y="1207"/>
                  </a:lnTo>
                  <a:lnTo>
                    <a:pt x="636" y="1207"/>
                  </a:lnTo>
                  <a:lnTo>
                    <a:pt x="654" y="1205"/>
                  </a:lnTo>
                  <a:lnTo>
                    <a:pt x="670" y="1202"/>
                  </a:lnTo>
                  <a:lnTo>
                    <a:pt x="686" y="1198"/>
                  </a:lnTo>
                  <a:lnTo>
                    <a:pt x="701" y="1193"/>
                  </a:lnTo>
                  <a:lnTo>
                    <a:pt x="713" y="1185"/>
                  </a:lnTo>
                  <a:lnTo>
                    <a:pt x="726" y="1178"/>
                  </a:lnTo>
                  <a:lnTo>
                    <a:pt x="736" y="1169"/>
                  </a:lnTo>
                  <a:lnTo>
                    <a:pt x="746" y="1158"/>
                  </a:lnTo>
                  <a:lnTo>
                    <a:pt x="753" y="1147"/>
                  </a:lnTo>
                  <a:lnTo>
                    <a:pt x="760" y="1134"/>
                  </a:lnTo>
                  <a:lnTo>
                    <a:pt x="766" y="1120"/>
                  </a:lnTo>
                  <a:lnTo>
                    <a:pt x="770" y="1106"/>
                  </a:lnTo>
                  <a:lnTo>
                    <a:pt x="773" y="1089"/>
                  </a:lnTo>
                  <a:lnTo>
                    <a:pt x="775" y="1071"/>
                  </a:lnTo>
                  <a:lnTo>
                    <a:pt x="776" y="1052"/>
                  </a:lnTo>
                  <a:lnTo>
                    <a:pt x="776" y="1052"/>
                  </a:lnTo>
                  <a:lnTo>
                    <a:pt x="775" y="1033"/>
                  </a:lnTo>
                  <a:lnTo>
                    <a:pt x="773" y="1017"/>
                  </a:lnTo>
                  <a:lnTo>
                    <a:pt x="770" y="1000"/>
                  </a:lnTo>
                  <a:lnTo>
                    <a:pt x="766" y="985"/>
                  </a:lnTo>
                  <a:lnTo>
                    <a:pt x="760" y="970"/>
                  </a:lnTo>
                  <a:lnTo>
                    <a:pt x="753" y="958"/>
                  </a:lnTo>
                  <a:lnTo>
                    <a:pt x="746" y="946"/>
                  </a:lnTo>
                  <a:lnTo>
                    <a:pt x="736" y="936"/>
                  </a:lnTo>
                  <a:lnTo>
                    <a:pt x="726" y="927"/>
                  </a:lnTo>
                  <a:lnTo>
                    <a:pt x="713" y="919"/>
                  </a:lnTo>
                  <a:lnTo>
                    <a:pt x="701" y="913"/>
                  </a:lnTo>
                  <a:lnTo>
                    <a:pt x="686" y="907"/>
                  </a:lnTo>
                  <a:lnTo>
                    <a:pt x="670" y="903"/>
                  </a:lnTo>
                  <a:lnTo>
                    <a:pt x="654" y="900"/>
                  </a:lnTo>
                  <a:lnTo>
                    <a:pt x="636" y="898"/>
                  </a:lnTo>
                  <a:lnTo>
                    <a:pt x="616" y="897"/>
                  </a:lnTo>
                  <a:lnTo>
                    <a:pt x="342" y="897"/>
                  </a:lnTo>
                  <a:lnTo>
                    <a:pt x="342" y="1207"/>
                  </a:lnTo>
                  <a:close/>
                </a:path>
              </a:pathLst>
            </a:custGeom>
            <a:solidFill>
              <a:srgbClr val="4440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6" name="Date Placeholder 3">
            <a:extLst>
              <a:ext uri="{FF2B5EF4-FFF2-40B4-BE49-F238E27FC236}">
                <a16:creationId xmlns:a16="http://schemas.microsoft.com/office/drawing/2014/main" id="{F86E1E68-65F0-42F3-AC8B-81BC03D0017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677397" y="6463527"/>
            <a:ext cx="1588344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685767" rtl="0" eaLnBrk="1" latinLnBrk="0" hangingPunct="1">
              <a:defRPr lang="en-IN" sz="800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fld id="{C41D3E47-1CF5-451F-8EC4-D0850F3C81DF}" type="datetime4">
              <a:rPr lang="ru-RU" smtClean="0"/>
              <a:t>16 августа 2022 г.</a:t>
            </a:fld>
            <a:endParaRPr lang="en-US" dirty="0"/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12AB705C-4BD9-4F8D-AEE8-D113B33BDB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83077" y="6463527"/>
            <a:ext cx="41148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685767" rtl="0" eaLnBrk="1" latinLnBrk="0" hangingPunct="1">
              <a:defRPr lang="en-IN" sz="8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ru-RU"/>
              <a:t>Название темы</a:t>
            </a:r>
            <a:endParaRPr lang="en-US" dirty="0"/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A6BB2282-22F7-4F3B-90D5-D793AA585D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09601" y="6463527"/>
            <a:ext cx="884088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685767" rtl="0" eaLnBrk="1" latinLnBrk="0" hangingPunct="1">
              <a:defRPr lang="en-IN" sz="800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ru-RU"/>
              <a:t>Страница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3665975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0" r:id="rId1"/>
    <p:sldLayoutId id="2147483911" r:id="rId2"/>
    <p:sldLayoutId id="2147483912" r:id="rId3"/>
    <p:sldLayoutId id="2147483913" r:id="rId4"/>
    <p:sldLayoutId id="2147483920" r:id="rId5"/>
    <p:sldLayoutId id="2147483917" r:id="rId6"/>
    <p:sldLayoutId id="2147483964" r:id="rId7"/>
    <p:sldLayoutId id="2147483923" r:id="rId8"/>
    <p:sldLayoutId id="2147483929" r:id="rId9"/>
    <p:sldLayoutId id="2147483930" r:id="rId10"/>
    <p:sldLayoutId id="2147483924" r:id="rId11"/>
    <p:sldLayoutId id="2147483926" r:id="rId12"/>
    <p:sldLayoutId id="2147483921" r:id="rId13"/>
    <p:sldLayoutId id="2147483922" r:id="rId14"/>
    <p:sldLayoutId id="2147483933" r:id="rId15"/>
    <p:sldLayoutId id="2147483962" r:id="rId16"/>
    <p:sldLayoutId id="2147483937" r:id="rId1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514051" rtl="0" eaLnBrk="1" latinLnBrk="0" hangingPunct="1">
        <a:lnSpc>
          <a:spcPct val="85000"/>
        </a:lnSpc>
        <a:spcBef>
          <a:spcPct val="0"/>
        </a:spcBef>
        <a:buNone/>
        <a:defRPr sz="2400" b="1" kern="1200">
          <a:solidFill>
            <a:srgbClr val="4AA851"/>
          </a:solidFill>
          <a:latin typeface="Montserrat" panose="00000500000000000000" pitchFamily="2" charset="-52"/>
          <a:ea typeface="+mj-ea"/>
          <a:cs typeface="Arial" pitchFamily="34" charset="0"/>
        </a:defRPr>
      </a:lvl1pPr>
    </p:titleStyle>
    <p:bodyStyle>
      <a:lvl1pPr marL="200479" indent="-200479" algn="l" defTabSz="514051" rtl="0" eaLnBrk="1" latinLnBrk="0" hangingPunct="1">
        <a:lnSpc>
          <a:spcPct val="120000"/>
        </a:lnSpc>
        <a:spcBef>
          <a:spcPct val="20000"/>
        </a:spcBef>
        <a:buClr>
          <a:srgbClr val="00B050"/>
        </a:buClr>
        <a:buSzPct val="110000"/>
        <a:buFont typeface="Montserrat Light" panose="00000400000000000000" pitchFamily="2" charset="-52"/>
        <a:buChar char="▶"/>
        <a:defRPr sz="2000" kern="1200">
          <a:solidFill>
            <a:schemeClr val="bg1"/>
          </a:solidFill>
          <a:latin typeface="Montserrat Light" panose="00000400000000000000" pitchFamily="2" charset="-52"/>
          <a:ea typeface="+mn-ea"/>
          <a:cs typeface="+mn-cs"/>
        </a:defRPr>
      </a:lvl1pPr>
      <a:lvl2pPr marL="400959" indent="-200479" algn="l" defTabSz="514051" rtl="0" eaLnBrk="1" latinLnBrk="0" hangingPunct="1">
        <a:lnSpc>
          <a:spcPct val="120000"/>
        </a:lnSpc>
        <a:spcBef>
          <a:spcPct val="20000"/>
        </a:spcBef>
        <a:buClr>
          <a:srgbClr val="00B050"/>
        </a:buClr>
        <a:buSzPct val="110000"/>
        <a:buFont typeface="Montserrat Light" panose="00000400000000000000" pitchFamily="2" charset="-52"/>
        <a:buChar char="▶"/>
        <a:defRPr sz="1800" kern="1200">
          <a:solidFill>
            <a:schemeClr val="bg1"/>
          </a:solidFill>
          <a:latin typeface="Montserrat Light" panose="00000400000000000000" pitchFamily="2" charset="-52"/>
          <a:ea typeface="+mn-ea"/>
          <a:cs typeface="+mn-cs"/>
        </a:defRPr>
      </a:lvl2pPr>
      <a:lvl3pPr marL="601440" indent="-200479" algn="l" defTabSz="514051" rtl="0" eaLnBrk="1" latinLnBrk="0" hangingPunct="1">
        <a:lnSpc>
          <a:spcPct val="120000"/>
        </a:lnSpc>
        <a:spcBef>
          <a:spcPct val="20000"/>
        </a:spcBef>
        <a:buClr>
          <a:srgbClr val="00B050"/>
        </a:buClr>
        <a:buSzPct val="110000"/>
        <a:buFont typeface="Montserrat Light" panose="00000400000000000000" pitchFamily="2" charset="-52"/>
        <a:buChar char="▶"/>
        <a:defRPr sz="1600" kern="1200">
          <a:solidFill>
            <a:schemeClr val="bg1"/>
          </a:solidFill>
          <a:latin typeface="Montserrat Light" panose="00000400000000000000" pitchFamily="2" charset="-52"/>
          <a:ea typeface="+mn-ea"/>
          <a:cs typeface="+mn-cs"/>
        </a:defRPr>
      </a:lvl3pPr>
      <a:lvl4pPr marL="801919" indent="-200479" algn="l" defTabSz="514051" rtl="0" eaLnBrk="1" latinLnBrk="0" hangingPunct="1">
        <a:lnSpc>
          <a:spcPct val="120000"/>
        </a:lnSpc>
        <a:spcBef>
          <a:spcPct val="20000"/>
        </a:spcBef>
        <a:buClr>
          <a:srgbClr val="00B050"/>
        </a:buClr>
        <a:buSzPct val="110000"/>
        <a:buFont typeface="Montserrat Light" panose="00000400000000000000" pitchFamily="2" charset="-52"/>
        <a:buChar char="▶"/>
        <a:defRPr sz="1400" kern="1200">
          <a:solidFill>
            <a:schemeClr val="bg1"/>
          </a:solidFill>
          <a:latin typeface="Montserrat Light" panose="00000400000000000000" pitchFamily="2" charset="-52"/>
          <a:ea typeface="+mn-ea"/>
          <a:cs typeface="+mn-cs"/>
        </a:defRPr>
      </a:lvl4pPr>
      <a:lvl5pPr marL="1002398" indent="-200479" algn="l" defTabSz="514051" rtl="0" eaLnBrk="1" latinLnBrk="0" hangingPunct="1">
        <a:lnSpc>
          <a:spcPct val="120000"/>
        </a:lnSpc>
        <a:spcBef>
          <a:spcPct val="20000"/>
        </a:spcBef>
        <a:buClr>
          <a:srgbClr val="00B050"/>
        </a:buClr>
        <a:buSzPct val="110000"/>
        <a:buFont typeface="Montserrat Light" panose="00000400000000000000" pitchFamily="2" charset="-52"/>
        <a:buChar char="▶"/>
        <a:defRPr sz="1200" kern="1200">
          <a:solidFill>
            <a:schemeClr val="bg1"/>
          </a:solidFill>
          <a:latin typeface="Montserrat Light" panose="00000400000000000000" pitchFamily="2" charset="-52"/>
          <a:ea typeface="+mn-ea"/>
          <a:cs typeface="+mn-cs"/>
        </a:defRPr>
      </a:lvl5pPr>
      <a:lvl6pPr marL="1413638" indent="-128513" algn="l" defTabSz="514051" rtl="0" eaLnBrk="1" latinLnBrk="0" hangingPunct="1">
        <a:spcBef>
          <a:spcPct val="20000"/>
        </a:spcBef>
        <a:buFont typeface="Arial" pitchFamily="34" charset="0"/>
        <a:buChar char="•"/>
        <a:defRPr sz="1124" kern="1200">
          <a:solidFill>
            <a:schemeClr val="tx1"/>
          </a:solidFill>
          <a:latin typeface="+mn-lt"/>
          <a:ea typeface="+mn-ea"/>
          <a:cs typeface="+mn-cs"/>
        </a:defRPr>
      </a:lvl6pPr>
      <a:lvl7pPr marL="1670664" indent="-128513" algn="l" defTabSz="514051" rtl="0" eaLnBrk="1" latinLnBrk="0" hangingPunct="1">
        <a:spcBef>
          <a:spcPct val="20000"/>
        </a:spcBef>
        <a:buFont typeface="Arial" pitchFamily="34" charset="0"/>
        <a:buChar char="•"/>
        <a:defRPr sz="1124" kern="1200">
          <a:solidFill>
            <a:schemeClr val="tx1"/>
          </a:solidFill>
          <a:latin typeface="+mn-lt"/>
          <a:ea typeface="+mn-ea"/>
          <a:cs typeface="+mn-cs"/>
        </a:defRPr>
      </a:lvl7pPr>
      <a:lvl8pPr marL="1927689" indent="-128513" algn="l" defTabSz="514051" rtl="0" eaLnBrk="1" latinLnBrk="0" hangingPunct="1">
        <a:spcBef>
          <a:spcPct val="20000"/>
        </a:spcBef>
        <a:buFont typeface="Arial" pitchFamily="34" charset="0"/>
        <a:buChar char="•"/>
        <a:defRPr sz="1124" kern="1200">
          <a:solidFill>
            <a:schemeClr val="tx1"/>
          </a:solidFill>
          <a:latin typeface="+mn-lt"/>
          <a:ea typeface="+mn-ea"/>
          <a:cs typeface="+mn-cs"/>
        </a:defRPr>
      </a:lvl8pPr>
      <a:lvl9pPr marL="2184713" indent="-128513" algn="l" defTabSz="514051" rtl="0" eaLnBrk="1" latinLnBrk="0" hangingPunct="1">
        <a:spcBef>
          <a:spcPct val="20000"/>
        </a:spcBef>
        <a:buFont typeface="Arial" pitchFamily="34" charset="0"/>
        <a:buChar char="•"/>
        <a:defRPr sz="112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051" rtl="0" eaLnBrk="1" latinLnBrk="0" hangingPunct="1">
        <a:defRPr sz="1012" kern="1200">
          <a:solidFill>
            <a:schemeClr val="tx1"/>
          </a:solidFill>
          <a:latin typeface="+mn-lt"/>
          <a:ea typeface="+mn-ea"/>
          <a:cs typeface="+mn-cs"/>
        </a:defRPr>
      </a:lvl1pPr>
      <a:lvl2pPr marL="257026" algn="l" defTabSz="514051" rtl="0" eaLnBrk="1" latinLnBrk="0" hangingPunct="1">
        <a:defRPr sz="1012" kern="1200">
          <a:solidFill>
            <a:schemeClr val="tx1"/>
          </a:solidFill>
          <a:latin typeface="+mn-lt"/>
          <a:ea typeface="+mn-ea"/>
          <a:cs typeface="+mn-cs"/>
        </a:defRPr>
      </a:lvl2pPr>
      <a:lvl3pPr marL="514051" algn="l" defTabSz="514051" rtl="0" eaLnBrk="1" latinLnBrk="0" hangingPunct="1">
        <a:defRPr sz="1012" kern="1200">
          <a:solidFill>
            <a:schemeClr val="tx1"/>
          </a:solidFill>
          <a:latin typeface="+mn-lt"/>
          <a:ea typeface="+mn-ea"/>
          <a:cs typeface="+mn-cs"/>
        </a:defRPr>
      </a:lvl3pPr>
      <a:lvl4pPr marL="771074" algn="l" defTabSz="514051" rtl="0" eaLnBrk="1" latinLnBrk="0" hangingPunct="1">
        <a:defRPr sz="1012" kern="1200">
          <a:solidFill>
            <a:schemeClr val="tx1"/>
          </a:solidFill>
          <a:latin typeface="+mn-lt"/>
          <a:ea typeface="+mn-ea"/>
          <a:cs typeface="+mn-cs"/>
        </a:defRPr>
      </a:lvl4pPr>
      <a:lvl5pPr marL="1028100" algn="l" defTabSz="514051" rtl="0" eaLnBrk="1" latinLnBrk="0" hangingPunct="1">
        <a:defRPr sz="1012" kern="1200">
          <a:solidFill>
            <a:schemeClr val="tx1"/>
          </a:solidFill>
          <a:latin typeface="+mn-lt"/>
          <a:ea typeface="+mn-ea"/>
          <a:cs typeface="+mn-cs"/>
        </a:defRPr>
      </a:lvl5pPr>
      <a:lvl6pPr marL="1285127" algn="l" defTabSz="514051" rtl="0" eaLnBrk="1" latinLnBrk="0" hangingPunct="1">
        <a:defRPr sz="1012" kern="1200">
          <a:solidFill>
            <a:schemeClr val="tx1"/>
          </a:solidFill>
          <a:latin typeface="+mn-lt"/>
          <a:ea typeface="+mn-ea"/>
          <a:cs typeface="+mn-cs"/>
        </a:defRPr>
      </a:lvl6pPr>
      <a:lvl7pPr marL="1542151" algn="l" defTabSz="514051" rtl="0" eaLnBrk="1" latinLnBrk="0" hangingPunct="1">
        <a:defRPr sz="1012" kern="1200">
          <a:solidFill>
            <a:schemeClr val="tx1"/>
          </a:solidFill>
          <a:latin typeface="+mn-lt"/>
          <a:ea typeface="+mn-ea"/>
          <a:cs typeface="+mn-cs"/>
        </a:defRPr>
      </a:lvl7pPr>
      <a:lvl8pPr marL="1799176" algn="l" defTabSz="514051" rtl="0" eaLnBrk="1" latinLnBrk="0" hangingPunct="1">
        <a:defRPr sz="1012" kern="1200">
          <a:solidFill>
            <a:schemeClr val="tx1"/>
          </a:solidFill>
          <a:latin typeface="+mn-lt"/>
          <a:ea typeface="+mn-ea"/>
          <a:cs typeface="+mn-cs"/>
        </a:defRPr>
      </a:lvl8pPr>
      <a:lvl9pPr marL="2056199" algn="l" defTabSz="514051" rtl="0" eaLnBrk="1" latinLnBrk="0" hangingPunct="1">
        <a:defRPr sz="101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Layout" Target="../slideLayouts/slideLayout27.xml"/><Relationship Id="rId7" Type="http://schemas.openxmlformats.org/officeDocument/2006/relationships/image" Target="../media/image1.emf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microsoft.com/office/2007/relationships/hdphoto" Target="../media/hdphoto1.wdp"/><Relationship Id="rId4" Type="http://schemas.openxmlformats.org/officeDocument/2006/relationships/image" Target="../media/image10.png"/><Relationship Id="rId9" Type="http://schemas.openxmlformats.org/officeDocument/2006/relationships/image" Target="../media/image12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slideLayout" Target="../slideLayouts/slideLayout33.xml"/><Relationship Id="rId7" Type="http://schemas.openxmlformats.org/officeDocument/2006/relationships/image" Target="../media/image12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3.xml"/><Relationship Id="rId7" Type="http://schemas.openxmlformats.org/officeDocument/2006/relationships/image" Target="../media/image14.wmf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3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3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5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3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0.xml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3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8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3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wmf"/><Relationship Id="rId2" Type="http://schemas.openxmlformats.org/officeDocument/2006/relationships/image" Target="../media/image19.wmf"/><Relationship Id="rId1" Type="http://schemas.openxmlformats.org/officeDocument/2006/relationships/slideLayout" Target="../slideLayouts/slideLayout3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47000"/>
                    </a14:imgEffect>
                  </a14:imgLayer>
                </a14:imgProps>
              </a:ext>
            </a:extLst>
          </a:blip>
          <a:srcRect/>
          <a:stretch>
            <a:fillRect t="-12000" b="-1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7D5AB4E-830E-4A58-9844-A9819EB2C95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48929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4"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18">
            <a:extLst>
              <a:ext uri="{FF2B5EF4-FFF2-40B4-BE49-F238E27FC236}">
                <a16:creationId xmlns:a16="http://schemas.microsoft.com/office/drawing/2014/main" id="{147D4BA2-B72D-4B89-8050-9B8CF135735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77794" y="1981200"/>
            <a:ext cx="8972353" cy="1273077"/>
          </a:xfrm>
        </p:spPr>
        <p:txBody>
          <a:bodyPr vert="horz"/>
          <a:lstStyle/>
          <a:p>
            <a:r>
              <a:rPr lang="ru-RU" dirty="0" smtClean="0"/>
              <a:t>Дни ритейла на Балтике</a:t>
            </a:r>
            <a:r>
              <a:rPr lang="ru-RU" dirty="0"/>
              <a:t/>
            </a:r>
            <a:br>
              <a:rPr lang="ru-RU" dirty="0"/>
            </a:br>
            <a:r>
              <a:rPr lang="ru-RU" sz="2800" b="0" dirty="0" smtClean="0"/>
              <a:t>Анализ таможенных рисков для ритейла</a:t>
            </a:r>
            <a:endParaRPr lang="ru-RU" sz="2800" b="0" dirty="0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7FA8996A-2E15-4FD4-B880-D034D4FA9C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7794" y="3091103"/>
            <a:ext cx="5210175" cy="326348"/>
          </a:xfrm>
        </p:spPr>
        <p:txBody>
          <a:bodyPr/>
          <a:lstStyle/>
          <a:p>
            <a:r>
              <a:rPr lang="ru-RU" b="1" dirty="0" smtClean="0"/>
              <a:t>19 августа </a:t>
            </a:r>
            <a:r>
              <a:rPr lang="ru-RU" b="1" dirty="0"/>
              <a:t>2022 </a:t>
            </a:r>
            <a:endParaRPr lang="en-US" b="1" dirty="0"/>
          </a:p>
          <a:p>
            <a:endParaRPr lang="en-US" dirty="0"/>
          </a:p>
        </p:txBody>
      </p:sp>
      <p:sp>
        <p:nvSpPr>
          <p:cNvPr id="12" name="Text Placeholder 19">
            <a:extLst>
              <a:ext uri="{FF2B5EF4-FFF2-40B4-BE49-F238E27FC236}">
                <a16:creationId xmlns:a16="http://schemas.microsoft.com/office/drawing/2014/main" id="{28160560-9493-482F-9925-FEDF27163BA3}"/>
              </a:ext>
            </a:extLst>
          </p:cNvPr>
          <p:cNvSpPr txBox="1">
            <a:spLocks/>
          </p:cNvSpPr>
          <p:nvPr/>
        </p:nvSpPr>
        <p:spPr>
          <a:xfrm>
            <a:off x="2458604" y="4958791"/>
            <a:ext cx="5210175" cy="35964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51405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00B050"/>
              </a:buClr>
              <a:buSzPct val="110000"/>
              <a:buFont typeface="Montserrat Light" panose="00000400000000000000" pitchFamily="2" charset="-52"/>
              <a:buNone/>
              <a:defRPr sz="20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400959" indent="-200479" algn="l" defTabSz="514051" rtl="0" eaLnBrk="1" latinLnBrk="0" hangingPunct="1">
              <a:lnSpc>
                <a:spcPct val="120000"/>
              </a:lnSpc>
              <a:spcBef>
                <a:spcPct val="20000"/>
              </a:spcBef>
              <a:buClr>
                <a:srgbClr val="00B050"/>
              </a:buClr>
              <a:buSzPct val="110000"/>
              <a:buFont typeface="Montserrat Light" panose="00000400000000000000" pitchFamily="2" charset="-52"/>
              <a:buChar char="▶"/>
              <a:defRPr sz="1800" kern="1200">
                <a:solidFill>
                  <a:schemeClr val="bg1"/>
                </a:solidFill>
                <a:latin typeface="Montserrat Light" panose="00000400000000000000" pitchFamily="2" charset="-52"/>
                <a:ea typeface="+mn-ea"/>
                <a:cs typeface="+mn-cs"/>
              </a:defRPr>
            </a:lvl2pPr>
            <a:lvl3pPr marL="601440" indent="-200479" algn="l" defTabSz="514051" rtl="0" eaLnBrk="1" latinLnBrk="0" hangingPunct="1">
              <a:lnSpc>
                <a:spcPct val="120000"/>
              </a:lnSpc>
              <a:spcBef>
                <a:spcPct val="20000"/>
              </a:spcBef>
              <a:buClr>
                <a:srgbClr val="00B050"/>
              </a:buClr>
              <a:buSzPct val="110000"/>
              <a:buFont typeface="Montserrat Light" panose="00000400000000000000" pitchFamily="2" charset="-52"/>
              <a:buChar char="▶"/>
              <a:defRPr sz="1600" kern="1200">
                <a:solidFill>
                  <a:schemeClr val="bg1"/>
                </a:solidFill>
                <a:latin typeface="Montserrat Light" panose="00000400000000000000" pitchFamily="2" charset="-52"/>
                <a:ea typeface="+mn-ea"/>
                <a:cs typeface="+mn-cs"/>
              </a:defRPr>
            </a:lvl3pPr>
            <a:lvl4pPr marL="801919" indent="-200479" algn="l" defTabSz="514051" rtl="0" eaLnBrk="1" latinLnBrk="0" hangingPunct="1">
              <a:lnSpc>
                <a:spcPct val="120000"/>
              </a:lnSpc>
              <a:spcBef>
                <a:spcPct val="20000"/>
              </a:spcBef>
              <a:buClr>
                <a:srgbClr val="00B050"/>
              </a:buClr>
              <a:buSzPct val="110000"/>
              <a:buFont typeface="Montserrat Light" panose="00000400000000000000" pitchFamily="2" charset="-52"/>
              <a:buChar char="▶"/>
              <a:defRPr sz="1400" kern="1200">
                <a:solidFill>
                  <a:schemeClr val="bg1"/>
                </a:solidFill>
                <a:latin typeface="Montserrat Light" panose="00000400000000000000" pitchFamily="2" charset="-52"/>
                <a:ea typeface="+mn-ea"/>
                <a:cs typeface="+mn-cs"/>
              </a:defRPr>
            </a:lvl4pPr>
            <a:lvl5pPr marL="1002398" indent="-200479" algn="l" defTabSz="514051" rtl="0" eaLnBrk="1" latinLnBrk="0" hangingPunct="1">
              <a:lnSpc>
                <a:spcPct val="120000"/>
              </a:lnSpc>
              <a:spcBef>
                <a:spcPct val="20000"/>
              </a:spcBef>
              <a:buClr>
                <a:srgbClr val="00B050"/>
              </a:buClr>
              <a:buSzPct val="110000"/>
              <a:buFont typeface="Montserrat Light" panose="00000400000000000000" pitchFamily="2" charset="-52"/>
              <a:buChar char="▶"/>
              <a:defRPr sz="1200" kern="1200">
                <a:solidFill>
                  <a:schemeClr val="bg1"/>
                </a:solidFill>
                <a:latin typeface="Montserrat Light" panose="00000400000000000000" pitchFamily="2" charset="-52"/>
                <a:ea typeface="+mn-ea"/>
                <a:cs typeface="+mn-cs"/>
              </a:defRPr>
            </a:lvl5pPr>
            <a:lvl6pPr marL="1413638" indent="-128513" algn="l" defTabSz="51405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1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70664" indent="-128513" algn="l" defTabSz="51405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1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927689" indent="-128513" algn="l" defTabSz="51405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1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84713" indent="-128513" algn="l" defTabSz="51405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1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ru-RU" sz="1600" dirty="0" err="1" smtClean="0">
                <a:solidFill>
                  <a:schemeClr val="tx1"/>
                </a:solidFill>
              </a:rPr>
              <a:t>Вильгельмина</a:t>
            </a:r>
            <a:r>
              <a:rPr lang="ru-RU" sz="1600" dirty="0" smtClean="0">
                <a:solidFill>
                  <a:schemeClr val="tx1"/>
                </a:solidFill>
              </a:rPr>
              <a:t> </a:t>
            </a:r>
            <a:r>
              <a:rPr lang="ru-RU" sz="1600" dirty="0" err="1" smtClean="0">
                <a:solidFill>
                  <a:schemeClr val="tx1"/>
                </a:solidFill>
              </a:rPr>
              <a:t>Шавшина</a:t>
            </a:r>
            <a:r>
              <a:rPr lang="ru-RU" sz="1600" dirty="0" smtClean="0">
                <a:solidFill>
                  <a:schemeClr val="tx1"/>
                </a:solidFill>
              </a:rPr>
              <a:t>, партнер, руководитель группы услуг по таможенному регулированию и </a:t>
            </a:r>
            <a:r>
              <a:rPr lang="ru-RU" sz="1600" dirty="0">
                <a:solidFill>
                  <a:schemeClr val="tx1"/>
                </a:solidFill>
              </a:rPr>
              <a:t>международной </a:t>
            </a:r>
            <a:r>
              <a:rPr lang="ru-RU" sz="1600" dirty="0" smtClean="0">
                <a:solidFill>
                  <a:schemeClr val="tx1"/>
                </a:solidFill>
              </a:rPr>
              <a:t>торговле, Б1 </a:t>
            </a:r>
            <a:r>
              <a:rPr lang="ru-RU" sz="1600" dirty="0">
                <a:solidFill>
                  <a:schemeClr val="tx1"/>
                </a:solidFill>
              </a:rPr>
              <a:t>(ранее </a:t>
            </a:r>
            <a:r>
              <a:rPr lang="en-US" sz="1600" dirty="0">
                <a:solidFill>
                  <a:schemeClr val="tx1"/>
                </a:solidFill>
              </a:rPr>
              <a:t>EY</a:t>
            </a:r>
            <a:r>
              <a:rPr lang="en-US" sz="1600" dirty="0" smtClean="0">
                <a:solidFill>
                  <a:schemeClr val="tx1"/>
                </a:solidFill>
              </a:rPr>
              <a:t>)</a:t>
            </a:r>
            <a:r>
              <a:rPr lang="ru-RU" sz="1600" dirty="0" smtClean="0">
                <a:solidFill>
                  <a:schemeClr val="tx1"/>
                </a:solidFill>
              </a:rPr>
              <a:t>, руководитель комитета по таможне и транспорту АЕБ</a:t>
            </a:r>
            <a:endParaRPr lang="en-US" sz="1600" dirty="0">
              <a:solidFill>
                <a:schemeClr val="tx1"/>
              </a:solidFill>
            </a:endParaRPr>
          </a:p>
          <a:p>
            <a:pPr>
              <a:lnSpc>
                <a:spcPct val="100000"/>
              </a:lnSpc>
            </a:pPr>
            <a:endParaRPr lang="en-US" sz="1600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3A59D57-F7AB-4A22-B1D7-4776B2FAA0D2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366" t="18744" r="31612" b="37857"/>
          <a:stretch/>
        </p:blipFill>
        <p:spPr>
          <a:xfrm>
            <a:off x="1215448" y="5084127"/>
            <a:ext cx="962025" cy="962651"/>
          </a:xfrm>
          <a:prstGeom prst="ellipse">
            <a:avLst/>
          </a:prstGeom>
          <a:ln>
            <a:solidFill>
              <a:srgbClr val="4AA851"/>
            </a:solidFill>
          </a:ln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982200" y="4191000"/>
            <a:ext cx="1985087" cy="2389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9734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ASE STUDY</a:t>
            </a:r>
            <a:r>
              <a:rPr lang="ru-RU" dirty="0" smtClean="0"/>
              <a:t>: Таможенная проверка лицензионной структуры производителя в Калининграде</a:t>
            </a:r>
            <a:endParaRPr lang="ru-RU" dirty="0"/>
          </a:p>
        </p:txBody>
      </p:sp>
      <p:sp>
        <p:nvSpPr>
          <p:cNvPr id="19" name="Rectangle: Rounded Corners 106">
            <a:extLst>
              <a:ext uri="{FF2B5EF4-FFF2-40B4-BE49-F238E27FC236}">
                <a16:creationId xmlns:a16="http://schemas.microsoft.com/office/drawing/2014/main" id="{78DAF205-D6CA-4436-BB62-2681B67BE047}"/>
              </a:ext>
            </a:extLst>
          </p:cNvPr>
          <p:cNvSpPr/>
          <p:nvPr/>
        </p:nvSpPr>
        <p:spPr>
          <a:xfrm>
            <a:off x="1883705" y="1936728"/>
            <a:ext cx="1202441" cy="640080"/>
          </a:xfrm>
          <a:prstGeom prst="roundRect">
            <a:avLst>
              <a:gd name="adj" fmla="val 16667"/>
            </a:avLst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 anchorCtr="0"/>
          <a:lstStyle/>
          <a:p>
            <a:pPr algn="ctr"/>
            <a:r>
              <a:rPr lang="ru-RU" sz="1200" dirty="0">
                <a:solidFill>
                  <a:schemeClr val="tx1"/>
                </a:solidFill>
                <a:latin typeface="+mj-lt"/>
              </a:rPr>
              <a:t>Продавец / </a:t>
            </a:r>
            <a:r>
              <a:rPr lang="ru-RU" sz="1200" dirty="0" smtClean="0">
                <a:solidFill>
                  <a:schemeClr val="tx1"/>
                </a:solidFill>
                <a:latin typeface="+mj-lt"/>
              </a:rPr>
              <a:t>Лицензиар (ЕС)</a:t>
            </a:r>
            <a:endParaRPr lang="en-US" sz="12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0" name="Rectangle: Rounded Corners 107">
            <a:extLst>
              <a:ext uri="{FF2B5EF4-FFF2-40B4-BE49-F238E27FC236}">
                <a16:creationId xmlns:a16="http://schemas.microsoft.com/office/drawing/2014/main" id="{B29017F5-0D1D-45B1-A0E2-F82E803A26AA}"/>
              </a:ext>
            </a:extLst>
          </p:cNvPr>
          <p:cNvSpPr/>
          <p:nvPr/>
        </p:nvSpPr>
        <p:spPr>
          <a:xfrm>
            <a:off x="5070612" y="1928340"/>
            <a:ext cx="1887525" cy="640080"/>
          </a:xfrm>
          <a:prstGeom prst="round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 anchorCtr="0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+mj-lt"/>
              </a:rPr>
              <a:t>Компания – производитель (Калининград)</a:t>
            </a:r>
            <a:endParaRPr lang="en-US" sz="1200" dirty="0">
              <a:solidFill>
                <a:schemeClr val="tx1"/>
              </a:solidFill>
              <a:latin typeface="+mj-lt"/>
            </a:endParaRP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45F8DFA8-73B3-419A-B39B-AFECC37232D8}"/>
              </a:ext>
            </a:extLst>
          </p:cNvPr>
          <p:cNvCxnSpPr>
            <a:cxnSpLocks/>
            <a:stCxn id="19" idx="3"/>
            <a:endCxn id="20" idx="1"/>
          </p:cNvCxnSpPr>
          <p:nvPr/>
        </p:nvCxnSpPr>
        <p:spPr>
          <a:xfrm flipV="1">
            <a:off x="3086146" y="2248380"/>
            <a:ext cx="1984466" cy="8388"/>
          </a:xfrm>
          <a:prstGeom prst="straightConnector1">
            <a:avLst/>
          </a:prstGeom>
          <a:ln w="381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ctor: Elbow 109">
            <a:extLst>
              <a:ext uri="{FF2B5EF4-FFF2-40B4-BE49-F238E27FC236}">
                <a16:creationId xmlns:a16="http://schemas.microsoft.com/office/drawing/2014/main" id="{169DB6F3-9180-4D99-93D5-F03D8BAF025C}"/>
              </a:ext>
            </a:extLst>
          </p:cNvPr>
          <p:cNvCxnSpPr>
            <a:cxnSpLocks/>
            <a:stCxn id="19" idx="0"/>
            <a:endCxn id="20" idx="0"/>
          </p:cNvCxnSpPr>
          <p:nvPr/>
        </p:nvCxnSpPr>
        <p:spPr>
          <a:xfrm rot="5400000" flipH="1" flipV="1">
            <a:off x="4245456" y="167810"/>
            <a:ext cx="8388" cy="3529449"/>
          </a:xfrm>
          <a:prstGeom prst="bentConnector3">
            <a:avLst>
              <a:gd name="adj1" fmla="val 2825322"/>
            </a:avLst>
          </a:prstGeom>
          <a:ln w="38100">
            <a:solidFill>
              <a:schemeClr val="bg1">
                <a:lumMod val="40000"/>
                <a:lumOff val="6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: Rounded Corners 111">
            <a:extLst>
              <a:ext uri="{FF2B5EF4-FFF2-40B4-BE49-F238E27FC236}">
                <a16:creationId xmlns:a16="http://schemas.microsoft.com/office/drawing/2014/main" id="{AA8C2E8C-7F2F-44B9-BCD6-6269DB5416EE}"/>
              </a:ext>
            </a:extLst>
          </p:cNvPr>
          <p:cNvSpPr/>
          <p:nvPr/>
        </p:nvSpPr>
        <p:spPr>
          <a:xfrm>
            <a:off x="8150284" y="1928339"/>
            <a:ext cx="1780153" cy="793785"/>
          </a:xfrm>
          <a:prstGeom prst="roundRect">
            <a:avLst>
              <a:gd name="adj" fmla="val 16667"/>
            </a:avLst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 anchorCtr="0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+mj-lt"/>
              </a:rPr>
              <a:t>Покупатели готовой продукции (РФ/РБ/РА/РК)</a:t>
            </a:r>
            <a:endParaRPr lang="en-US" sz="1200" dirty="0">
              <a:solidFill>
                <a:schemeClr val="tx1"/>
              </a:solidFill>
              <a:latin typeface="+mj-lt"/>
            </a:endParaRPr>
          </a:p>
        </p:txBody>
      </p:sp>
      <p:cxnSp>
        <p:nvCxnSpPr>
          <p:cNvPr id="25" name="Connector: Elbow 112">
            <a:extLst>
              <a:ext uri="{FF2B5EF4-FFF2-40B4-BE49-F238E27FC236}">
                <a16:creationId xmlns:a16="http://schemas.microsoft.com/office/drawing/2014/main" id="{6688A30D-300E-41E9-9271-1DC4700DC3EB}"/>
              </a:ext>
            </a:extLst>
          </p:cNvPr>
          <p:cNvCxnSpPr>
            <a:cxnSpLocks/>
            <a:stCxn id="20" idx="3"/>
            <a:endCxn id="24" idx="0"/>
          </p:cNvCxnSpPr>
          <p:nvPr/>
        </p:nvCxnSpPr>
        <p:spPr>
          <a:xfrm flipV="1">
            <a:off x="6958137" y="1928339"/>
            <a:ext cx="2082224" cy="320041"/>
          </a:xfrm>
          <a:prstGeom prst="bentConnector4">
            <a:avLst>
              <a:gd name="adj1" fmla="val 28627"/>
              <a:gd name="adj2" fmla="val 171428"/>
            </a:avLst>
          </a:prstGeom>
          <a:ln w="381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 25">
            <a:extLst>
              <a:ext uri="{FF2B5EF4-FFF2-40B4-BE49-F238E27FC236}">
                <a16:creationId xmlns:a16="http://schemas.microsoft.com/office/drawing/2014/main" id="{FF5F530B-D80A-4202-B0C2-5EFC67AD492D}"/>
              </a:ext>
            </a:extLst>
          </p:cNvPr>
          <p:cNvSpPr/>
          <p:nvPr/>
        </p:nvSpPr>
        <p:spPr>
          <a:xfrm>
            <a:off x="3344327" y="2024652"/>
            <a:ext cx="1205903" cy="577081"/>
          </a:xfrm>
          <a:prstGeom prst="rect">
            <a:avLst/>
          </a:prstGeom>
          <a:solidFill>
            <a:schemeClr val="tx1"/>
          </a:solidFill>
        </p:spPr>
        <p:txBody>
          <a:bodyPr wrap="square">
            <a:spAutoFit/>
          </a:bodyPr>
          <a:lstStyle/>
          <a:p>
            <a:pPr algn="ctr"/>
            <a:r>
              <a:rPr lang="ru-RU" sz="1050" b="1" i="1" dirty="0" smtClean="0">
                <a:solidFill>
                  <a:srgbClr val="4AA851"/>
                </a:solidFill>
                <a:latin typeface="+mj-lt"/>
              </a:rPr>
              <a:t>Сырье </a:t>
            </a:r>
            <a:r>
              <a:rPr lang="ru-RU" sz="1050" b="1" i="1" dirty="0">
                <a:solidFill>
                  <a:srgbClr val="4AA851"/>
                </a:solidFill>
                <a:latin typeface="+mj-lt"/>
              </a:rPr>
              <a:t>для </a:t>
            </a:r>
            <a:r>
              <a:rPr lang="ru-RU" sz="1050" b="1" i="1" dirty="0" smtClean="0">
                <a:solidFill>
                  <a:srgbClr val="4AA851"/>
                </a:solidFill>
                <a:latin typeface="+mj-lt"/>
              </a:rPr>
              <a:t>производства</a:t>
            </a:r>
            <a:endParaRPr lang="en-US" sz="1050" b="1" i="1" dirty="0">
              <a:solidFill>
                <a:srgbClr val="4AA851"/>
              </a:solidFill>
              <a:latin typeface="+mj-lt"/>
            </a:endParaRPr>
          </a:p>
        </p:txBody>
      </p:sp>
      <p:cxnSp>
        <p:nvCxnSpPr>
          <p:cNvPr id="28" name="Connector: Elbow 115">
            <a:extLst>
              <a:ext uri="{FF2B5EF4-FFF2-40B4-BE49-F238E27FC236}">
                <a16:creationId xmlns:a16="http://schemas.microsoft.com/office/drawing/2014/main" id="{F5DF3A61-AD90-4335-AAFE-6EF06A634169}"/>
              </a:ext>
            </a:extLst>
          </p:cNvPr>
          <p:cNvCxnSpPr>
            <a:cxnSpLocks/>
            <a:stCxn id="29" idx="2"/>
            <a:endCxn id="19" idx="2"/>
          </p:cNvCxnSpPr>
          <p:nvPr/>
        </p:nvCxnSpPr>
        <p:spPr>
          <a:xfrm rot="5400000" flipH="1">
            <a:off x="4338011" y="723723"/>
            <a:ext cx="12317" cy="3718488"/>
          </a:xfrm>
          <a:prstGeom prst="bentConnector3">
            <a:avLst>
              <a:gd name="adj1" fmla="val -1855971"/>
            </a:avLst>
          </a:prstGeom>
          <a:ln w="38100">
            <a:solidFill>
              <a:schemeClr val="bg1">
                <a:lumMod val="40000"/>
                <a:lumOff val="60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: Rounded Corners 116">
            <a:extLst>
              <a:ext uri="{FF2B5EF4-FFF2-40B4-BE49-F238E27FC236}">
                <a16:creationId xmlns:a16="http://schemas.microsoft.com/office/drawing/2014/main" id="{27692669-59A5-48D7-A442-E9A5197903DD}"/>
              </a:ext>
            </a:extLst>
          </p:cNvPr>
          <p:cNvSpPr/>
          <p:nvPr/>
        </p:nvSpPr>
        <p:spPr>
          <a:xfrm>
            <a:off x="5828292" y="1949045"/>
            <a:ext cx="750244" cy="640080"/>
          </a:xfrm>
          <a:prstGeom prst="roundRect">
            <a:avLst/>
          </a:prstGeom>
          <a:noFill/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 anchorCtr="0"/>
          <a:lstStyle/>
          <a:p>
            <a:pPr algn="ctr"/>
            <a:endParaRPr lang="en-US" sz="1400">
              <a:solidFill>
                <a:schemeClr val="bg2"/>
              </a:solidFill>
              <a:latin typeface="+mj-l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27A8357-B5E8-42EF-9FDE-1D6D29E84304}"/>
              </a:ext>
            </a:extLst>
          </p:cNvPr>
          <p:cNvSpPr/>
          <p:nvPr/>
        </p:nvSpPr>
        <p:spPr>
          <a:xfrm>
            <a:off x="3156096" y="2845470"/>
            <a:ext cx="2187108" cy="600164"/>
          </a:xfrm>
          <a:prstGeom prst="rect">
            <a:avLst/>
          </a:prstGeom>
          <a:solidFill>
            <a:schemeClr val="tx1"/>
          </a:solidFill>
        </p:spPr>
        <p:txBody>
          <a:bodyPr wrap="square">
            <a:spAutoFit/>
          </a:bodyPr>
          <a:lstStyle/>
          <a:p>
            <a:pPr algn="ctr"/>
            <a:r>
              <a:rPr lang="ru-RU" sz="1100" i="1" dirty="0" smtClean="0">
                <a:solidFill>
                  <a:schemeClr val="bg2"/>
                </a:solidFill>
                <a:latin typeface="+mj-lt"/>
              </a:rPr>
              <a:t>Роялти за товарный знак (</a:t>
            </a:r>
            <a:r>
              <a:rPr lang="ru-RU" sz="1100" dirty="0" smtClean="0">
                <a:solidFill>
                  <a:schemeClr val="bg1"/>
                </a:solidFill>
                <a:latin typeface="+mj-lt"/>
              </a:rPr>
              <a:t>х % </a:t>
            </a:r>
            <a:r>
              <a:rPr lang="ru-RU" sz="1100" dirty="0">
                <a:solidFill>
                  <a:schemeClr val="bg1"/>
                </a:solidFill>
                <a:latin typeface="+mj-lt"/>
              </a:rPr>
              <a:t>от продажной цены </a:t>
            </a:r>
            <a:r>
              <a:rPr lang="ru-RU" sz="1100" dirty="0" smtClean="0">
                <a:solidFill>
                  <a:schemeClr val="bg1"/>
                </a:solidFill>
                <a:latin typeface="+mj-lt"/>
              </a:rPr>
              <a:t>готовой продукции)</a:t>
            </a:r>
            <a:endParaRPr lang="ru-RU" sz="11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1" name="Rectangle: Rounded Corners 118">
            <a:extLst>
              <a:ext uri="{FF2B5EF4-FFF2-40B4-BE49-F238E27FC236}">
                <a16:creationId xmlns:a16="http://schemas.microsoft.com/office/drawing/2014/main" id="{93B09CAA-6986-4C73-985B-312A7D02A702}"/>
              </a:ext>
            </a:extLst>
          </p:cNvPr>
          <p:cNvSpPr/>
          <p:nvPr/>
        </p:nvSpPr>
        <p:spPr>
          <a:xfrm>
            <a:off x="1648691" y="1198125"/>
            <a:ext cx="8433647" cy="2286000"/>
          </a:xfrm>
          <a:prstGeom prst="roundRect">
            <a:avLst>
              <a:gd name="adj" fmla="val 7141"/>
            </a:avLst>
          </a:prstGeom>
          <a:noFill/>
          <a:ln w="9525">
            <a:solidFill>
              <a:srgbClr val="C4C4CD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9A2A975F-A4AD-479C-AF2F-336C07C8D564}"/>
              </a:ext>
            </a:extLst>
          </p:cNvPr>
          <p:cNvSpPr/>
          <p:nvPr/>
        </p:nvSpPr>
        <p:spPr>
          <a:xfrm>
            <a:off x="285044" y="3547232"/>
            <a:ext cx="5058160" cy="335259"/>
          </a:xfrm>
          <a:prstGeom prst="roundRect">
            <a:avLst/>
          </a:prstGeom>
          <a:solidFill>
            <a:srgbClr val="C4C4CD"/>
          </a:solidFill>
          <a:ln w="9525">
            <a:solidFill>
              <a:srgbClr val="C4C4C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  <a:latin typeface="+mj-lt"/>
              </a:rPr>
              <a:t>Обстоятельства:</a:t>
            </a:r>
            <a:endParaRPr lang="en-US" sz="14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FF5F530B-D80A-4202-B0C2-5EFC67AD492D}"/>
              </a:ext>
            </a:extLst>
          </p:cNvPr>
          <p:cNvSpPr/>
          <p:nvPr/>
        </p:nvSpPr>
        <p:spPr>
          <a:xfrm>
            <a:off x="7083363" y="1468881"/>
            <a:ext cx="1205903" cy="415498"/>
          </a:xfrm>
          <a:prstGeom prst="rect">
            <a:avLst/>
          </a:prstGeom>
          <a:solidFill>
            <a:schemeClr val="tx1"/>
          </a:solidFill>
        </p:spPr>
        <p:txBody>
          <a:bodyPr wrap="square">
            <a:spAutoFit/>
          </a:bodyPr>
          <a:lstStyle/>
          <a:p>
            <a:pPr algn="ctr"/>
            <a:r>
              <a:rPr lang="ru-RU" sz="1050" b="1" i="1" dirty="0" smtClean="0">
                <a:solidFill>
                  <a:srgbClr val="4AA851"/>
                </a:solidFill>
                <a:latin typeface="+mj-lt"/>
              </a:rPr>
              <a:t>Готовая продукция</a:t>
            </a:r>
            <a:endParaRPr lang="en-US" sz="1050" b="1" i="1" dirty="0">
              <a:solidFill>
                <a:srgbClr val="4AA851"/>
              </a:solidFill>
              <a:latin typeface="+mj-lt"/>
            </a:endParaRPr>
          </a:p>
        </p:txBody>
      </p:sp>
      <p:sp>
        <p:nvSpPr>
          <p:cNvPr id="45" name="Rectangle 44"/>
          <p:cNvSpPr/>
          <p:nvPr/>
        </p:nvSpPr>
        <p:spPr>
          <a:xfrm>
            <a:off x="3003531" y="1279805"/>
            <a:ext cx="2067081" cy="600164"/>
          </a:xfrm>
          <a:prstGeom prst="rect">
            <a:avLst/>
          </a:prstGeom>
          <a:solidFill>
            <a:srgbClr val="FFFFFF"/>
          </a:solidFill>
        </p:spPr>
        <p:txBody>
          <a:bodyPr wrap="square">
            <a:spAutoFit/>
          </a:bodyPr>
          <a:lstStyle/>
          <a:p>
            <a:pPr algn="ctr"/>
            <a:r>
              <a:rPr lang="ru-RU" sz="1100" i="1" dirty="0">
                <a:solidFill>
                  <a:schemeClr val="bg2"/>
                </a:solidFill>
                <a:latin typeface="+mj-lt"/>
              </a:rPr>
              <a:t>Лицензионный договор на ТЗ, наносимые на готовую продукцию</a:t>
            </a:r>
            <a:endParaRPr lang="en-US" sz="1100" i="1" dirty="0">
              <a:solidFill>
                <a:schemeClr val="bg2"/>
              </a:solidFill>
              <a:latin typeface="+mj-lt"/>
            </a:endParaRPr>
          </a:p>
        </p:txBody>
      </p:sp>
      <p:sp>
        <p:nvSpPr>
          <p:cNvPr id="56" name="Rectangle: Rounded Corners 118">
            <a:extLst>
              <a:ext uri="{FF2B5EF4-FFF2-40B4-BE49-F238E27FC236}">
                <a16:creationId xmlns:a16="http://schemas.microsoft.com/office/drawing/2014/main" id="{93B09CAA-6986-4C73-985B-312A7D02A702}"/>
              </a:ext>
            </a:extLst>
          </p:cNvPr>
          <p:cNvSpPr/>
          <p:nvPr/>
        </p:nvSpPr>
        <p:spPr>
          <a:xfrm>
            <a:off x="264262" y="3565805"/>
            <a:ext cx="5913752" cy="3139795"/>
          </a:xfrm>
          <a:prstGeom prst="roundRect">
            <a:avLst>
              <a:gd name="adj" fmla="val 7141"/>
            </a:avLst>
          </a:prstGeom>
          <a:noFill/>
          <a:ln w="9525">
            <a:solidFill>
              <a:srgbClr val="C4C4CD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470106" y="3964171"/>
            <a:ext cx="5625894" cy="2699200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171450" indent="-171450">
              <a:lnSpc>
                <a:spcPct val="85000"/>
              </a:lnSpc>
              <a:spcAft>
                <a:spcPts val="600"/>
              </a:spcAft>
              <a:buClr>
                <a:srgbClr val="4AA851"/>
              </a:buClr>
              <a:buSzPct val="70000"/>
              <a:buFont typeface="Wingdings" panose="05000000000000000000" pitchFamily="2" charset="2"/>
              <a:buChar char="§"/>
            </a:pPr>
            <a:r>
              <a:rPr lang="ru-RU" sz="1200" dirty="0" smtClean="0">
                <a:solidFill>
                  <a:schemeClr val="bg1"/>
                </a:solidFill>
                <a:latin typeface="+mj-lt"/>
              </a:rPr>
              <a:t>Компания поставляла на завод в Калининград сырье для производства готовой продукции. (ГП) </a:t>
            </a:r>
          </a:p>
          <a:p>
            <a:pPr marL="171450" indent="-171450">
              <a:lnSpc>
                <a:spcPct val="85000"/>
              </a:lnSpc>
              <a:spcAft>
                <a:spcPts val="600"/>
              </a:spcAft>
              <a:buClr>
                <a:srgbClr val="4AA851"/>
              </a:buClr>
              <a:buSzPct val="70000"/>
              <a:buFont typeface="Wingdings" panose="05000000000000000000" pitchFamily="2" charset="2"/>
              <a:buChar char="§"/>
            </a:pPr>
            <a:r>
              <a:rPr lang="ru-RU" sz="1200" dirty="0" smtClean="0">
                <a:solidFill>
                  <a:schemeClr val="bg1"/>
                </a:solidFill>
                <a:latin typeface="+mj-lt"/>
              </a:rPr>
              <a:t>Произведенную ГП Компания маркировала ТЗ и продавала дистрибьютерам на остальную территорию РФ, а также в страны ЕАЭС.</a:t>
            </a:r>
          </a:p>
          <a:p>
            <a:pPr marL="171450" indent="-171450">
              <a:lnSpc>
                <a:spcPct val="85000"/>
              </a:lnSpc>
              <a:spcAft>
                <a:spcPts val="600"/>
              </a:spcAft>
              <a:buClr>
                <a:srgbClr val="4AA851"/>
              </a:buClr>
              <a:buSzPct val="70000"/>
              <a:buFont typeface="Wingdings" panose="05000000000000000000" pitchFamily="2" charset="2"/>
              <a:buChar char="§"/>
            </a:pPr>
            <a:r>
              <a:rPr lang="ru-RU" sz="1200" dirty="0" smtClean="0">
                <a:solidFill>
                  <a:schemeClr val="bg1"/>
                </a:solidFill>
                <a:latin typeface="+mj-lt"/>
              </a:rPr>
              <a:t>Компания уплачивала лицензионные платежи Правообладателю в ЕС за право нанесения ТЗ на ГП.</a:t>
            </a:r>
          </a:p>
          <a:p>
            <a:pPr marL="171450" indent="-171450">
              <a:lnSpc>
                <a:spcPct val="85000"/>
              </a:lnSpc>
              <a:spcAft>
                <a:spcPts val="600"/>
              </a:spcAft>
              <a:buClr>
                <a:srgbClr val="4AA851"/>
              </a:buClr>
              <a:buSzPct val="70000"/>
              <a:buFont typeface="Wingdings" panose="05000000000000000000" pitchFamily="2" charset="2"/>
              <a:buChar char="§"/>
            </a:pPr>
            <a:r>
              <a:rPr lang="ru-RU" sz="1200" dirty="0" smtClean="0">
                <a:solidFill>
                  <a:schemeClr val="bg1"/>
                </a:solidFill>
                <a:latin typeface="+mj-lt"/>
              </a:rPr>
              <a:t>Таможня инициировала камеральную проверку, в рамках которой изучался </a:t>
            </a:r>
            <a:r>
              <a:rPr lang="ru-RU" sz="1200" b="1" u="sng" dirty="0" smtClean="0">
                <a:solidFill>
                  <a:schemeClr val="bg1"/>
                </a:solidFill>
                <a:latin typeface="+mj-lt"/>
              </a:rPr>
              <a:t>вопрос необходимости включения роялти в таможенную стоимость ГП.</a:t>
            </a:r>
          </a:p>
          <a:p>
            <a:pPr marL="171450" indent="-171450">
              <a:lnSpc>
                <a:spcPct val="85000"/>
              </a:lnSpc>
              <a:spcAft>
                <a:spcPts val="600"/>
              </a:spcAft>
              <a:buClr>
                <a:srgbClr val="4AA851"/>
              </a:buClr>
              <a:buSzPct val="70000"/>
              <a:buFont typeface="Wingdings" panose="05000000000000000000" pitchFamily="2" charset="2"/>
              <a:buChar char="§"/>
            </a:pPr>
            <a:r>
              <a:rPr lang="ru-RU" sz="1200" dirty="0" smtClean="0">
                <a:solidFill>
                  <a:schemeClr val="bg1"/>
                </a:solidFill>
                <a:latin typeface="+mj-lt"/>
              </a:rPr>
              <a:t>Компания утверждала, что </a:t>
            </a:r>
            <a:r>
              <a:rPr lang="ru-RU" sz="1200" b="1" u="sng" dirty="0" smtClean="0">
                <a:solidFill>
                  <a:schemeClr val="bg1"/>
                </a:solidFill>
                <a:latin typeface="+mj-lt"/>
              </a:rPr>
              <a:t>роялти уже включены в цену ГП</a:t>
            </a:r>
            <a:r>
              <a:rPr lang="ru-RU" sz="1200" dirty="0" smtClean="0">
                <a:solidFill>
                  <a:schemeClr val="bg1"/>
                </a:solidFill>
                <a:latin typeface="+mj-lt"/>
              </a:rPr>
              <a:t>, однако не могла подтвердить это документально (в ЛД и договорах поставки отсутствовали соответствующие положения,  выписки из б/у не могли быть сделаны в требуемом таможней виде ввиду системных настроек)</a:t>
            </a:r>
          </a:p>
        </p:txBody>
      </p:sp>
      <p:sp>
        <p:nvSpPr>
          <p:cNvPr id="58" name="Rectangle: Rounded Corners 17">
            <a:extLst>
              <a:ext uri="{FF2B5EF4-FFF2-40B4-BE49-F238E27FC236}">
                <a16:creationId xmlns:a16="http://schemas.microsoft.com/office/drawing/2014/main" id="{7CF9D5C6-C906-4BE7-AF39-975B7E9D483B}"/>
              </a:ext>
            </a:extLst>
          </p:cNvPr>
          <p:cNvSpPr/>
          <p:nvPr/>
        </p:nvSpPr>
        <p:spPr>
          <a:xfrm>
            <a:off x="7190461" y="3676602"/>
            <a:ext cx="3807425" cy="456396"/>
          </a:xfrm>
          <a:prstGeom prst="roundRect">
            <a:avLst/>
          </a:prstGeom>
          <a:solidFill>
            <a:schemeClr val="tx2"/>
          </a:solidFill>
          <a:ln w="9525">
            <a:solidFill>
              <a:srgbClr val="C4C4C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  <a:latin typeface="+mj-lt"/>
              </a:rPr>
              <a:t>Нарушений таможней не выявлено</a:t>
            </a:r>
            <a:endParaRPr lang="en-US" sz="1400" b="1" dirty="0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59" name="Group 17">
            <a:extLst>
              <a:ext uri="{FF2B5EF4-FFF2-40B4-BE49-F238E27FC236}">
                <a16:creationId xmlns:a16="http://schemas.microsoft.com/office/drawing/2014/main" id="{2C33CC85-DB0B-45A9-B902-E4C2608AFFB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602616" y="3610179"/>
            <a:ext cx="554633" cy="531385"/>
            <a:chOff x="4530" y="2994"/>
            <a:chExt cx="668" cy="640"/>
          </a:xfrm>
        </p:grpSpPr>
        <p:sp>
          <p:nvSpPr>
            <p:cNvPr id="60" name="AutoShape 16">
              <a:extLst>
                <a:ext uri="{FF2B5EF4-FFF2-40B4-BE49-F238E27FC236}">
                  <a16:creationId xmlns:a16="http://schemas.microsoft.com/office/drawing/2014/main" id="{DFE7316F-5AD1-4993-B55F-F4CC9C55F23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530" y="2994"/>
              <a:ext cx="668" cy="6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>
                <a:latin typeface="+mj-lt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id="{FAA335C0-C88C-48E9-A8F0-5D33BA3CCB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30" y="2994"/>
              <a:ext cx="668" cy="640"/>
            </a:xfrm>
            <a:custGeom>
              <a:avLst/>
              <a:gdLst>
                <a:gd name="T0" fmla="*/ 504 w 668"/>
                <a:gd name="T1" fmla="*/ 640 h 640"/>
                <a:gd name="T2" fmla="*/ 344 w 668"/>
                <a:gd name="T3" fmla="*/ 558 h 640"/>
                <a:gd name="T4" fmla="*/ 328 w 668"/>
                <a:gd name="T5" fmla="*/ 554 h 640"/>
                <a:gd name="T6" fmla="*/ 172 w 668"/>
                <a:gd name="T7" fmla="*/ 636 h 640"/>
                <a:gd name="T8" fmla="*/ 138 w 668"/>
                <a:gd name="T9" fmla="*/ 638 h 640"/>
                <a:gd name="T10" fmla="*/ 120 w 668"/>
                <a:gd name="T11" fmla="*/ 624 h 640"/>
                <a:gd name="T12" fmla="*/ 112 w 668"/>
                <a:gd name="T13" fmla="*/ 592 h 640"/>
                <a:gd name="T14" fmla="*/ 140 w 668"/>
                <a:gd name="T15" fmla="*/ 418 h 640"/>
                <a:gd name="T16" fmla="*/ 134 w 668"/>
                <a:gd name="T17" fmla="*/ 404 h 640"/>
                <a:gd name="T18" fmla="*/ 4 w 668"/>
                <a:gd name="T19" fmla="*/ 276 h 640"/>
                <a:gd name="T20" fmla="*/ 2 w 668"/>
                <a:gd name="T21" fmla="*/ 242 h 640"/>
                <a:gd name="T22" fmla="*/ 14 w 668"/>
                <a:gd name="T23" fmla="*/ 222 h 640"/>
                <a:gd name="T24" fmla="*/ 204 w 668"/>
                <a:gd name="T25" fmla="*/ 188 h 640"/>
                <a:gd name="T26" fmla="*/ 214 w 668"/>
                <a:gd name="T27" fmla="*/ 184 h 640"/>
                <a:gd name="T28" fmla="*/ 296 w 668"/>
                <a:gd name="T29" fmla="*/ 24 h 640"/>
                <a:gd name="T30" fmla="*/ 312 w 668"/>
                <a:gd name="T31" fmla="*/ 6 h 640"/>
                <a:gd name="T32" fmla="*/ 334 w 668"/>
                <a:gd name="T33" fmla="*/ 0 h 640"/>
                <a:gd name="T34" fmla="*/ 364 w 668"/>
                <a:gd name="T35" fmla="*/ 14 h 640"/>
                <a:gd name="T36" fmla="*/ 438 w 668"/>
                <a:gd name="T37" fmla="*/ 158 h 640"/>
                <a:gd name="T38" fmla="*/ 436 w 668"/>
                <a:gd name="T39" fmla="*/ 168 h 640"/>
                <a:gd name="T40" fmla="*/ 430 w 668"/>
                <a:gd name="T41" fmla="*/ 172 h 640"/>
                <a:gd name="T42" fmla="*/ 422 w 668"/>
                <a:gd name="T43" fmla="*/ 166 h 640"/>
                <a:gd name="T44" fmla="*/ 352 w 668"/>
                <a:gd name="T45" fmla="*/ 26 h 640"/>
                <a:gd name="T46" fmla="*/ 334 w 668"/>
                <a:gd name="T47" fmla="*/ 18 h 640"/>
                <a:gd name="T48" fmla="*/ 322 w 668"/>
                <a:gd name="T49" fmla="*/ 22 h 640"/>
                <a:gd name="T50" fmla="*/ 238 w 668"/>
                <a:gd name="T51" fmla="*/ 184 h 640"/>
                <a:gd name="T52" fmla="*/ 224 w 668"/>
                <a:gd name="T53" fmla="*/ 200 h 640"/>
                <a:gd name="T54" fmla="*/ 38 w 668"/>
                <a:gd name="T55" fmla="*/ 232 h 640"/>
                <a:gd name="T56" fmla="*/ 26 w 668"/>
                <a:gd name="T57" fmla="*/ 236 h 640"/>
                <a:gd name="T58" fmla="*/ 18 w 668"/>
                <a:gd name="T59" fmla="*/ 248 h 640"/>
                <a:gd name="T60" fmla="*/ 20 w 668"/>
                <a:gd name="T61" fmla="*/ 266 h 640"/>
                <a:gd name="T62" fmla="*/ 146 w 668"/>
                <a:gd name="T63" fmla="*/ 390 h 640"/>
                <a:gd name="T64" fmla="*/ 158 w 668"/>
                <a:gd name="T65" fmla="*/ 418 h 640"/>
                <a:gd name="T66" fmla="*/ 130 w 668"/>
                <a:gd name="T67" fmla="*/ 594 h 640"/>
                <a:gd name="T68" fmla="*/ 134 w 668"/>
                <a:gd name="T69" fmla="*/ 614 h 640"/>
                <a:gd name="T70" fmla="*/ 144 w 668"/>
                <a:gd name="T71" fmla="*/ 622 h 640"/>
                <a:gd name="T72" fmla="*/ 164 w 668"/>
                <a:gd name="T73" fmla="*/ 620 h 640"/>
                <a:gd name="T74" fmla="*/ 324 w 668"/>
                <a:gd name="T75" fmla="*/ 538 h 640"/>
                <a:gd name="T76" fmla="*/ 354 w 668"/>
                <a:gd name="T77" fmla="*/ 542 h 640"/>
                <a:gd name="T78" fmla="*/ 510 w 668"/>
                <a:gd name="T79" fmla="*/ 622 h 640"/>
                <a:gd name="T80" fmla="*/ 528 w 668"/>
                <a:gd name="T81" fmla="*/ 618 h 640"/>
                <a:gd name="T82" fmla="*/ 538 w 668"/>
                <a:gd name="T83" fmla="*/ 608 h 640"/>
                <a:gd name="T84" fmla="*/ 510 w 668"/>
                <a:gd name="T85" fmla="*/ 428 h 640"/>
                <a:gd name="T86" fmla="*/ 512 w 668"/>
                <a:gd name="T87" fmla="*/ 408 h 640"/>
                <a:gd name="T88" fmla="*/ 644 w 668"/>
                <a:gd name="T89" fmla="*/ 272 h 640"/>
                <a:gd name="T90" fmla="*/ 650 w 668"/>
                <a:gd name="T91" fmla="*/ 260 h 640"/>
                <a:gd name="T92" fmla="*/ 650 w 668"/>
                <a:gd name="T93" fmla="*/ 248 h 640"/>
                <a:gd name="T94" fmla="*/ 636 w 668"/>
                <a:gd name="T95" fmla="*/ 232 h 640"/>
                <a:gd name="T96" fmla="*/ 564 w 668"/>
                <a:gd name="T97" fmla="*/ 222 h 640"/>
                <a:gd name="T98" fmla="*/ 556 w 668"/>
                <a:gd name="T99" fmla="*/ 214 h 640"/>
                <a:gd name="T100" fmla="*/ 556 w 668"/>
                <a:gd name="T101" fmla="*/ 208 h 640"/>
                <a:gd name="T102" fmla="*/ 566 w 668"/>
                <a:gd name="T103" fmla="*/ 204 h 640"/>
                <a:gd name="T104" fmla="*/ 644 w 668"/>
                <a:gd name="T105" fmla="*/ 216 h 640"/>
                <a:gd name="T106" fmla="*/ 666 w 668"/>
                <a:gd name="T107" fmla="*/ 242 h 640"/>
                <a:gd name="T108" fmla="*/ 668 w 668"/>
                <a:gd name="T109" fmla="*/ 264 h 640"/>
                <a:gd name="T110" fmla="*/ 534 w 668"/>
                <a:gd name="T111" fmla="*/ 404 h 640"/>
                <a:gd name="T112" fmla="*/ 528 w 668"/>
                <a:gd name="T113" fmla="*/ 414 h 640"/>
                <a:gd name="T114" fmla="*/ 556 w 668"/>
                <a:gd name="T115" fmla="*/ 592 h 640"/>
                <a:gd name="T116" fmla="*/ 554 w 668"/>
                <a:gd name="T117" fmla="*/ 614 h 640"/>
                <a:gd name="T118" fmla="*/ 540 w 668"/>
                <a:gd name="T119" fmla="*/ 632 h 640"/>
                <a:gd name="T120" fmla="*/ 514 w 668"/>
                <a:gd name="T121" fmla="*/ 640 h 6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668" h="640">
                  <a:moveTo>
                    <a:pt x="514" y="640"/>
                  </a:moveTo>
                  <a:lnTo>
                    <a:pt x="514" y="640"/>
                  </a:lnTo>
                  <a:lnTo>
                    <a:pt x="504" y="640"/>
                  </a:lnTo>
                  <a:lnTo>
                    <a:pt x="496" y="636"/>
                  </a:lnTo>
                  <a:lnTo>
                    <a:pt x="344" y="558"/>
                  </a:lnTo>
                  <a:lnTo>
                    <a:pt x="344" y="558"/>
                  </a:lnTo>
                  <a:lnTo>
                    <a:pt x="340" y="554"/>
                  </a:lnTo>
                  <a:lnTo>
                    <a:pt x="334" y="554"/>
                  </a:lnTo>
                  <a:lnTo>
                    <a:pt x="328" y="554"/>
                  </a:lnTo>
                  <a:lnTo>
                    <a:pt x="322" y="558"/>
                  </a:lnTo>
                  <a:lnTo>
                    <a:pt x="172" y="636"/>
                  </a:lnTo>
                  <a:lnTo>
                    <a:pt x="172" y="636"/>
                  </a:lnTo>
                  <a:lnTo>
                    <a:pt x="162" y="640"/>
                  </a:lnTo>
                  <a:lnTo>
                    <a:pt x="150" y="640"/>
                  </a:lnTo>
                  <a:lnTo>
                    <a:pt x="138" y="638"/>
                  </a:lnTo>
                  <a:lnTo>
                    <a:pt x="128" y="632"/>
                  </a:lnTo>
                  <a:lnTo>
                    <a:pt x="128" y="632"/>
                  </a:lnTo>
                  <a:lnTo>
                    <a:pt x="120" y="624"/>
                  </a:lnTo>
                  <a:lnTo>
                    <a:pt x="114" y="614"/>
                  </a:lnTo>
                  <a:lnTo>
                    <a:pt x="112" y="604"/>
                  </a:lnTo>
                  <a:lnTo>
                    <a:pt x="112" y="592"/>
                  </a:lnTo>
                  <a:lnTo>
                    <a:pt x="140" y="424"/>
                  </a:lnTo>
                  <a:lnTo>
                    <a:pt x="140" y="424"/>
                  </a:lnTo>
                  <a:lnTo>
                    <a:pt x="140" y="418"/>
                  </a:lnTo>
                  <a:lnTo>
                    <a:pt x="140" y="414"/>
                  </a:lnTo>
                  <a:lnTo>
                    <a:pt x="138" y="408"/>
                  </a:lnTo>
                  <a:lnTo>
                    <a:pt x="134" y="404"/>
                  </a:lnTo>
                  <a:lnTo>
                    <a:pt x="12" y="284"/>
                  </a:lnTo>
                  <a:lnTo>
                    <a:pt x="12" y="284"/>
                  </a:lnTo>
                  <a:lnTo>
                    <a:pt x="4" y="276"/>
                  </a:lnTo>
                  <a:lnTo>
                    <a:pt x="0" y="264"/>
                  </a:lnTo>
                  <a:lnTo>
                    <a:pt x="0" y="254"/>
                  </a:lnTo>
                  <a:lnTo>
                    <a:pt x="2" y="242"/>
                  </a:lnTo>
                  <a:lnTo>
                    <a:pt x="2" y="242"/>
                  </a:lnTo>
                  <a:lnTo>
                    <a:pt x="6" y="232"/>
                  </a:lnTo>
                  <a:lnTo>
                    <a:pt x="14" y="222"/>
                  </a:lnTo>
                  <a:lnTo>
                    <a:pt x="24" y="216"/>
                  </a:lnTo>
                  <a:lnTo>
                    <a:pt x="34" y="214"/>
                  </a:lnTo>
                  <a:lnTo>
                    <a:pt x="204" y="188"/>
                  </a:lnTo>
                  <a:lnTo>
                    <a:pt x="204" y="188"/>
                  </a:lnTo>
                  <a:lnTo>
                    <a:pt x="208" y="188"/>
                  </a:lnTo>
                  <a:lnTo>
                    <a:pt x="214" y="184"/>
                  </a:lnTo>
                  <a:lnTo>
                    <a:pt x="218" y="180"/>
                  </a:lnTo>
                  <a:lnTo>
                    <a:pt x="222" y="176"/>
                  </a:lnTo>
                  <a:lnTo>
                    <a:pt x="296" y="24"/>
                  </a:lnTo>
                  <a:lnTo>
                    <a:pt x="296" y="24"/>
                  </a:lnTo>
                  <a:lnTo>
                    <a:pt x="302" y="14"/>
                  </a:lnTo>
                  <a:lnTo>
                    <a:pt x="312" y="6"/>
                  </a:lnTo>
                  <a:lnTo>
                    <a:pt x="322" y="2"/>
                  </a:lnTo>
                  <a:lnTo>
                    <a:pt x="334" y="0"/>
                  </a:lnTo>
                  <a:lnTo>
                    <a:pt x="334" y="0"/>
                  </a:lnTo>
                  <a:lnTo>
                    <a:pt x="346" y="2"/>
                  </a:lnTo>
                  <a:lnTo>
                    <a:pt x="356" y="6"/>
                  </a:lnTo>
                  <a:lnTo>
                    <a:pt x="364" y="14"/>
                  </a:lnTo>
                  <a:lnTo>
                    <a:pt x="372" y="24"/>
                  </a:lnTo>
                  <a:lnTo>
                    <a:pt x="438" y="158"/>
                  </a:lnTo>
                  <a:lnTo>
                    <a:pt x="438" y="158"/>
                  </a:lnTo>
                  <a:lnTo>
                    <a:pt x="438" y="162"/>
                  </a:lnTo>
                  <a:lnTo>
                    <a:pt x="438" y="164"/>
                  </a:lnTo>
                  <a:lnTo>
                    <a:pt x="436" y="168"/>
                  </a:lnTo>
                  <a:lnTo>
                    <a:pt x="434" y="170"/>
                  </a:lnTo>
                  <a:lnTo>
                    <a:pt x="434" y="170"/>
                  </a:lnTo>
                  <a:lnTo>
                    <a:pt x="430" y="172"/>
                  </a:lnTo>
                  <a:lnTo>
                    <a:pt x="426" y="170"/>
                  </a:lnTo>
                  <a:lnTo>
                    <a:pt x="424" y="168"/>
                  </a:lnTo>
                  <a:lnTo>
                    <a:pt x="422" y="166"/>
                  </a:lnTo>
                  <a:lnTo>
                    <a:pt x="356" y="32"/>
                  </a:lnTo>
                  <a:lnTo>
                    <a:pt x="356" y="32"/>
                  </a:lnTo>
                  <a:lnTo>
                    <a:pt x="352" y="26"/>
                  </a:lnTo>
                  <a:lnTo>
                    <a:pt x="346" y="22"/>
                  </a:lnTo>
                  <a:lnTo>
                    <a:pt x="340" y="18"/>
                  </a:lnTo>
                  <a:lnTo>
                    <a:pt x="334" y="18"/>
                  </a:lnTo>
                  <a:lnTo>
                    <a:pt x="334" y="18"/>
                  </a:lnTo>
                  <a:lnTo>
                    <a:pt x="328" y="18"/>
                  </a:lnTo>
                  <a:lnTo>
                    <a:pt x="322" y="22"/>
                  </a:lnTo>
                  <a:lnTo>
                    <a:pt x="316" y="26"/>
                  </a:lnTo>
                  <a:lnTo>
                    <a:pt x="312" y="32"/>
                  </a:lnTo>
                  <a:lnTo>
                    <a:pt x="238" y="184"/>
                  </a:lnTo>
                  <a:lnTo>
                    <a:pt x="238" y="184"/>
                  </a:lnTo>
                  <a:lnTo>
                    <a:pt x="232" y="192"/>
                  </a:lnTo>
                  <a:lnTo>
                    <a:pt x="224" y="200"/>
                  </a:lnTo>
                  <a:lnTo>
                    <a:pt x="216" y="204"/>
                  </a:lnTo>
                  <a:lnTo>
                    <a:pt x="206" y="206"/>
                  </a:lnTo>
                  <a:lnTo>
                    <a:pt x="38" y="232"/>
                  </a:lnTo>
                  <a:lnTo>
                    <a:pt x="38" y="232"/>
                  </a:lnTo>
                  <a:lnTo>
                    <a:pt x="32" y="232"/>
                  </a:lnTo>
                  <a:lnTo>
                    <a:pt x="26" y="236"/>
                  </a:lnTo>
                  <a:lnTo>
                    <a:pt x="22" y="242"/>
                  </a:lnTo>
                  <a:lnTo>
                    <a:pt x="18" y="248"/>
                  </a:lnTo>
                  <a:lnTo>
                    <a:pt x="18" y="248"/>
                  </a:lnTo>
                  <a:lnTo>
                    <a:pt x="18" y="254"/>
                  </a:lnTo>
                  <a:lnTo>
                    <a:pt x="18" y="260"/>
                  </a:lnTo>
                  <a:lnTo>
                    <a:pt x="20" y="266"/>
                  </a:lnTo>
                  <a:lnTo>
                    <a:pt x="24" y="272"/>
                  </a:lnTo>
                  <a:lnTo>
                    <a:pt x="146" y="390"/>
                  </a:lnTo>
                  <a:lnTo>
                    <a:pt x="146" y="390"/>
                  </a:lnTo>
                  <a:lnTo>
                    <a:pt x="152" y="398"/>
                  </a:lnTo>
                  <a:lnTo>
                    <a:pt x="156" y="408"/>
                  </a:lnTo>
                  <a:lnTo>
                    <a:pt x="158" y="418"/>
                  </a:lnTo>
                  <a:lnTo>
                    <a:pt x="158" y="428"/>
                  </a:lnTo>
                  <a:lnTo>
                    <a:pt x="130" y="594"/>
                  </a:lnTo>
                  <a:lnTo>
                    <a:pt x="130" y="594"/>
                  </a:lnTo>
                  <a:lnTo>
                    <a:pt x="130" y="602"/>
                  </a:lnTo>
                  <a:lnTo>
                    <a:pt x="130" y="608"/>
                  </a:lnTo>
                  <a:lnTo>
                    <a:pt x="134" y="614"/>
                  </a:lnTo>
                  <a:lnTo>
                    <a:pt x="138" y="618"/>
                  </a:lnTo>
                  <a:lnTo>
                    <a:pt x="138" y="618"/>
                  </a:lnTo>
                  <a:lnTo>
                    <a:pt x="144" y="622"/>
                  </a:lnTo>
                  <a:lnTo>
                    <a:pt x="152" y="622"/>
                  </a:lnTo>
                  <a:lnTo>
                    <a:pt x="158" y="622"/>
                  </a:lnTo>
                  <a:lnTo>
                    <a:pt x="164" y="620"/>
                  </a:lnTo>
                  <a:lnTo>
                    <a:pt x="314" y="542"/>
                  </a:lnTo>
                  <a:lnTo>
                    <a:pt x="314" y="542"/>
                  </a:lnTo>
                  <a:lnTo>
                    <a:pt x="324" y="538"/>
                  </a:lnTo>
                  <a:lnTo>
                    <a:pt x="334" y="536"/>
                  </a:lnTo>
                  <a:lnTo>
                    <a:pt x="344" y="538"/>
                  </a:lnTo>
                  <a:lnTo>
                    <a:pt x="354" y="542"/>
                  </a:lnTo>
                  <a:lnTo>
                    <a:pt x="504" y="620"/>
                  </a:lnTo>
                  <a:lnTo>
                    <a:pt x="504" y="620"/>
                  </a:lnTo>
                  <a:lnTo>
                    <a:pt x="510" y="622"/>
                  </a:lnTo>
                  <a:lnTo>
                    <a:pt x="516" y="622"/>
                  </a:lnTo>
                  <a:lnTo>
                    <a:pt x="522" y="622"/>
                  </a:lnTo>
                  <a:lnTo>
                    <a:pt x="528" y="618"/>
                  </a:lnTo>
                  <a:lnTo>
                    <a:pt x="528" y="618"/>
                  </a:lnTo>
                  <a:lnTo>
                    <a:pt x="534" y="614"/>
                  </a:lnTo>
                  <a:lnTo>
                    <a:pt x="538" y="608"/>
                  </a:lnTo>
                  <a:lnTo>
                    <a:pt x="538" y="602"/>
                  </a:lnTo>
                  <a:lnTo>
                    <a:pt x="538" y="594"/>
                  </a:lnTo>
                  <a:lnTo>
                    <a:pt x="510" y="428"/>
                  </a:lnTo>
                  <a:lnTo>
                    <a:pt x="510" y="428"/>
                  </a:lnTo>
                  <a:lnTo>
                    <a:pt x="510" y="418"/>
                  </a:lnTo>
                  <a:lnTo>
                    <a:pt x="512" y="408"/>
                  </a:lnTo>
                  <a:lnTo>
                    <a:pt x="516" y="398"/>
                  </a:lnTo>
                  <a:lnTo>
                    <a:pt x="522" y="390"/>
                  </a:lnTo>
                  <a:lnTo>
                    <a:pt x="644" y="272"/>
                  </a:lnTo>
                  <a:lnTo>
                    <a:pt x="644" y="272"/>
                  </a:lnTo>
                  <a:lnTo>
                    <a:pt x="648" y="266"/>
                  </a:lnTo>
                  <a:lnTo>
                    <a:pt x="650" y="260"/>
                  </a:lnTo>
                  <a:lnTo>
                    <a:pt x="650" y="254"/>
                  </a:lnTo>
                  <a:lnTo>
                    <a:pt x="650" y="248"/>
                  </a:lnTo>
                  <a:lnTo>
                    <a:pt x="650" y="248"/>
                  </a:lnTo>
                  <a:lnTo>
                    <a:pt x="646" y="242"/>
                  </a:lnTo>
                  <a:lnTo>
                    <a:pt x="642" y="236"/>
                  </a:lnTo>
                  <a:lnTo>
                    <a:pt x="636" y="232"/>
                  </a:lnTo>
                  <a:lnTo>
                    <a:pt x="630" y="232"/>
                  </a:lnTo>
                  <a:lnTo>
                    <a:pt x="564" y="222"/>
                  </a:lnTo>
                  <a:lnTo>
                    <a:pt x="564" y="222"/>
                  </a:lnTo>
                  <a:lnTo>
                    <a:pt x="560" y="220"/>
                  </a:lnTo>
                  <a:lnTo>
                    <a:pt x="558" y="218"/>
                  </a:lnTo>
                  <a:lnTo>
                    <a:pt x="556" y="214"/>
                  </a:lnTo>
                  <a:lnTo>
                    <a:pt x="556" y="212"/>
                  </a:lnTo>
                  <a:lnTo>
                    <a:pt x="556" y="212"/>
                  </a:lnTo>
                  <a:lnTo>
                    <a:pt x="556" y="208"/>
                  </a:lnTo>
                  <a:lnTo>
                    <a:pt x="560" y="206"/>
                  </a:lnTo>
                  <a:lnTo>
                    <a:pt x="562" y="204"/>
                  </a:lnTo>
                  <a:lnTo>
                    <a:pt x="566" y="204"/>
                  </a:lnTo>
                  <a:lnTo>
                    <a:pt x="632" y="214"/>
                  </a:lnTo>
                  <a:lnTo>
                    <a:pt x="632" y="214"/>
                  </a:lnTo>
                  <a:lnTo>
                    <a:pt x="644" y="216"/>
                  </a:lnTo>
                  <a:lnTo>
                    <a:pt x="654" y="222"/>
                  </a:lnTo>
                  <a:lnTo>
                    <a:pt x="662" y="232"/>
                  </a:lnTo>
                  <a:lnTo>
                    <a:pt x="666" y="242"/>
                  </a:lnTo>
                  <a:lnTo>
                    <a:pt x="666" y="242"/>
                  </a:lnTo>
                  <a:lnTo>
                    <a:pt x="668" y="254"/>
                  </a:lnTo>
                  <a:lnTo>
                    <a:pt x="668" y="264"/>
                  </a:lnTo>
                  <a:lnTo>
                    <a:pt x="664" y="276"/>
                  </a:lnTo>
                  <a:lnTo>
                    <a:pt x="656" y="284"/>
                  </a:lnTo>
                  <a:lnTo>
                    <a:pt x="534" y="404"/>
                  </a:lnTo>
                  <a:lnTo>
                    <a:pt x="534" y="404"/>
                  </a:lnTo>
                  <a:lnTo>
                    <a:pt x="530" y="408"/>
                  </a:lnTo>
                  <a:lnTo>
                    <a:pt x="528" y="414"/>
                  </a:lnTo>
                  <a:lnTo>
                    <a:pt x="528" y="418"/>
                  </a:lnTo>
                  <a:lnTo>
                    <a:pt x="528" y="424"/>
                  </a:lnTo>
                  <a:lnTo>
                    <a:pt x="556" y="592"/>
                  </a:lnTo>
                  <a:lnTo>
                    <a:pt x="556" y="592"/>
                  </a:lnTo>
                  <a:lnTo>
                    <a:pt x="556" y="604"/>
                  </a:lnTo>
                  <a:lnTo>
                    <a:pt x="554" y="614"/>
                  </a:lnTo>
                  <a:lnTo>
                    <a:pt x="548" y="624"/>
                  </a:lnTo>
                  <a:lnTo>
                    <a:pt x="540" y="632"/>
                  </a:lnTo>
                  <a:lnTo>
                    <a:pt x="540" y="632"/>
                  </a:lnTo>
                  <a:lnTo>
                    <a:pt x="528" y="638"/>
                  </a:lnTo>
                  <a:lnTo>
                    <a:pt x="514" y="640"/>
                  </a:lnTo>
                  <a:lnTo>
                    <a:pt x="514" y="640"/>
                  </a:lnTo>
                  <a:close/>
                </a:path>
              </a:pathLst>
            </a:custGeom>
            <a:solidFill>
              <a:schemeClr val="bg2">
                <a:lumMod val="50000"/>
                <a:lumOff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>
                <a:latin typeface="+mj-lt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id="{C4C214CD-3FF9-4920-B07F-4E0E4ED84112}"/>
                </a:ext>
              </a:extLst>
            </p:cNvPr>
            <p:cNvSpPr>
              <a:spLocks/>
            </p:cNvSpPr>
            <p:nvPr/>
          </p:nvSpPr>
          <p:spPr bwMode="auto">
            <a:xfrm>
              <a:off x="4634" y="3306"/>
              <a:ext cx="64" cy="62"/>
            </a:xfrm>
            <a:custGeom>
              <a:avLst/>
              <a:gdLst>
                <a:gd name="T0" fmla="*/ 56 w 64"/>
                <a:gd name="T1" fmla="*/ 62 h 62"/>
                <a:gd name="T2" fmla="*/ 56 w 64"/>
                <a:gd name="T3" fmla="*/ 62 h 62"/>
                <a:gd name="T4" fmla="*/ 52 w 64"/>
                <a:gd name="T5" fmla="*/ 62 h 62"/>
                <a:gd name="T6" fmla="*/ 48 w 64"/>
                <a:gd name="T7" fmla="*/ 60 h 62"/>
                <a:gd name="T8" fmla="*/ 4 w 64"/>
                <a:gd name="T9" fmla="*/ 14 h 62"/>
                <a:gd name="T10" fmla="*/ 4 w 64"/>
                <a:gd name="T11" fmla="*/ 14 h 62"/>
                <a:gd name="T12" fmla="*/ 2 w 64"/>
                <a:gd name="T13" fmla="*/ 12 h 62"/>
                <a:gd name="T14" fmla="*/ 0 w 64"/>
                <a:gd name="T15" fmla="*/ 8 h 62"/>
                <a:gd name="T16" fmla="*/ 2 w 64"/>
                <a:gd name="T17" fmla="*/ 6 h 62"/>
                <a:gd name="T18" fmla="*/ 4 w 64"/>
                <a:gd name="T19" fmla="*/ 2 h 62"/>
                <a:gd name="T20" fmla="*/ 4 w 64"/>
                <a:gd name="T21" fmla="*/ 2 h 62"/>
                <a:gd name="T22" fmla="*/ 6 w 64"/>
                <a:gd name="T23" fmla="*/ 0 h 62"/>
                <a:gd name="T24" fmla="*/ 10 w 64"/>
                <a:gd name="T25" fmla="*/ 0 h 62"/>
                <a:gd name="T26" fmla="*/ 12 w 64"/>
                <a:gd name="T27" fmla="*/ 0 h 62"/>
                <a:gd name="T28" fmla="*/ 16 w 64"/>
                <a:gd name="T29" fmla="*/ 2 h 62"/>
                <a:gd name="T30" fmla="*/ 62 w 64"/>
                <a:gd name="T31" fmla="*/ 46 h 62"/>
                <a:gd name="T32" fmla="*/ 62 w 64"/>
                <a:gd name="T33" fmla="*/ 46 h 62"/>
                <a:gd name="T34" fmla="*/ 64 w 64"/>
                <a:gd name="T35" fmla="*/ 50 h 62"/>
                <a:gd name="T36" fmla="*/ 64 w 64"/>
                <a:gd name="T37" fmla="*/ 52 h 62"/>
                <a:gd name="T38" fmla="*/ 64 w 64"/>
                <a:gd name="T39" fmla="*/ 56 h 62"/>
                <a:gd name="T40" fmla="*/ 62 w 64"/>
                <a:gd name="T41" fmla="*/ 60 h 62"/>
                <a:gd name="T42" fmla="*/ 62 w 64"/>
                <a:gd name="T43" fmla="*/ 60 h 62"/>
                <a:gd name="T44" fmla="*/ 58 w 64"/>
                <a:gd name="T45" fmla="*/ 62 h 62"/>
                <a:gd name="T46" fmla="*/ 56 w 64"/>
                <a:gd name="T47" fmla="*/ 62 h 62"/>
                <a:gd name="T48" fmla="*/ 56 w 64"/>
                <a:gd name="T49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4" h="62">
                  <a:moveTo>
                    <a:pt x="56" y="62"/>
                  </a:moveTo>
                  <a:lnTo>
                    <a:pt x="56" y="62"/>
                  </a:lnTo>
                  <a:lnTo>
                    <a:pt x="52" y="62"/>
                  </a:lnTo>
                  <a:lnTo>
                    <a:pt x="48" y="60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2" y="12"/>
                  </a:lnTo>
                  <a:lnTo>
                    <a:pt x="0" y="8"/>
                  </a:lnTo>
                  <a:lnTo>
                    <a:pt x="2" y="6"/>
                  </a:lnTo>
                  <a:lnTo>
                    <a:pt x="4" y="2"/>
                  </a:lnTo>
                  <a:lnTo>
                    <a:pt x="4" y="2"/>
                  </a:lnTo>
                  <a:lnTo>
                    <a:pt x="6" y="0"/>
                  </a:lnTo>
                  <a:lnTo>
                    <a:pt x="10" y="0"/>
                  </a:lnTo>
                  <a:lnTo>
                    <a:pt x="12" y="0"/>
                  </a:lnTo>
                  <a:lnTo>
                    <a:pt x="16" y="2"/>
                  </a:lnTo>
                  <a:lnTo>
                    <a:pt x="62" y="46"/>
                  </a:lnTo>
                  <a:lnTo>
                    <a:pt x="62" y="46"/>
                  </a:lnTo>
                  <a:lnTo>
                    <a:pt x="64" y="50"/>
                  </a:lnTo>
                  <a:lnTo>
                    <a:pt x="64" y="52"/>
                  </a:lnTo>
                  <a:lnTo>
                    <a:pt x="64" y="56"/>
                  </a:lnTo>
                  <a:lnTo>
                    <a:pt x="62" y="60"/>
                  </a:lnTo>
                  <a:lnTo>
                    <a:pt x="62" y="60"/>
                  </a:lnTo>
                  <a:lnTo>
                    <a:pt x="58" y="62"/>
                  </a:lnTo>
                  <a:lnTo>
                    <a:pt x="56" y="62"/>
                  </a:lnTo>
                  <a:lnTo>
                    <a:pt x="56" y="62"/>
                  </a:lnTo>
                  <a:close/>
                </a:path>
              </a:pathLst>
            </a:custGeom>
            <a:solidFill>
              <a:schemeClr val="bg2">
                <a:lumMod val="50000"/>
                <a:lumOff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>
                <a:latin typeface="+mj-lt"/>
              </a:endParaRPr>
            </a:p>
          </p:txBody>
        </p:sp>
        <p:sp>
          <p:nvSpPr>
            <p:cNvPr id="63" name="Freeform 20">
              <a:extLst>
                <a:ext uri="{FF2B5EF4-FFF2-40B4-BE49-F238E27FC236}">
                  <a16:creationId xmlns:a16="http://schemas.microsoft.com/office/drawing/2014/main" id="{ADA0DAC9-1706-464B-96E3-C440A4514922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4" y="3312"/>
              <a:ext cx="64" cy="62"/>
            </a:xfrm>
            <a:custGeom>
              <a:avLst/>
              <a:gdLst>
                <a:gd name="T0" fmla="*/ 10 w 64"/>
                <a:gd name="T1" fmla="*/ 62 h 62"/>
                <a:gd name="T2" fmla="*/ 10 w 64"/>
                <a:gd name="T3" fmla="*/ 62 h 62"/>
                <a:gd name="T4" fmla="*/ 6 w 64"/>
                <a:gd name="T5" fmla="*/ 62 h 62"/>
                <a:gd name="T6" fmla="*/ 4 w 64"/>
                <a:gd name="T7" fmla="*/ 60 h 62"/>
                <a:gd name="T8" fmla="*/ 4 w 64"/>
                <a:gd name="T9" fmla="*/ 60 h 62"/>
                <a:gd name="T10" fmla="*/ 2 w 64"/>
                <a:gd name="T11" fmla="*/ 58 h 62"/>
                <a:gd name="T12" fmla="*/ 0 w 64"/>
                <a:gd name="T13" fmla="*/ 54 h 62"/>
                <a:gd name="T14" fmla="*/ 2 w 64"/>
                <a:gd name="T15" fmla="*/ 50 h 62"/>
                <a:gd name="T16" fmla="*/ 4 w 64"/>
                <a:gd name="T17" fmla="*/ 48 h 62"/>
                <a:gd name="T18" fmla="*/ 50 w 64"/>
                <a:gd name="T19" fmla="*/ 2 h 62"/>
                <a:gd name="T20" fmla="*/ 50 w 64"/>
                <a:gd name="T21" fmla="*/ 2 h 62"/>
                <a:gd name="T22" fmla="*/ 52 w 64"/>
                <a:gd name="T23" fmla="*/ 0 h 62"/>
                <a:gd name="T24" fmla="*/ 56 w 64"/>
                <a:gd name="T25" fmla="*/ 0 h 62"/>
                <a:gd name="T26" fmla="*/ 58 w 64"/>
                <a:gd name="T27" fmla="*/ 0 h 62"/>
                <a:gd name="T28" fmla="*/ 62 w 64"/>
                <a:gd name="T29" fmla="*/ 2 h 62"/>
                <a:gd name="T30" fmla="*/ 62 w 64"/>
                <a:gd name="T31" fmla="*/ 2 h 62"/>
                <a:gd name="T32" fmla="*/ 64 w 64"/>
                <a:gd name="T33" fmla="*/ 6 h 62"/>
                <a:gd name="T34" fmla="*/ 64 w 64"/>
                <a:gd name="T35" fmla="*/ 10 h 62"/>
                <a:gd name="T36" fmla="*/ 64 w 64"/>
                <a:gd name="T37" fmla="*/ 12 h 62"/>
                <a:gd name="T38" fmla="*/ 62 w 64"/>
                <a:gd name="T39" fmla="*/ 16 h 62"/>
                <a:gd name="T40" fmla="*/ 16 w 64"/>
                <a:gd name="T41" fmla="*/ 60 h 62"/>
                <a:gd name="T42" fmla="*/ 16 w 64"/>
                <a:gd name="T43" fmla="*/ 60 h 62"/>
                <a:gd name="T44" fmla="*/ 14 w 64"/>
                <a:gd name="T45" fmla="*/ 62 h 62"/>
                <a:gd name="T46" fmla="*/ 10 w 64"/>
                <a:gd name="T47" fmla="*/ 62 h 62"/>
                <a:gd name="T48" fmla="*/ 10 w 64"/>
                <a:gd name="T49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4" h="62">
                  <a:moveTo>
                    <a:pt x="10" y="62"/>
                  </a:moveTo>
                  <a:lnTo>
                    <a:pt x="10" y="62"/>
                  </a:lnTo>
                  <a:lnTo>
                    <a:pt x="6" y="62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2" y="58"/>
                  </a:lnTo>
                  <a:lnTo>
                    <a:pt x="0" y="54"/>
                  </a:lnTo>
                  <a:lnTo>
                    <a:pt x="2" y="50"/>
                  </a:lnTo>
                  <a:lnTo>
                    <a:pt x="4" y="48"/>
                  </a:lnTo>
                  <a:lnTo>
                    <a:pt x="50" y="2"/>
                  </a:lnTo>
                  <a:lnTo>
                    <a:pt x="50" y="2"/>
                  </a:lnTo>
                  <a:lnTo>
                    <a:pt x="52" y="0"/>
                  </a:lnTo>
                  <a:lnTo>
                    <a:pt x="56" y="0"/>
                  </a:lnTo>
                  <a:lnTo>
                    <a:pt x="58" y="0"/>
                  </a:lnTo>
                  <a:lnTo>
                    <a:pt x="62" y="2"/>
                  </a:lnTo>
                  <a:lnTo>
                    <a:pt x="62" y="2"/>
                  </a:lnTo>
                  <a:lnTo>
                    <a:pt x="64" y="6"/>
                  </a:lnTo>
                  <a:lnTo>
                    <a:pt x="64" y="10"/>
                  </a:lnTo>
                  <a:lnTo>
                    <a:pt x="64" y="12"/>
                  </a:lnTo>
                  <a:lnTo>
                    <a:pt x="62" y="16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4" y="62"/>
                  </a:lnTo>
                  <a:lnTo>
                    <a:pt x="10" y="62"/>
                  </a:lnTo>
                  <a:lnTo>
                    <a:pt x="10" y="62"/>
                  </a:lnTo>
                  <a:close/>
                </a:path>
              </a:pathLst>
            </a:custGeom>
            <a:solidFill>
              <a:schemeClr val="bg2">
                <a:lumMod val="50000"/>
                <a:lumOff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>
                <a:latin typeface="+mj-lt"/>
              </a:endParaRPr>
            </a:p>
          </p:txBody>
        </p:sp>
        <p:sp>
          <p:nvSpPr>
            <p:cNvPr id="64" name="Freeform 21">
              <a:extLst>
                <a:ext uri="{FF2B5EF4-FFF2-40B4-BE49-F238E27FC236}">
                  <a16:creationId xmlns:a16="http://schemas.microsoft.com/office/drawing/2014/main" id="{BF5F122E-BD54-4DEC-AE19-C2F52585426A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0" y="3046"/>
              <a:ext cx="36" cy="56"/>
            </a:xfrm>
            <a:custGeom>
              <a:avLst/>
              <a:gdLst>
                <a:gd name="T0" fmla="*/ 28 w 36"/>
                <a:gd name="T1" fmla="*/ 56 h 56"/>
                <a:gd name="T2" fmla="*/ 28 w 36"/>
                <a:gd name="T3" fmla="*/ 56 h 56"/>
                <a:gd name="T4" fmla="*/ 24 w 36"/>
                <a:gd name="T5" fmla="*/ 54 h 56"/>
                <a:gd name="T6" fmla="*/ 20 w 36"/>
                <a:gd name="T7" fmla="*/ 52 h 56"/>
                <a:gd name="T8" fmla="*/ 0 w 36"/>
                <a:gd name="T9" fmla="*/ 14 h 56"/>
                <a:gd name="T10" fmla="*/ 0 w 36"/>
                <a:gd name="T11" fmla="*/ 14 h 56"/>
                <a:gd name="T12" fmla="*/ 0 w 36"/>
                <a:gd name="T13" fmla="*/ 10 h 56"/>
                <a:gd name="T14" fmla="*/ 0 w 36"/>
                <a:gd name="T15" fmla="*/ 6 h 56"/>
                <a:gd name="T16" fmla="*/ 2 w 36"/>
                <a:gd name="T17" fmla="*/ 4 h 56"/>
                <a:gd name="T18" fmla="*/ 4 w 36"/>
                <a:gd name="T19" fmla="*/ 2 h 56"/>
                <a:gd name="T20" fmla="*/ 4 w 36"/>
                <a:gd name="T21" fmla="*/ 2 h 56"/>
                <a:gd name="T22" fmla="*/ 8 w 36"/>
                <a:gd name="T23" fmla="*/ 0 h 56"/>
                <a:gd name="T24" fmla="*/ 12 w 36"/>
                <a:gd name="T25" fmla="*/ 0 h 56"/>
                <a:gd name="T26" fmla="*/ 14 w 36"/>
                <a:gd name="T27" fmla="*/ 2 h 56"/>
                <a:gd name="T28" fmla="*/ 16 w 36"/>
                <a:gd name="T29" fmla="*/ 6 h 56"/>
                <a:gd name="T30" fmla="*/ 36 w 36"/>
                <a:gd name="T31" fmla="*/ 42 h 56"/>
                <a:gd name="T32" fmla="*/ 36 w 36"/>
                <a:gd name="T33" fmla="*/ 42 h 56"/>
                <a:gd name="T34" fmla="*/ 36 w 36"/>
                <a:gd name="T35" fmla="*/ 46 h 56"/>
                <a:gd name="T36" fmla="*/ 36 w 36"/>
                <a:gd name="T37" fmla="*/ 50 h 56"/>
                <a:gd name="T38" fmla="*/ 34 w 36"/>
                <a:gd name="T39" fmla="*/ 52 h 56"/>
                <a:gd name="T40" fmla="*/ 32 w 36"/>
                <a:gd name="T41" fmla="*/ 54 h 56"/>
                <a:gd name="T42" fmla="*/ 32 w 36"/>
                <a:gd name="T43" fmla="*/ 54 h 56"/>
                <a:gd name="T44" fmla="*/ 28 w 36"/>
                <a:gd name="T45" fmla="*/ 56 h 56"/>
                <a:gd name="T46" fmla="*/ 28 w 36"/>
                <a:gd name="T4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6" h="56">
                  <a:moveTo>
                    <a:pt x="28" y="56"/>
                  </a:moveTo>
                  <a:lnTo>
                    <a:pt x="28" y="56"/>
                  </a:lnTo>
                  <a:lnTo>
                    <a:pt x="24" y="54"/>
                  </a:lnTo>
                  <a:lnTo>
                    <a:pt x="20" y="52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0"/>
                  </a:lnTo>
                  <a:lnTo>
                    <a:pt x="0" y="6"/>
                  </a:lnTo>
                  <a:lnTo>
                    <a:pt x="2" y="4"/>
                  </a:lnTo>
                  <a:lnTo>
                    <a:pt x="4" y="2"/>
                  </a:lnTo>
                  <a:lnTo>
                    <a:pt x="4" y="2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4" y="2"/>
                  </a:lnTo>
                  <a:lnTo>
                    <a:pt x="16" y="6"/>
                  </a:lnTo>
                  <a:lnTo>
                    <a:pt x="36" y="42"/>
                  </a:lnTo>
                  <a:lnTo>
                    <a:pt x="36" y="42"/>
                  </a:lnTo>
                  <a:lnTo>
                    <a:pt x="36" y="46"/>
                  </a:lnTo>
                  <a:lnTo>
                    <a:pt x="36" y="50"/>
                  </a:lnTo>
                  <a:lnTo>
                    <a:pt x="34" y="52"/>
                  </a:lnTo>
                  <a:lnTo>
                    <a:pt x="32" y="54"/>
                  </a:lnTo>
                  <a:lnTo>
                    <a:pt x="32" y="54"/>
                  </a:lnTo>
                  <a:lnTo>
                    <a:pt x="28" y="56"/>
                  </a:lnTo>
                  <a:lnTo>
                    <a:pt x="28" y="56"/>
                  </a:lnTo>
                  <a:close/>
                </a:path>
              </a:pathLst>
            </a:custGeom>
            <a:solidFill>
              <a:schemeClr val="bg2">
                <a:lumMod val="50000"/>
                <a:lumOff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>
                <a:latin typeface="+mj-lt"/>
              </a:endParaRPr>
            </a:p>
          </p:txBody>
        </p:sp>
        <p:sp>
          <p:nvSpPr>
            <p:cNvPr id="65" name="Freeform 22">
              <a:extLst>
                <a:ext uri="{FF2B5EF4-FFF2-40B4-BE49-F238E27FC236}">
                  <a16:creationId xmlns:a16="http://schemas.microsoft.com/office/drawing/2014/main" id="{8989C991-91FA-4481-A905-74A6B389EF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38" y="3062"/>
              <a:ext cx="412" cy="342"/>
            </a:xfrm>
            <a:custGeom>
              <a:avLst/>
              <a:gdLst>
                <a:gd name="T0" fmla="*/ 124 w 412"/>
                <a:gd name="T1" fmla="*/ 342 h 342"/>
                <a:gd name="T2" fmla="*/ 124 w 412"/>
                <a:gd name="T3" fmla="*/ 342 h 342"/>
                <a:gd name="T4" fmla="*/ 122 w 412"/>
                <a:gd name="T5" fmla="*/ 340 h 342"/>
                <a:gd name="T6" fmla="*/ 118 w 412"/>
                <a:gd name="T7" fmla="*/ 338 h 342"/>
                <a:gd name="T8" fmla="*/ 4 w 412"/>
                <a:gd name="T9" fmla="*/ 224 h 342"/>
                <a:gd name="T10" fmla="*/ 4 w 412"/>
                <a:gd name="T11" fmla="*/ 224 h 342"/>
                <a:gd name="T12" fmla="*/ 2 w 412"/>
                <a:gd name="T13" fmla="*/ 220 h 342"/>
                <a:gd name="T14" fmla="*/ 0 w 412"/>
                <a:gd name="T15" fmla="*/ 218 h 342"/>
                <a:gd name="T16" fmla="*/ 2 w 412"/>
                <a:gd name="T17" fmla="*/ 214 h 342"/>
                <a:gd name="T18" fmla="*/ 4 w 412"/>
                <a:gd name="T19" fmla="*/ 210 h 342"/>
                <a:gd name="T20" fmla="*/ 48 w 412"/>
                <a:gd name="T21" fmla="*/ 166 h 342"/>
                <a:gd name="T22" fmla="*/ 48 w 412"/>
                <a:gd name="T23" fmla="*/ 166 h 342"/>
                <a:gd name="T24" fmla="*/ 50 w 412"/>
                <a:gd name="T25" fmla="*/ 164 h 342"/>
                <a:gd name="T26" fmla="*/ 54 w 412"/>
                <a:gd name="T27" fmla="*/ 164 h 342"/>
                <a:gd name="T28" fmla="*/ 58 w 412"/>
                <a:gd name="T29" fmla="*/ 164 h 342"/>
                <a:gd name="T30" fmla="*/ 60 w 412"/>
                <a:gd name="T31" fmla="*/ 166 h 342"/>
                <a:gd name="T32" fmla="*/ 124 w 412"/>
                <a:gd name="T33" fmla="*/ 230 h 342"/>
                <a:gd name="T34" fmla="*/ 352 w 412"/>
                <a:gd name="T35" fmla="*/ 2 h 342"/>
                <a:gd name="T36" fmla="*/ 352 w 412"/>
                <a:gd name="T37" fmla="*/ 2 h 342"/>
                <a:gd name="T38" fmla="*/ 356 w 412"/>
                <a:gd name="T39" fmla="*/ 0 h 342"/>
                <a:gd name="T40" fmla="*/ 358 w 412"/>
                <a:gd name="T41" fmla="*/ 0 h 342"/>
                <a:gd name="T42" fmla="*/ 362 w 412"/>
                <a:gd name="T43" fmla="*/ 0 h 342"/>
                <a:gd name="T44" fmla="*/ 364 w 412"/>
                <a:gd name="T45" fmla="*/ 2 h 342"/>
                <a:gd name="T46" fmla="*/ 410 w 412"/>
                <a:gd name="T47" fmla="*/ 48 h 342"/>
                <a:gd name="T48" fmla="*/ 410 w 412"/>
                <a:gd name="T49" fmla="*/ 48 h 342"/>
                <a:gd name="T50" fmla="*/ 412 w 412"/>
                <a:gd name="T51" fmla="*/ 50 h 342"/>
                <a:gd name="T52" fmla="*/ 412 w 412"/>
                <a:gd name="T53" fmla="*/ 54 h 342"/>
                <a:gd name="T54" fmla="*/ 412 w 412"/>
                <a:gd name="T55" fmla="*/ 54 h 342"/>
                <a:gd name="T56" fmla="*/ 412 w 412"/>
                <a:gd name="T57" fmla="*/ 58 h 342"/>
                <a:gd name="T58" fmla="*/ 410 w 412"/>
                <a:gd name="T59" fmla="*/ 60 h 342"/>
                <a:gd name="T60" fmla="*/ 132 w 412"/>
                <a:gd name="T61" fmla="*/ 338 h 342"/>
                <a:gd name="T62" fmla="*/ 132 w 412"/>
                <a:gd name="T63" fmla="*/ 338 h 342"/>
                <a:gd name="T64" fmla="*/ 128 w 412"/>
                <a:gd name="T65" fmla="*/ 340 h 342"/>
                <a:gd name="T66" fmla="*/ 124 w 412"/>
                <a:gd name="T67" fmla="*/ 342 h 342"/>
                <a:gd name="T68" fmla="*/ 124 w 412"/>
                <a:gd name="T69" fmla="*/ 342 h 342"/>
                <a:gd name="T70" fmla="*/ 22 w 412"/>
                <a:gd name="T71" fmla="*/ 218 h 342"/>
                <a:gd name="T72" fmla="*/ 124 w 412"/>
                <a:gd name="T73" fmla="*/ 320 h 342"/>
                <a:gd name="T74" fmla="*/ 232 w 412"/>
                <a:gd name="T75" fmla="*/ 212 h 342"/>
                <a:gd name="T76" fmla="*/ 232 w 412"/>
                <a:gd name="T77" fmla="*/ 212 h 342"/>
                <a:gd name="T78" fmla="*/ 390 w 412"/>
                <a:gd name="T79" fmla="*/ 54 h 342"/>
                <a:gd name="T80" fmla="*/ 358 w 412"/>
                <a:gd name="T81" fmla="*/ 22 h 342"/>
                <a:gd name="T82" fmla="*/ 130 w 412"/>
                <a:gd name="T83" fmla="*/ 250 h 342"/>
                <a:gd name="T84" fmla="*/ 130 w 412"/>
                <a:gd name="T85" fmla="*/ 250 h 342"/>
                <a:gd name="T86" fmla="*/ 128 w 412"/>
                <a:gd name="T87" fmla="*/ 252 h 342"/>
                <a:gd name="T88" fmla="*/ 124 w 412"/>
                <a:gd name="T89" fmla="*/ 252 h 342"/>
                <a:gd name="T90" fmla="*/ 122 w 412"/>
                <a:gd name="T91" fmla="*/ 252 h 342"/>
                <a:gd name="T92" fmla="*/ 118 w 412"/>
                <a:gd name="T93" fmla="*/ 250 h 342"/>
                <a:gd name="T94" fmla="*/ 54 w 412"/>
                <a:gd name="T95" fmla="*/ 186 h 342"/>
                <a:gd name="T96" fmla="*/ 22 w 412"/>
                <a:gd name="T97" fmla="*/ 218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12" h="342">
                  <a:moveTo>
                    <a:pt x="124" y="342"/>
                  </a:moveTo>
                  <a:lnTo>
                    <a:pt x="124" y="342"/>
                  </a:lnTo>
                  <a:lnTo>
                    <a:pt x="122" y="340"/>
                  </a:lnTo>
                  <a:lnTo>
                    <a:pt x="118" y="338"/>
                  </a:lnTo>
                  <a:lnTo>
                    <a:pt x="4" y="224"/>
                  </a:lnTo>
                  <a:lnTo>
                    <a:pt x="4" y="224"/>
                  </a:lnTo>
                  <a:lnTo>
                    <a:pt x="2" y="220"/>
                  </a:lnTo>
                  <a:lnTo>
                    <a:pt x="0" y="218"/>
                  </a:lnTo>
                  <a:lnTo>
                    <a:pt x="2" y="214"/>
                  </a:lnTo>
                  <a:lnTo>
                    <a:pt x="4" y="210"/>
                  </a:lnTo>
                  <a:lnTo>
                    <a:pt x="48" y="166"/>
                  </a:lnTo>
                  <a:lnTo>
                    <a:pt x="48" y="166"/>
                  </a:lnTo>
                  <a:lnTo>
                    <a:pt x="50" y="164"/>
                  </a:lnTo>
                  <a:lnTo>
                    <a:pt x="54" y="164"/>
                  </a:lnTo>
                  <a:lnTo>
                    <a:pt x="58" y="164"/>
                  </a:lnTo>
                  <a:lnTo>
                    <a:pt x="60" y="166"/>
                  </a:lnTo>
                  <a:lnTo>
                    <a:pt x="124" y="230"/>
                  </a:lnTo>
                  <a:lnTo>
                    <a:pt x="352" y="2"/>
                  </a:lnTo>
                  <a:lnTo>
                    <a:pt x="352" y="2"/>
                  </a:lnTo>
                  <a:lnTo>
                    <a:pt x="356" y="0"/>
                  </a:lnTo>
                  <a:lnTo>
                    <a:pt x="358" y="0"/>
                  </a:lnTo>
                  <a:lnTo>
                    <a:pt x="362" y="0"/>
                  </a:lnTo>
                  <a:lnTo>
                    <a:pt x="364" y="2"/>
                  </a:lnTo>
                  <a:lnTo>
                    <a:pt x="410" y="48"/>
                  </a:lnTo>
                  <a:lnTo>
                    <a:pt x="410" y="48"/>
                  </a:lnTo>
                  <a:lnTo>
                    <a:pt x="412" y="50"/>
                  </a:lnTo>
                  <a:lnTo>
                    <a:pt x="412" y="54"/>
                  </a:lnTo>
                  <a:lnTo>
                    <a:pt x="412" y="54"/>
                  </a:lnTo>
                  <a:lnTo>
                    <a:pt x="412" y="58"/>
                  </a:lnTo>
                  <a:lnTo>
                    <a:pt x="410" y="60"/>
                  </a:lnTo>
                  <a:lnTo>
                    <a:pt x="132" y="338"/>
                  </a:lnTo>
                  <a:lnTo>
                    <a:pt x="132" y="338"/>
                  </a:lnTo>
                  <a:lnTo>
                    <a:pt x="128" y="340"/>
                  </a:lnTo>
                  <a:lnTo>
                    <a:pt x="124" y="342"/>
                  </a:lnTo>
                  <a:lnTo>
                    <a:pt x="124" y="342"/>
                  </a:lnTo>
                  <a:close/>
                  <a:moveTo>
                    <a:pt x="22" y="218"/>
                  </a:moveTo>
                  <a:lnTo>
                    <a:pt x="124" y="320"/>
                  </a:lnTo>
                  <a:lnTo>
                    <a:pt x="232" y="212"/>
                  </a:lnTo>
                  <a:lnTo>
                    <a:pt x="232" y="212"/>
                  </a:lnTo>
                  <a:lnTo>
                    <a:pt x="390" y="54"/>
                  </a:lnTo>
                  <a:lnTo>
                    <a:pt x="358" y="22"/>
                  </a:lnTo>
                  <a:lnTo>
                    <a:pt x="130" y="250"/>
                  </a:lnTo>
                  <a:lnTo>
                    <a:pt x="130" y="250"/>
                  </a:lnTo>
                  <a:lnTo>
                    <a:pt x="128" y="252"/>
                  </a:lnTo>
                  <a:lnTo>
                    <a:pt x="124" y="252"/>
                  </a:lnTo>
                  <a:lnTo>
                    <a:pt x="122" y="252"/>
                  </a:lnTo>
                  <a:lnTo>
                    <a:pt x="118" y="250"/>
                  </a:lnTo>
                  <a:lnTo>
                    <a:pt x="54" y="186"/>
                  </a:lnTo>
                  <a:lnTo>
                    <a:pt x="22" y="218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>
                <a:latin typeface="+mj-lt"/>
              </a:endParaRPr>
            </a:p>
          </p:txBody>
        </p:sp>
      </p:grpSp>
      <p:sp>
        <p:nvSpPr>
          <p:cNvPr id="66" name="Content Placeholder 1"/>
          <p:cNvSpPr>
            <a:spLocks noGrp="1"/>
          </p:cNvSpPr>
          <p:nvPr>
            <p:ph idx="1"/>
          </p:nvPr>
        </p:nvSpPr>
        <p:spPr>
          <a:xfrm>
            <a:off x="7315201" y="4291625"/>
            <a:ext cx="3682686" cy="889976"/>
          </a:xfrm>
        </p:spPr>
        <p:txBody>
          <a:bodyPr/>
          <a:lstStyle/>
          <a:p>
            <a:r>
              <a:rPr lang="ru-RU" sz="1200" dirty="0" smtClean="0">
                <a:latin typeface="+mj-lt"/>
              </a:rPr>
              <a:t>Подготовка правовой позиции </a:t>
            </a:r>
          </a:p>
          <a:p>
            <a:r>
              <a:rPr lang="ru-RU" sz="1200" dirty="0" smtClean="0">
                <a:latin typeface="+mj-lt"/>
              </a:rPr>
              <a:t>Тесное взаимодействие с исполнителем по проверке</a:t>
            </a:r>
          </a:p>
        </p:txBody>
      </p:sp>
    </p:spTree>
    <p:extLst>
      <p:ext uri="{BB962C8B-B14F-4D97-AF65-F5344CB8AC3E}">
        <p14:creationId xmlns:p14="http://schemas.microsoft.com/office/powerpoint/2010/main" val="2133371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612000" y="1152000"/>
            <a:ext cx="6927607" cy="4947920"/>
          </a:xfrm>
        </p:spPr>
        <p:txBody>
          <a:bodyPr/>
          <a:lstStyle/>
          <a:p>
            <a:pPr marL="342900" indent="-342900" algn="just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buClr>
                <a:srgbClr val="4AA851"/>
              </a:buClr>
              <a:buFont typeface="Arial" panose="020B0604020202020204" pitchFamily="34" charset="0"/>
              <a:buChar char="►"/>
              <a:defRPr/>
            </a:pPr>
            <a:r>
              <a:rPr lang="ru-RU" sz="1400" b="1" dirty="0">
                <a:solidFill>
                  <a:srgbClr val="2E2E38"/>
                </a:solidFill>
                <a:latin typeface="+mj-lt"/>
                <a:cs typeface="Times New Roman" panose="02020603050405020304" pitchFamily="18" charset="0"/>
              </a:rPr>
              <a:t>Анализ </a:t>
            </a:r>
            <a:r>
              <a:rPr lang="ru-RU" sz="1400" b="1" dirty="0" smtClean="0">
                <a:solidFill>
                  <a:srgbClr val="2E2E38"/>
                </a:solidFill>
                <a:latin typeface="+mj-lt"/>
                <a:cs typeface="Times New Roman" panose="02020603050405020304" pitchFamily="18" charset="0"/>
              </a:rPr>
              <a:t>лицензионной (внутригрупповой) </a:t>
            </a:r>
            <a:r>
              <a:rPr lang="ru-RU" sz="1400" b="1" dirty="0">
                <a:solidFill>
                  <a:srgbClr val="2E2E38"/>
                </a:solidFill>
                <a:latin typeface="+mj-lt"/>
                <a:cs typeface="Times New Roman" panose="02020603050405020304" pitchFamily="18" charset="0"/>
              </a:rPr>
              <a:t>структуры и рисков включения </a:t>
            </a:r>
            <a:r>
              <a:rPr lang="ru-RU" sz="1400" b="1" dirty="0" smtClean="0">
                <a:solidFill>
                  <a:srgbClr val="2E2E38"/>
                </a:solidFill>
                <a:latin typeface="+mj-lt"/>
                <a:cs typeface="Times New Roman" panose="02020603050405020304" pitchFamily="18" charset="0"/>
              </a:rPr>
              <a:t>лицензионных (внутригрупповых) </a:t>
            </a:r>
            <a:r>
              <a:rPr lang="ru-RU" sz="1400" b="1" dirty="0">
                <a:solidFill>
                  <a:srgbClr val="2E2E38"/>
                </a:solidFill>
                <a:latin typeface="+mj-lt"/>
                <a:cs typeface="Times New Roman" panose="02020603050405020304" pitchFamily="18" charset="0"/>
              </a:rPr>
              <a:t>платежей и </a:t>
            </a:r>
            <a:r>
              <a:rPr lang="ru-RU" sz="1400" b="1" dirty="0" smtClean="0">
                <a:solidFill>
                  <a:srgbClr val="2E2E38"/>
                </a:solidFill>
                <a:latin typeface="+mj-lt"/>
                <a:cs typeface="Times New Roman" panose="02020603050405020304" pitchFamily="18" charset="0"/>
              </a:rPr>
              <a:t>агентских налогов с роялти </a:t>
            </a:r>
            <a:r>
              <a:rPr lang="ru-RU" sz="1400" b="1" dirty="0">
                <a:solidFill>
                  <a:srgbClr val="2E2E38"/>
                </a:solidFill>
                <a:latin typeface="+mj-lt"/>
                <a:cs typeface="Times New Roman" panose="02020603050405020304" pitchFamily="18" charset="0"/>
              </a:rPr>
              <a:t>в таможенную стоимость</a:t>
            </a:r>
          </a:p>
          <a:p>
            <a:pPr marL="342900" lvl="0" indent="-342900" algn="just" defTabSz="914400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buClr>
                <a:srgbClr val="4AA851"/>
              </a:buClr>
              <a:buFont typeface="Arial" panose="020B0604020202020204" pitchFamily="34" charset="0"/>
              <a:buChar char="►"/>
              <a:defRPr/>
            </a:pPr>
            <a:r>
              <a:rPr lang="en-US" sz="1400" b="1" dirty="0">
                <a:solidFill>
                  <a:srgbClr val="2E2E38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Self-disclosure* </a:t>
            </a:r>
            <a:r>
              <a:rPr lang="ru-RU" sz="1400" i="1" dirty="0">
                <a:solidFill>
                  <a:srgbClr val="2E2E38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(при </a:t>
            </a:r>
            <a:r>
              <a:rPr lang="ru-RU" sz="1400" i="1" dirty="0" err="1" smtClean="0">
                <a:solidFill>
                  <a:srgbClr val="2E2E38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невключении</a:t>
            </a:r>
            <a:r>
              <a:rPr lang="en-US" sz="1400" i="1" dirty="0" smtClean="0">
                <a:solidFill>
                  <a:srgbClr val="2E2E38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/ </a:t>
            </a:r>
            <a:r>
              <a:rPr lang="ru-RU" sz="1400" i="1" dirty="0" smtClean="0">
                <a:solidFill>
                  <a:srgbClr val="2E2E38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некорректном </a:t>
            </a:r>
            <a:r>
              <a:rPr lang="ru-RU" sz="1400" i="1" dirty="0">
                <a:solidFill>
                  <a:srgbClr val="2E2E38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включении лицензионных платежей</a:t>
            </a:r>
            <a:r>
              <a:rPr lang="en-US" sz="1400" i="1" dirty="0">
                <a:solidFill>
                  <a:srgbClr val="2E2E38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i="1" dirty="0">
                <a:solidFill>
                  <a:srgbClr val="2E2E38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в таможенную стоимость)</a:t>
            </a:r>
          </a:p>
          <a:p>
            <a:pPr marL="342900" lvl="0" indent="-342900" algn="just" defTabSz="914400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buClr>
                <a:srgbClr val="4AA851"/>
              </a:buClr>
              <a:buFont typeface="Arial" panose="020B0604020202020204" pitchFamily="34" charset="0"/>
              <a:buChar char="►"/>
              <a:defRPr/>
            </a:pPr>
            <a:r>
              <a:rPr lang="ru-RU" sz="1400" b="1" dirty="0">
                <a:solidFill>
                  <a:srgbClr val="2E2E38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Перепроверка сведений, представляемых в налоговые органы в части начисления и уплаты роялти</a:t>
            </a:r>
            <a:endParaRPr lang="en-US" sz="1400" dirty="0">
              <a:solidFill>
                <a:srgbClr val="2E2E38"/>
              </a:solidFill>
              <a:highlight>
                <a:srgbClr val="FFFF00"/>
              </a:highlight>
              <a:latin typeface="+mj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buClr>
                <a:srgbClr val="4AA851"/>
              </a:buClr>
              <a:buFont typeface="Arial" panose="020B0604020202020204" pitchFamily="34" charset="0"/>
              <a:buChar char="►"/>
              <a:defRPr/>
            </a:pPr>
            <a:r>
              <a:rPr lang="ru-RU" sz="1400" b="1" dirty="0">
                <a:solidFill>
                  <a:srgbClr val="2E2E38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Формирование </a:t>
            </a:r>
            <a:r>
              <a:rPr lang="ru-RU" sz="1400" b="1" dirty="0" smtClean="0">
                <a:solidFill>
                  <a:srgbClr val="2E2E38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правовой позиции касательно отсутствия необходимости включения роялти в ТС </a:t>
            </a:r>
            <a:r>
              <a:rPr lang="ru-RU" sz="1400" i="1" dirty="0" smtClean="0">
                <a:solidFill>
                  <a:srgbClr val="2E2E38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(для </a:t>
            </a:r>
            <a:r>
              <a:rPr lang="ru-RU" sz="1400" i="1" dirty="0">
                <a:solidFill>
                  <a:srgbClr val="2E2E38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представления в рамках проверки после выпуска отдельно или как часть ответа на требование</a:t>
            </a:r>
            <a:r>
              <a:rPr lang="en-US" sz="1400" i="1" dirty="0">
                <a:solidFill>
                  <a:srgbClr val="2E2E38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/</a:t>
            </a:r>
            <a:r>
              <a:rPr lang="ru-RU" sz="1400" i="1" dirty="0">
                <a:solidFill>
                  <a:srgbClr val="2E2E38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запрос таможенного органа)</a:t>
            </a:r>
          </a:p>
          <a:p>
            <a:pPr marL="342900" indent="-342900" algn="just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buClr>
                <a:srgbClr val="4AA851"/>
              </a:buClr>
              <a:buFont typeface="Arial" panose="020B0604020202020204" pitchFamily="34" charset="0"/>
              <a:buChar char="►"/>
              <a:defRPr/>
            </a:pPr>
            <a:r>
              <a:rPr lang="ru-RU" sz="1400" b="1" dirty="0">
                <a:solidFill>
                  <a:srgbClr val="2E2E38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Формирование защитной мотивированной позиции по агентскому </a:t>
            </a:r>
            <a:r>
              <a:rPr lang="ru-RU" sz="1400" b="1" dirty="0" smtClean="0">
                <a:solidFill>
                  <a:srgbClr val="2E2E38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НДС</a:t>
            </a:r>
            <a:r>
              <a:rPr lang="en-US" sz="1400" b="1" dirty="0" smtClean="0">
                <a:solidFill>
                  <a:srgbClr val="2E2E38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b="1" dirty="0" smtClean="0">
                <a:solidFill>
                  <a:srgbClr val="2E2E38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и налога на прибыль </a:t>
            </a:r>
            <a:r>
              <a:rPr lang="ru-RU" sz="1400" i="1" dirty="0">
                <a:solidFill>
                  <a:srgbClr val="2E2E38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(для представления в рамках проверки после выпуска отдельно или как часть ответа на требование</a:t>
            </a:r>
            <a:r>
              <a:rPr lang="en-US" sz="1400" i="1" dirty="0">
                <a:solidFill>
                  <a:srgbClr val="2E2E38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/</a:t>
            </a:r>
            <a:r>
              <a:rPr lang="ru-RU" sz="1400" i="1" dirty="0">
                <a:solidFill>
                  <a:srgbClr val="2E2E38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запрос таможенного органа)</a:t>
            </a:r>
          </a:p>
          <a:p>
            <a:pPr marL="342900" lvl="0" indent="-342900" algn="just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buClr>
                <a:srgbClr val="4AA851"/>
              </a:buClr>
              <a:buFont typeface="Arial" panose="020B0604020202020204" pitchFamily="34" charset="0"/>
              <a:buChar char="►"/>
              <a:defRPr/>
            </a:pPr>
            <a:r>
              <a:rPr lang="ru-RU" sz="1400" b="1" dirty="0">
                <a:solidFill>
                  <a:srgbClr val="2E2E38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Проведение встречи с таможенным </a:t>
            </a:r>
            <a:r>
              <a:rPr lang="ru-RU" sz="1400" b="1" dirty="0" smtClean="0">
                <a:solidFill>
                  <a:srgbClr val="2E2E38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органом</a:t>
            </a:r>
            <a:r>
              <a:rPr lang="en-US" sz="1400" b="1" dirty="0" smtClean="0">
                <a:solidFill>
                  <a:srgbClr val="2E2E38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i="1" dirty="0" smtClean="0">
                <a:solidFill>
                  <a:srgbClr val="2E2E38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(до </a:t>
            </a:r>
            <a:r>
              <a:rPr lang="ru-RU" sz="1400" i="1" dirty="0">
                <a:solidFill>
                  <a:srgbClr val="2E2E38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завершения проверочных мероприятий после выпуска)</a:t>
            </a:r>
          </a:p>
          <a:p>
            <a:pPr marL="342900" lvl="0" indent="-342900" algn="just" defTabSz="914400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buClr>
                <a:srgbClr val="4AA851"/>
              </a:buClr>
              <a:buFont typeface="Arial" panose="020B0604020202020204" pitchFamily="34" charset="0"/>
              <a:buChar char="►"/>
              <a:defRPr/>
            </a:pPr>
            <a:r>
              <a:rPr lang="ru-RU" sz="1400" b="1" i="1" dirty="0">
                <a:solidFill>
                  <a:srgbClr val="2E2E38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Формирование стратегии в отношении будущих периодов, например, подготовка письма-разъяснения </a:t>
            </a:r>
            <a:r>
              <a:rPr lang="ru-RU" sz="1400" dirty="0">
                <a:solidFill>
                  <a:srgbClr val="2E2E38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ru-RU" sz="1400" i="1" dirty="0">
                <a:solidFill>
                  <a:srgbClr val="2E2E38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для предоставления при таможенном декларировании</a:t>
            </a:r>
            <a:r>
              <a:rPr lang="ru-RU" sz="1400" i="1" dirty="0" smtClean="0">
                <a:solidFill>
                  <a:srgbClr val="2E2E38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)</a:t>
            </a:r>
          </a:p>
          <a:p>
            <a:pPr marL="342900" lvl="0" indent="-342900" algn="just" defTabSz="914400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buClr>
                <a:srgbClr val="4AA851"/>
              </a:buClr>
              <a:buFont typeface="Arial" panose="020B0604020202020204" pitchFamily="34" charset="0"/>
              <a:buChar char="►"/>
              <a:defRPr/>
            </a:pPr>
            <a:r>
              <a:rPr lang="ru-RU" sz="1400" b="1" dirty="0">
                <a:solidFill>
                  <a:srgbClr val="2E2E38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Внесение изменений в лицензионную структуру </a:t>
            </a:r>
          </a:p>
          <a:p>
            <a:pPr marL="0" indent="0" algn="just">
              <a:buNone/>
            </a:pPr>
            <a:endParaRPr lang="ru-RU" sz="1800" dirty="0">
              <a:latin typeface="+mj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Рекомендации </a:t>
            </a:r>
            <a:r>
              <a:rPr lang="en-US" dirty="0" smtClean="0"/>
              <a:t>B1</a:t>
            </a:r>
            <a:endParaRPr lang="ru-RU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47B9CA9-D312-421C-81F5-C2C8E2F75442}"/>
              </a:ext>
            </a:extLst>
          </p:cNvPr>
          <p:cNvSpPr txBox="1"/>
          <p:nvPr/>
        </p:nvSpPr>
        <p:spPr>
          <a:xfrm>
            <a:off x="9098466" y="4231238"/>
            <a:ext cx="2762713" cy="920252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1200"/>
              </a:spcAft>
              <a:buClr>
                <a:schemeClr val="bg2"/>
              </a:buClr>
              <a:buSzPct val="70000"/>
            </a:pPr>
            <a:r>
              <a:rPr lang="ru-RU" sz="1400" dirty="0">
                <a:solidFill>
                  <a:schemeClr val="bg1"/>
                </a:solidFill>
                <a:latin typeface="+mj-lt"/>
              </a:rPr>
              <a:t>Отсутствует задолженность.</a:t>
            </a:r>
          </a:p>
          <a:p>
            <a:pPr>
              <a:lnSpc>
                <a:spcPct val="85000"/>
              </a:lnSpc>
              <a:spcAft>
                <a:spcPts val="1200"/>
              </a:spcAft>
              <a:buClr>
                <a:schemeClr val="bg2"/>
              </a:buClr>
              <a:buSzPct val="70000"/>
            </a:pPr>
            <a:r>
              <a:rPr lang="ru-RU" sz="1400" dirty="0">
                <a:solidFill>
                  <a:schemeClr val="bg1"/>
                </a:solidFill>
                <a:latin typeface="+mj-lt"/>
              </a:rPr>
              <a:t>Не начата проверка.</a:t>
            </a:r>
          </a:p>
          <a:p>
            <a:pPr>
              <a:lnSpc>
                <a:spcPct val="85000"/>
              </a:lnSpc>
              <a:spcAft>
                <a:spcPts val="1200"/>
              </a:spcAft>
              <a:buClr>
                <a:schemeClr val="bg2"/>
              </a:buClr>
              <a:buSzPct val="70000"/>
            </a:pPr>
            <a:r>
              <a:rPr lang="ru-RU" sz="1400" dirty="0">
                <a:solidFill>
                  <a:schemeClr val="bg1"/>
                </a:solidFill>
                <a:latin typeface="+mj-lt"/>
              </a:rPr>
              <a:t>Не выявлено АП</a:t>
            </a:r>
            <a:r>
              <a:rPr lang="ru-RU" sz="1600" dirty="0">
                <a:solidFill>
                  <a:schemeClr val="bg1"/>
                </a:solidFill>
                <a:latin typeface="+mj-lt"/>
              </a:rPr>
              <a:t>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1F347B6-7C31-43DB-97A4-709406799B20}"/>
              </a:ext>
            </a:extLst>
          </p:cNvPr>
          <p:cNvSpPr txBox="1"/>
          <p:nvPr/>
        </p:nvSpPr>
        <p:spPr>
          <a:xfrm>
            <a:off x="9648731" y="3840695"/>
            <a:ext cx="736818" cy="244865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ru-RU" sz="1600" b="1" i="1">
                <a:solidFill>
                  <a:schemeClr val="bg1"/>
                </a:solidFill>
                <a:latin typeface="+mj-lt"/>
              </a:rPr>
              <a:t>ЕСЛИ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75D78274-5009-43BF-BF43-A867339A36AE}"/>
              </a:ext>
            </a:extLst>
          </p:cNvPr>
          <p:cNvSpPr/>
          <p:nvPr/>
        </p:nvSpPr>
        <p:spPr>
          <a:xfrm>
            <a:off x="8721382" y="4220157"/>
            <a:ext cx="271870" cy="271870"/>
          </a:xfrm>
          <a:prstGeom prst="ellipse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ru-RU" sz="1200" b="1">
                <a:solidFill>
                  <a:schemeClr val="tx1"/>
                </a:solidFill>
                <a:latin typeface="+mj-lt"/>
              </a:rPr>
              <a:t>1</a:t>
            </a:r>
            <a:endParaRPr lang="en-US" sz="1200" b="1">
              <a:solidFill>
                <a:schemeClr val="tx1"/>
              </a:solidFill>
              <a:latin typeface="+mj-lt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81665147-91EA-47AE-AABA-BE4BFCFFF1C3}"/>
              </a:ext>
            </a:extLst>
          </p:cNvPr>
          <p:cNvSpPr/>
          <p:nvPr/>
        </p:nvSpPr>
        <p:spPr>
          <a:xfrm>
            <a:off x="8721382" y="4568502"/>
            <a:ext cx="271870" cy="271870"/>
          </a:xfrm>
          <a:prstGeom prst="ellipse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ru-RU" sz="1200" b="1">
                <a:solidFill>
                  <a:schemeClr val="tx1"/>
                </a:solidFill>
                <a:latin typeface="+mj-lt"/>
              </a:rPr>
              <a:t>2</a:t>
            </a:r>
            <a:endParaRPr lang="en-US" sz="1200" b="1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8" name="Group 29">
            <a:extLst>
              <a:ext uri="{FF2B5EF4-FFF2-40B4-BE49-F238E27FC236}">
                <a16:creationId xmlns:a16="http://schemas.microsoft.com/office/drawing/2014/main" id="{173F928C-DB88-4401-BD53-ECD1D744587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834536" y="3466340"/>
            <a:ext cx="365208" cy="323663"/>
            <a:chOff x="3135" y="878"/>
            <a:chExt cx="756" cy="670"/>
          </a:xfrm>
          <a:solidFill>
            <a:srgbClr val="2E2E38"/>
          </a:solidFill>
        </p:grpSpPr>
        <p:sp>
          <p:nvSpPr>
            <p:cNvPr id="9" name="Freeform 30">
              <a:extLst>
                <a:ext uri="{FF2B5EF4-FFF2-40B4-BE49-F238E27FC236}">
                  <a16:creationId xmlns:a16="http://schemas.microsoft.com/office/drawing/2014/main" id="{CE549422-B9DD-4604-B1A7-D5A9C174B9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35" y="878"/>
              <a:ext cx="756" cy="670"/>
            </a:xfrm>
            <a:custGeom>
              <a:avLst/>
              <a:gdLst>
                <a:gd name="T0" fmla="*/ 50 w 756"/>
                <a:gd name="T1" fmla="*/ 670 h 670"/>
                <a:gd name="T2" fmla="*/ 36 w 756"/>
                <a:gd name="T3" fmla="*/ 668 h 670"/>
                <a:gd name="T4" fmla="*/ 14 w 756"/>
                <a:gd name="T5" fmla="*/ 656 h 670"/>
                <a:gd name="T6" fmla="*/ 6 w 756"/>
                <a:gd name="T7" fmla="*/ 646 h 670"/>
                <a:gd name="T8" fmla="*/ 0 w 756"/>
                <a:gd name="T9" fmla="*/ 620 h 670"/>
                <a:gd name="T10" fmla="*/ 6 w 756"/>
                <a:gd name="T11" fmla="*/ 594 h 670"/>
                <a:gd name="T12" fmla="*/ 334 w 756"/>
                <a:gd name="T13" fmla="*/ 26 h 670"/>
                <a:gd name="T14" fmla="*/ 352 w 756"/>
                <a:gd name="T15" fmla="*/ 8 h 670"/>
                <a:gd name="T16" fmla="*/ 378 w 756"/>
                <a:gd name="T17" fmla="*/ 0 h 670"/>
                <a:gd name="T18" fmla="*/ 378 w 756"/>
                <a:gd name="T19" fmla="*/ 0 h 670"/>
                <a:gd name="T20" fmla="*/ 392 w 756"/>
                <a:gd name="T21" fmla="*/ 2 h 670"/>
                <a:gd name="T22" fmla="*/ 414 w 756"/>
                <a:gd name="T23" fmla="*/ 16 h 670"/>
                <a:gd name="T24" fmla="*/ 750 w 756"/>
                <a:gd name="T25" fmla="*/ 594 h 670"/>
                <a:gd name="T26" fmla="*/ 754 w 756"/>
                <a:gd name="T27" fmla="*/ 606 h 670"/>
                <a:gd name="T28" fmla="*/ 754 w 756"/>
                <a:gd name="T29" fmla="*/ 632 h 670"/>
                <a:gd name="T30" fmla="*/ 750 w 756"/>
                <a:gd name="T31" fmla="*/ 646 h 670"/>
                <a:gd name="T32" fmla="*/ 732 w 756"/>
                <a:gd name="T33" fmla="*/ 664 h 670"/>
                <a:gd name="T34" fmla="*/ 706 w 756"/>
                <a:gd name="T35" fmla="*/ 670 h 670"/>
                <a:gd name="T36" fmla="*/ 350 w 756"/>
                <a:gd name="T37" fmla="*/ 36 h 670"/>
                <a:gd name="T38" fmla="*/ 22 w 756"/>
                <a:gd name="T39" fmla="*/ 604 h 670"/>
                <a:gd name="T40" fmla="*/ 18 w 756"/>
                <a:gd name="T41" fmla="*/ 620 h 670"/>
                <a:gd name="T42" fmla="*/ 22 w 756"/>
                <a:gd name="T43" fmla="*/ 636 h 670"/>
                <a:gd name="T44" fmla="*/ 26 w 756"/>
                <a:gd name="T45" fmla="*/ 642 h 670"/>
                <a:gd name="T46" fmla="*/ 42 w 756"/>
                <a:gd name="T47" fmla="*/ 652 h 670"/>
                <a:gd name="T48" fmla="*/ 706 w 756"/>
                <a:gd name="T49" fmla="*/ 652 h 670"/>
                <a:gd name="T50" fmla="*/ 714 w 756"/>
                <a:gd name="T51" fmla="*/ 652 h 670"/>
                <a:gd name="T52" fmla="*/ 730 w 756"/>
                <a:gd name="T53" fmla="*/ 642 h 670"/>
                <a:gd name="T54" fmla="*/ 734 w 756"/>
                <a:gd name="T55" fmla="*/ 636 h 670"/>
                <a:gd name="T56" fmla="*/ 738 w 756"/>
                <a:gd name="T57" fmla="*/ 620 h 670"/>
                <a:gd name="T58" fmla="*/ 734 w 756"/>
                <a:gd name="T59" fmla="*/ 604 h 670"/>
                <a:gd name="T60" fmla="*/ 406 w 756"/>
                <a:gd name="T61" fmla="*/ 36 h 670"/>
                <a:gd name="T62" fmla="*/ 394 w 756"/>
                <a:gd name="T63" fmla="*/ 24 h 670"/>
                <a:gd name="T64" fmla="*/ 378 w 756"/>
                <a:gd name="T65" fmla="*/ 18 h 670"/>
                <a:gd name="T66" fmla="*/ 378 w 756"/>
                <a:gd name="T67" fmla="*/ 18 h 670"/>
                <a:gd name="T68" fmla="*/ 362 w 756"/>
                <a:gd name="T69" fmla="*/ 24 h 670"/>
                <a:gd name="T70" fmla="*/ 350 w 756"/>
                <a:gd name="T71" fmla="*/ 36 h 6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56" h="670">
                  <a:moveTo>
                    <a:pt x="706" y="670"/>
                  </a:moveTo>
                  <a:lnTo>
                    <a:pt x="50" y="670"/>
                  </a:lnTo>
                  <a:lnTo>
                    <a:pt x="50" y="670"/>
                  </a:lnTo>
                  <a:lnTo>
                    <a:pt x="36" y="668"/>
                  </a:lnTo>
                  <a:lnTo>
                    <a:pt x="24" y="664"/>
                  </a:lnTo>
                  <a:lnTo>
                    <a:pt x="14" y="656"/>
                  </a:lnTo>
                  <a:lnTo>
                    <a:pt x="6" y="646"/>
                  </a:lnTo>
                  <a:lnTo>
                    <a:pt x="6" y="646"/>
                  </a:lnTo>
                  <a:lnTo>
                    <a:pt x="0" y="632"/>
                  </a:lnTo>
                  <a:lnTo>
                    <a:pt x="0" y="620"/>
                  </a:lnTo>
                  <a:lnTo>
                    <a:pt x="0" y="606"/>
                  </a:lnTo>
                  <a:lnTo>
                    <a:pt x="6" y="594"/>
                  </a:lnTo>
                  <a:lnTo>
                    <a:pt x="334" y="26"/>
                  </a:lnTo>
                  <a:lnTo>
                    <a:pt x="334" y="26"/>
                  </a:lnTo>
                  <a:lnTo>
                    <a:pt x="342" y="16"/>
                  </a:lnTo>
                  <a:lnTo>
                    <a:pt x="352" y="8"/>
                  </a:lnTo>
                  <a:lnTo>
                    <a:pt x="364" y="2"/>
                  </a:lnTo>
                  <a:lnTo>
                    <a:pt x="378" y="0"/>
                  </a:lnTo>
                  <a:lnTo>
                    <a:pt x="378" y="0"/>
                  </a:lnTo>
                  <a:lnTo>
                    <a:pt x="378" y="0"/>
                  </a:lnTo>
                  <a:lnTo>
                    <a:pt x="378" y="0"/>
                  </a:lnTo>
                  <a:lnTo>
                    <a:pt x="392" y="2"/>
                  </a:lnTo>
                  <a:lnTo>
                    <a:pt x="404" y="8"/>
                  </a:lnTo>
                  <a:lnTo>
                    <a:pt x="414" y="16"/>
                  </a:lnTo>
                  <a:lnTo>
                    <a:pt x="422" y="26"/>
                  </a:lnTo>
                  <a:lnTo>
                    <a:pt x="750" y="594"/>
                  </a:lnTo>
                  <a:lnTo>
                    <a:pt x="750" y="594"/>
                  </a:lnTo>
                  <a:lnTo>
                    <a:pt x="754" y="606"/>
                  </a:lnTo>
                  <a:lnTo>
                    <a:pt x="756" y="620"/>
                  </a:lnTo>
                  <a:lnTo>
                    <a:pt x="754" y="632"/>
                  </a:lnTo>
                  <a:lnTo>
                    <a:pt x="750" y="646"/>
                  </a:lnTo>
                  <a:lnTo>
                    <a:pt x="750" y="646"/>
                  </a:lnTo>
                  <a:lnTo>
                    <a:pt x="742" y="656"/>
                  </a:lnTo>
                  <a:lnTo>
                    <a:pt x="732" y="664"/>
                  </a:lnTo>
                  <a:lnTo>
                    <a:pt x="720" y="668"/>
                  </a:lnTo>
                  <a:lnTo>
                    <a:pt x="706" y="670"/>
                  </a:lnTo>
                  <a:lnTo>
                    <a:pt x="706" y="670"/>
                  </a:lnTo>
                  <a:close/>
                  <a:moveTo>
                    <a:pt x="350" y="36"/>
                  </a:moveTo>
                  <a:lnTo>
                    <a:pt x="22" y="604"/>
                  </a:lnTo>
                  <a:lnTo>
                    <a:pt x="22" y="604"/>
                  </a:lnTo>
                  <a:lnTo>
                    <a:pt x="18" y="612"/>
                  </a:lnTo>
                  <a:lnTo>
                    <a:pt x="18" y="620"/>
                  </a:lnTo>
                  <a:lnTo>
                    <a:pt x="18" y="628"/>
                  </a:lnTo>
                  <a:lnTo>
                    <a:pt x="22" y="636"/>
                  </a:lnTo>
                  <a:lnTo>
                    <a:pt x="22" y="636"/>
                  </a:lnTo>
                  <a:lnTo>
                    <a:pt x="26" y="642"/>
                  </a:lnTo>
                  <a:lnTo>
                    <a:pt x="34" y="648"/>
                  </a:lnTo>
                  <a:lnTo>
                    <a:pt x="42" y="652"/>
                  </a:lnTo>
                  <a:lnTo>
                    <a:pt x="50" y="652"/>
                  </a:lnTo>
                  <a:lnTo>
                    <a:pt x="706" y="652"/>
                  </a:lnTo>
                  <a:lnTo>
                    <a:pt x="706" y="652"/>
                  </a:lnTo>
                  <a:lnTo>
                    <a:pt x="714" y="652"/>
                  </a:lnTo>
                  <a:lnTo>
                    <a:pt x="722" y="648"/>
                  </a:lnTo>
                  <a:lnTo>
                    <a:pt x="730" y="642"/>
                  </a:lnTo>
                  <a:lnTo>
                    <a:pt x="734" y="636"/>
                  </a:lnTo>
                  <a:lnTo>
                    <a:pt x="734" y="636"/>
                  </a:lnTo>
                  <a:lnTo>
                    <a:pt x="738" y="628"/>
                  </a:lnTo>
                  <a:lnTo>
                    <a:pt x="738" y="620"/>
                  </a:lnTo>
                  <a:lnTo>
                    <a:pt x="738" y="612"/>
                  </a:lnTo>
                  <a:lnTo>
                    <a:pt x="734" y="604"/>
                  </a:lnTo>
                  <a:lnTo>
                    <a:pt x="406" y="36"/>
                  </a:lnTo>
                  <a:lnTo>
                    <a:pt x="406" y="36"/>
                  </a:lnTo>
                  <a:lnTo>
                    <a:pt x="400" y="28"/>
                  </a:lnTo>
                  <a:lnTo>
                    <a:pt x="394" y="24"/>
                  </a:lnTo>
                  <a:lnTo>
                    <a:pt x="386" y="20"/>
                  </a:lnTo>
                  <a:lnTo>
                    <a:pt x="378" y="18"/>
                  </a:lnTo>
                  <a:lnTo>
                    <a:pt x="378" y="18"/>
                  </a:lnTo>
                  <a:lnTo>
                    <a:pt x="378" y="18"/>
                  </a:lnTo>
                  <a:lnTo>
                    <a:pt x="370" y="20"/>
                  </a:lnTo>
                  <a:lnTo>
                    <a:pt x="362" y="24"/>
                  </a:lnTo>
                  <a:lnTo>
                    <a:pt x="356" y="28"/>
                  </a:lnTo>
                  <a:lnTo>
                    <a:pt x="350" y="36"/>
                  </a:lnTo>
                  <a:lnTo>
                    <a:pt x="350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0" name="Freeform 31">
              <a:extLst>
                <a:ext uri="{FF2B5EF4-FFF2-40B4-BE49-F238E27FC236}">
                  <a16:creationId xmlns:a16="http://schemas.microsoft.com/office/drawing/2014/main" id="{D3736655-4A6A-4518-8F4E-15FE8363770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7" y="1378"/>
              <a:ext cx="92" cy="94"/>
            </a:xfrm>
            <a:custGeom>
              <a:avLst/>
              <a:gdLst>
                <a:gd name="T0" fmla="*/ 46 w 92"/>
                <a:gd name="T1" fmla="*/ 94 h 94"/>
                <a:gd name="T2" fmla="*/ 46 w 92"/>
                <a:gd name="T3" fmla="*/ 94 h 94"/>
                <a:gd name="T4" fmla="*/ 36 w 92"/>
                <a:gd name="T5" fmla="*/ 92 h 94"/>
                <a:gd name="T6" fmla="*/ 28 w 92"/>
                <a:gd name="T7" fmla="*/ 90 h 94"/>
                <a:gd name="T8" fmla="*/ 20 w 92"/>
                <a:gd name="T9" fmla="*/ 86 h 94"/>
                <a:gd name="T10" fmla="*/ 14 w 92"/>
                <a:gd name="T11" fmla="*/ 80 h 94"/>
                <a:gd name="T12" fmla="*/ 8 w 92"/>
                <a:gd name="T13" fmla="*/ 74 h 94"/>
                <a:gd name="T14" fmla="*/ 4 w 92"/>
                <a:gd name="T15" fmla="*/ 66 h 94"/>
                <a:gd name="T16" fmla="*/ 0 w 92"/>
                <a:gd name="T17" fmla="*/ 56 h 94"/>
                <a:gd name="T18" fmla="*/ 0 w 92"/>
                <a:gd name="T19" fmla="*/ 48 h 94"/>
                <a:gd name="T20" fmla="*/ 0 w 92"/>
                <a:gd name="T21" fmla="*/ 48 h 94"/>
                <a:gd name="T22" fmla="*/ 0 w 92"/>
                <a:gd name="T23" fmla="*/ 38 h 94"/>
                <a:gd name="T24" fmla="*/ 4 w 92"/>
                <a:gd name="T25" fmla="*/ 30 h 94"/>
                <a:gd name="T26" fmla="*/ 8 w 92"/>
                <a:gd name="T27" fmla="*/ 22 h 94"/>
                <a:gd name="T28" fmla="*/ 14 w 92"/>
                <a:gd name="T29" fmla="*/ 14 h 94"/>
                <a:gd name="T30" fmla="*/ 20 w 92"/>
                <a:gd name="T31" fmla="*/ 8 h 94"/>
                <a:gd name="T32" fmla="*/ 28 w 92"/>
                <a:gd name="T33" fmla="*/ 4 h 94"/>
                <a:gd name="T34" fmla="*/ 36 w 92"/>
                <a:gd name="T35" fmla="*/ 2 h 94"/>
                <a:gd name="T36" fmla="*/ 46 w 92"/>
                <a:gd name="T37" fmla="*/ 0 h 94"/>
                <a:gd name="T38" fmla="*/ 46 w 92"/>
                <a:gd name="T39" fmla="*/ 0 h 94"/>
                <a:gd name="T40" fmla="*/ 56 w 92"/>
                <a:gd name="T41" fmla="*/ 2 h 94"/>
                <a:gd name="T42" fmla="*/ 64 w 92"/>
                <a:gd name="T43" fmla="*/ 4 h 94"/>
                <a:gd name="T44" fmla="*/ 72 w 92"/>
                <a:gd name="T45" fmla="*/ 8 h 94"/>
                <a:gd name="T46" fmla="*/ 78 w 92"/>
                <a:gd name="T47" fmla="*/ 14 h 94"/>
                <a:gd name="T48" fmla="*/ 84 w 92"/>
                <a:gd name="T49" fmla="*/ 22 h 94"/>
                <a:gd name="T50" fmla="*/ 88 w 92"/>
                <a:gd name="T51" fmla="*/ 30 h 94"/>
                <a:gd name="T52" fmla="*/ 92 w 92"/>
                <a:gd name="T53" fmla="*/ 38 h 94"/>
                <a:gd name="T54" fmla="*/ 92 w 92"/>
                <a:gd name="T55" fmla="*/ 48 h 94"/>
                <a:gd name="T56" fmla="*/ 92 w 92"/>
                <a:gd name="T57" fmla="*/ 48 h 94"/>
                <a:gd name="T58" fmla="*/ 92 w 92"/>
                <a:gd name="T59" fmla="*/ 56 h 94"/>
                <a:gd name="T60" fmla="*/ 88 w 92"/>
                <a:gd name="T61" fmla="*/ 66 h 94"/>
                <a:gd name="T62" fmla="*/ 84 w 92"/>
                <a:gd name="T63" fmla="*/ 74 h 94"/>
                <a:gd name="T64" fmla="*/ 78 w 92"/>
                <a:gd name="T65" fmla="*/ 80 h 94"/>
                <a:gd name="T66" fmla="*/ 72 w 92"/>
                <a:gd name="T67" fmla="*/ 86 h 94"/>
                <a:gd name="T68" fmla="*/ 64 w 92"/>
                <a:gd name="T69" fmla="*/ 90 h 94"/>
                <a:gd name="T70" fmla="*/ 56 w 92"/>
                <a:gd name="T71" fmla="*/ 92 h 94"/>
                <a:gd name="T72" fmla="*/ 46 w 92"/>
                <a:gd name="T73" fmla="*/ 94 h 94"/>
                <a:gd name="T74" fmla="*/ 46 w 92"/>
                <a:gd name="T75" fmla="*/ 94 h 94"/>
                <a:gd name="T76" fmla="*/ 46 w 92"/>
                <a:gd name="T77" fmla="*/ 18 h 94"/>
                <a:gd name="T78" fmla="*/ 46 w 92"/>
                <a:gd name="T79" fmla="*/ 18 h 94"/>
                <a:gd name="T80" fmla="*/ 34 w 92"/>
                <a:gd name="T81" fmla="*/ 20 h 94"/>
                <a:gd name="T82" fmla="*/ 26 w 92"/>
                <a:gd name="T83" fmla="*/ 26 h 94"/>
                <a:gd name="T84" fmla="*/ 20 w 92"/>
                <a:gd name="T85" fmla="*/ 36 h 94"/>
                <a:gd name="T86" fmla="*/ 18 w 92"/>
                <a:gd name="T87" fmla="*/ 48 h 94"/>
                <a:gd name="T88" fmla="*/ 18 w 92"/>
                <a:gd name="T89" fmla="*/ 48 h 94"/>
                <a:gd name="T90" fmla="*/ 20 w 92"/>
                <a:gd name="T91" fmla="*/ 58 h 94"/>
                <a:gd name="T92" fmla="*/ 26 w 92"/>
                <a:gd name="T93" fmla="*/ 68 h 94"/>
                <a:gd name="T94" fmla="*/ 34 w 92"/>
                <a:gd name="T95" fmla="*/ 74 h 94"/>
                <a:gd name="T96" fmla="*/ 46 w 92"/>
                <a:gd name="T97" fmla="*/ 76 h 94"/>
                <a:gd name="T98" fmla="*/ 46 w 92"/>
                <a:gd name="T99" fmla="*/ 76 h 94"/>
                <a:gd name="T100" fmla="*/ 58 w 92"/>
                <a:gd name="T101" fmla="*/ 74 h 94"/>
                <a:gd name="T102" fmla="*/ 66 w 92"/>
                <a:gd name="T103" fmla="*/ 68 h 94"/>
                <a:gd name="T104" fmla="*/ 72 w 92"/>
                <a:gd name="T105" fmla="*/ 58 h 94"/>
                <a:gd name="T106" fmla="*/ 74 w 92"/>
                <a:gd name="T107" fmla="*/ 48 h 94"/>
                <a:gd name="T108" fmla="*/ 74 w 92"/>
                <a:gd name="T109" fmla="*/ 48 h 94"/>
                <a:gd name="T110" fmla="*/ 72 w 92"/>
                <a:gd name="T111" fmla="*/ 36 h 94"/>
                <a:gd name="T112" fmla="*/ 66 w 92"/>
                <a:gd name="T113" fmla="*/ 26 h 94"/>
                <a:gd name="T114" fmla="*/ 58 w 92"/>
                <a:gd name="T115" fmla="*/ 20 h 94"/>
                <a:gd name="T116" fmla="*/ 46 w 92"/>
                <a:gd name="T117" fmla="*/ 18 h 94"/>
                <a:gd name="T118" fmla="*/ 46 w 92"/>
                <a:gd name="T119" fmla="*/ 18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2" h="94">
                  <a:moveTo>
                    <a:pt x="46" y="94"/>
                  </a:moveTo>
                  <a:lnTo>
                    <a:pt x="46" y="94"/>
                  </a:lnTo>
                  <a:lnTo>
                    <a:pt x="36" y="92"/>
                  </a:lnTo>
                  <a:lnTo>
                    <a:pt x="28" y="90"/>
                  </a:lnTo>
                  <a:lnTo>
                    <a:pt x="20" y="86"/>
                  </a:lnTo>
                  <a:lnTo>
                    <a:pt x="14" y="80"/>
                  </a:lnTo>
                  <a:lnTo>
                    <a:pt x="8" y="74"/>
                  </a:lnTo>
                  <a:lnTo>
                    <a:pt x="4" y="66"/>
                  </a:lnTo>
                  <a:lnTo>
                    <a:pt x="0" y="56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38"/>
                  </a:lnTo>
                  <a:lnTo>
                    <a:pt x="4" y="30"/>
                  </a:lnTo>
                  <a:lnTo>
                    <a:pt x="8" y="22"/>
                  </a:lnTo>
                  <a:lnTo>
                    <a:pt x="14" y="14"/>
                  </a:lnTo>
                  <a:lnTo>
                    <a:pt x="20" y="8"/>
                  </a:lnTo>
                  <a:lnTo>
                    <a:pt x="28" y="4"/>
                  </a:lnTo>
                  <a:lnTo>
                    <a:pt x="36" y="2"/>
                  </a:lnTo>
                  <a:lnTo>
                    <a:pt x="46" y="0"/>
                  </a:lnTo>
                  <a:lnTo>
                    <a:pt x="46" y="0"/>
                  </a:lnTo>
                  <a:lnTo>
                    <a:pt x="56" y="2"/>
                  </a:lnTo>
                  <a:lnTo>
                    <a:pt x="64" y="4"/>
                  </a:lnTo>
                  <a:lnTo>
                    <a:pt x="72" y="8"/>
                  </a:lnTo>
                  <a:lnTo>
                    <a:pt x="78" y="14"/>
                  </a:lnTo>
                  <a:lnTo>
                    <a:pt x="84" y="22"/>
                  </a:lnTo>
                  <a:lnTo>
                    <a:pt x="88" y="30"/>
                  </a:lnTo>
                  <a:lnTo>
                    <a:pt x="92" y="3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56"/>
                  </a:lnTo>
                  <a:lnTo>
                    <a:pt x="88" y="66"/>
                  </a:lnTo>
                  <a:lnTo>
                    <a:pt x="84" y="74"/>
                  </a:lnTo>
                  <a:lnTo>
                    <a:pt x="78" y="80"/>
                  </a:lnTo>
                  <a:lnTo>
                    <a:pt x="72" y="86"/>
                  </a:lnTo>
                  <a:lnTo>
                    <a:pt x="64" y="90"/>
                  </a:lnTo>
                  <a:lnTo>
                    <a:pt x="56" y="92"/>
                  </a:lnTo>
                  <a:lnTo>
                    <a:pt x="46" y="94"/>
                  </a:lnTo>
                  <a:lnTo>
                    <a:pt x="46" y="94"/>
                  </a:lnTo>
                  <a:close/>
                  <a:moveTo>
                    <a:pt x="46" y="18"/>
                  </a:moveTo>
                  <a:lnTo>
                    <a:pt x="46" y="18"/>
                  </a:lnTo>
                  <a:lnTo>
                    <a:pt x="34" y="20"/>
                  </a:lnTo>
                  <a:lnTo>
                    <a:pt x="26" y="26"/>
                  </a:lnTo>
                  <a:lnTo>
                    <a:pt x="20" y="36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20" y="58"/>
                  </a:lnTo>
                  <a:lnTo>
                    <a:pt x="26" y="68"/>
                  </a:lnTo>
                  <a:lnTo>
                    <a:pt x="34" y="74"/>
                  </a:lnTo>
                  <a:lnTo>
                    <a:pt x="46" y="76"/>
                  </a:lnTo>
                  <a:lnTo>
                    <a:pt x="46" y="76"/>
                  </a:lnTo>
                  <a:lnTo>
                    <a:pt x="58" y="74"/>
                  </a:lnTo>
                  <a:lnTo>
                    <a:pt x="66" y="68"/>
                  </a:lnTo>
                  <a:lnTo>
                    <a:pt x="72" y="58"/>
                  </a:lnTo>
                  <a:lnTo>
                    <a:pt x="74" y="48"/>
                  </a:lnTo>
                  <a:lnTo>
                    <a:pt x="74" y="48"/>
                  </a:lnTo>
                  <a:lnTo>
                    <a:pt x="72" y="36"/>
                  </a:lnTo>
                  <a:lnTo>
                    <a:pt x="66" y="26"/>
                  </a:lnTo>
                  <a:lnTo>
                    <a:pt x="58" y="20"/>
                  </a:lnTo>
                  <a:lnTo>
                    <a:pt x="46" y="18"/>
                  </a:lnTo>
                  <a:lnTo>
                    <a:pt x="46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1" name="Freeform 32">
              <a:extLst>
                <a:ext uri="{FF2B5EF4-FFF2-40B4-BE49-F238E27FC236}">
                  <a16:creationId xmlns:a16="http://schemas.microsoft.com/office/drawing/2014/main" id="{C75FE198-8069-448A-82B5-0185108B7D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1" y="1042"/>
              <a:ext cx="104" cy="308"/>
            </a:xfrm>
            <a:custGeom>
              <a:avLst/>
              <a:gdLst>
                <a:gd name="T0" fmla="*/ 52 w 104"/>
                <a:gd name="T1" fmla="*/ 308 h 308"/>
                <a:gd name="T2" fmla="*/ 38 w 104"/>
                <a:gd name="T3" fmla="*/ 306 h 308"/>
                <a:gd name="T4" fmla="*/ 26 w 104"/>
                <a:gd name="T5" fmla="*/ 298 h 308"/>
                <a:gd name="T6" fmla="*/ 18 w 104"/>
                <a:gd name="T7" fmla="*/ 286 h 308"/>
                <a:gd name="T8" fmla="*/ 14 w 104"/>
                <a:gd name="T9" fmla="*/ 272 h 308"/>
                <a:gd name="T10" fmla="*/ 0 w 104"/>
                <a:gd name="T11" fmla="*/ 40 h 308"/>
                <a:gd name="T12" fmla="*/ 2 w 104"/>
                <a:gd name="T13" fmla="*/ 24 h 308"/>
                <a:gd name="T14" fmla="*/ 10 w 104"/>
                <a:gd name="T15" fmla="*/ 12 h 308"/>
                <a:gd name="T16" fmla="*/ 16 w 104"/>
                <a:gd name="T17" fmla="*/ 6 h 308"/>
                <a:gd name="T18" fmla="*/ 30 w 104"/>
                <a:gd name="T19" fmla="*/ 0 h 308"/>
                <a:gd name="T20" fmla="*/ 66 w 104"/>
                <a:gd name="T21" fmla="*/ 0 h 308"/>
                <a:gd name="T22" fmla="*/ 74 w 104"/>
                <a:gd name="T23" fmla="*/ 0 h 308"/>
                <a:gd name="T24" fmla="*/ 88 w 104"/>
                <a:gd name="T25" fmla="*/ 6 h 308"/>
                <a:gd name="T26" fmla="*/ 94 w 104"/>
                <a:gd name="T27" fmla="*/ 12 h 308"/>
                <a:gd name="T28" fmla="*/ 102 w 104"/>
                <a:gd name="T29" fmla="*/ 24 h 308"/>
                <a:gd name="T30" fmla="*/ 104 w 104"/>
                <a:gd name="T31" fmla="*/ 40 h 308"/>
                <a:gd name="T32" fmla="*/ 90 w 104"/>
                <a:gd name="T33" fmla="*/ 272 h 308"/>
                <a:gd name="T34" fmla="*/ 86 w 104"/>
                <a:gd name="T35" fmla="*/ 286 h 308"/>
                <a:gd name="T36" fmla="*/ 78 w 104"/>
                <a:gd name="T37" fmla="*/ 298 h 308"/>
                <a:gd name="T38" fmla="*/ 66 w 104"/>
                <a:gd name="T39" fmla="*/ 306 h 308"/>
                <a:gd name="T40" fmla="*/ 52 w 104"/>
                <a:gd name="T41" fmla="*/ 308 h 308"/>
                <a:gd name="T42" fmla="*/ 38 w 104"/>
                <a:gd name="T43" fmla="*/ 18 h 308"/>
                <a:gd name="T44" fmla="*/ 30 w 104"/>
                <a:gd name="T45" fmla="*/ 18 h 308"/>
                <a:gd name="T46" fmla="*/ 22 w 104"/>
                <a:gd name="T47" fmla="*/ 24 h 308"/>
                <a:gd name="T48" fmla="*/ 16 w 104"/>
                <a:gd name="T49" fmla="*/ 38 h 308"/>
                <a:gd name="T50" fmla="*/ 32 w 104"/>
                <a:gd name="T51" fmla="*/ 272 h 308"/>
                <a:gd name="T52" fmla="*/ 38 w 104"/>
                <a:gd name="T53" fmla="*/ 286 h 308"/>
                <a:gd name="T54" fmla="*/ 52 w 104"/>
                <a:gd name="T55" fmla="*/ 290 h 308"/>
                <a:gd name="T56" fmla="*/ 60 w 104"/>
                <a:gd name="T57" fmla="*/ 290 h 308"/>
                <a:gd name="T58" fmla="*/ 70 w 104"/>
                <a:gd name="T59" fmla="*/ 278 h 308"/>
                <a:gd name="T60" fmla="*/ 86 w 104"/>
                <a:gd name="T61" fmla="*/ 38 h 308"/>
                <a:gd name="T62" fmla="*/ 86 w 104"/>
                <a:gd name="T63" fmla="*/ 30 h 308"/>
                <a:gd name="T64" fmla="*/ 82 w 104"/>
                <a:gd name="T65" fmla="*/ 24 h 308"/>
                <a:gd name="T66" fmla="*/ 66 w 104"/>
                <a:gd name="T67" fmla="*/ 18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4" h="308">
                  <a:moveTo>
                    <a:pt x="52" y="308"/>
                  </a:moveTo>
                  <a:lnTo>
                    <a:pt x="52" y="308"/>
                  </a:lnTo>
                  <a:lnTo>
                    <a:pt x="44" y="308"/>
                  </a:lnTo>
                  <a:lnTo>
                    <a:pt x="38" y="306"/>
                  </a:lnTo>
                  <a:lnTo>
                    <a:pt x="32" y="302"/>
                  </a:lnTo>
                  <a:lnTo>
                    <a:pt x="26" y="298"/>
                  </a:lnTo>
                  <a:lnTo>
                    <a:pt x="20" y="292"/>
                  </a:lnTo>
                  <a:lnTo>
                    <a:pt x="18" y="286"/>
                  </a:lnTo>
                  <a:lnTo>
                    <a:pt x="14" y="280"/>
                  </a:lnTo>
                  <a:lnTo>
                    <a:pt x="14" y="272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32"/>
                  </a:lnTo>
                  <a:lnTo>
                    <a:pt x="2" y="24"/>
                  </a:lnTo>
                  <a:lnTo>
                    <a:pt x="4" y="18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6" y="6"/>
                  </a:lnTo>
                  <a:lnTo>
                    <a:pt x="22" y="2"/>
                  </a:lnTo>
                  <a:lnTo>
                    <a:pt x="30" y="0"/>
                  </a:lnTo>
                  <a:lnTo>
                    <a:pt x="38" y="0"/>
                  </a:lnTo>
                  <a:lnTo>
                    <a:pt x="66" y="0"/>
                  </a:lnTo>
                  <a:lnTo>
                    <a:pt x="66" y="0"/>
                  </a:lnTo>
                  <a:lnTo>
                    <a:pt x="74" y="0"/>
                  </a:lnTo>
                  <a:lnTo>
                    <a:pt x="82" y="2"/>
                  </a:lnTo>
                  <a:lnTo>
                    <a:pt x="88" y="6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100" y="18"/>
                  </a:lnTo>
                  <a:lnTo>
                    <a:pt x="102" y="24"/>
                  </a:lnTo>
                  <a:lnTo>
                    <a:pt x="104" y="32"/>
                  </a:lnTo>
                  <a:lnTo>
                    <a:pt x="104" y="40"/>
                  </a:lnTo>
                  <a:lnTo>
                    <a:pt x="90" y="272"/>
                  </a:lnTo>
                  <a:lnTo>
                    <a:pt x="90" y="272"/>
                  </a:lnTo>
                  <a:lnTo>
                    <a:pt x="90" y="280"/>
                  </a:lnTo>
                  <a:lnTo>
                    <a:pt x="86" y="286"/>
                  </a:lnTo>
                  <a:lnTo>
                    <a:pt x="84" y="292"/>
                  </a:lnTo>
                  <a:lnTo>
                    <a:pt x="78" y="298"/>
                  </a:lnTo>
                  <a:lnTo>
                    <a:pt x="72" y="302"/>
                  </a:lnTo>
                  <a:lnTo>
                    <a:pt x="66" y="306"/>
                  </a:lnTo>
                  <a:lnTo>
                    <a:pt x="60" y="308"/>
                  </a:lnTo>
                  <a:lnTo>
                    <a:pt x="52" y="308"/>
                  </a:lnTo>
                  <a:lnTo>
                    <a:pt x="52" y="308"/>
                  </a:lnTo>
                  <a:close/>
                  <a:moveTo>
                    <a:pt x="38" y="18"/>
                  </a:moveTo>
                  <a:lnTo>
                    <a:pt x="38" y="18"/>
                  </a:lnTo>
                  <a:lnTo>
                    <a:pt x="30" y="18"/>
                  </a:lnTo>
                  <a:lnTo>
                    <a:pt x="22" y="24"/>
                  </a:lnTo>
                  <a:lnTo>
                    <a:pt x="22" y="24"/>
                  </a:lnTo>
                  <a:lnTo>
                    <a:pt x="18" y="30"/>
                  </a:lnTo>
                  <a:lnTo>
                    <a:pt x="16" y="38"/>
                  </a:lnTo>
                  <a:lnTo>
                    <a:pt x="32" y="272"/>
                  </a:lnTo>
                  <a:lnTo>
                    <a:pt x="32" y="272"/>
                  </a:lnTo>
                  <a:lnTo>
                    <a:pt x="34" y="278"/>
                  </a:lnTo>
                  <a:lnTo>
                    <a:pt x="38" y="286"/>
                  </a:lnTo>
                  <a:lnTo>
                    <a:pt x="44" y="290"/>
                  </a:lnTo>
                  <a:lnTo>
                    <a:pt x="52" y="290"/>
                  </a:lnTo>
                  <a:lnTo>
                    <a:pt x="52" y="290"/>
                  </a:lnTo>
                  <a:lnTo>
                    <a:pt x="60" y="290"/>
                  </a:lnTo>
                  <a:lnTo>
                    <a:pt x="66" y="286"/>
                  </a:lnTo>
                  <a:lnTo>
                    <a:pt x="70" y="278"/>
                  </a:lnTo>
                  <a:lnTo>
                    <a:pt x="72" y="272"/>
                  </a:lnTo>
                  <a:lnTo>
                    <a:pt x="86" y="38"/>
                  </a:lnTo>
                  <a:lnTo>
                    <a:pt x="86" y="38"/>
                  </a:lnTo>
                  <a:lnTo>
                    <a:pt x="86" y="30"/>
                  </a:lnTo>
                  <a:lnTo>
                    <a:pt x="82" y="24"/>
                  </a:lnTo>
                  <a:lnTo>
                    <a:pt x="82" y="24"/>
                  </a:lnTo>
                  <a:lnTo>
                    <a:pt x="74" y="18"/>
                  </a:lnTo>
                  <a:lnTo>
                    <a:pt x="66" y="18"/>
                  </a:lnTo>
                  <a:lnTo>
                    <a:pt x="38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</a:endParaRPr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A36FC50F-7EA3-4CBB-ACBB-04F488291DE4}"/>
              </a:ext>
            </a:extLst>
          </p:cNvPr>
          <p:cNvSpPr txBox="1"/>
          <p:nvPr/>
        </p:nvSpPr>
        <p:spPr>
          <a:xfrm>
            <a:off x="8660279" y="1674137"/>
            <a:ext cx="3002844" cy="1395767"/>
          </a:xfrm>
          <a:prstGeom prst="rect">
            <a:avLst/>
          </a:prstGeom>
          <a:noFill/>
          <a:ln>
            <a:solidFill>
              <a:schemeClr val="tx1"/>
            </a:solidFill>
            <a:prstDash val="solid"/>
          </a:ln>
        </p:spPr>
        <p:txBody>
          <a:bodyPr wrap="square" lIns="0" tIns="36576" rIns="0" bIns="0" rtlCol="0">
            <a:spAutoFit/>
          </a:bodyPr>
          <a:lstStyle/>
          <a:p>
            <a:pPr marL="388620" indent="-285750">
              <a:lnSpc>
                <a:spcPct val="85000"/>
              </a:lnSpc>
              <a:spcAft>
                <a:spcPts val="600"/>
              </a:spcAft>
              <a:buClr>
                <a:srgbClr val="4AA851"/>
              </a:buClr>
              <a:buSzPct val="100000"/>
              <a:buFont typeface="EYInterstate Light" panose="02000506000000020004" pitchFamily="2" charset="0"/>
              <a:buChar char="√"/>
            </a:pPr>
            <a:r>
              <a:rPr lang="ru-RU" sz="1400" dirty="0">
                <a:solidFill>
                  <a:schemeClr val="bg1"/>
                </a:solidFill>
                <a:latin typeface="+mj-lt"/>
              </a:rPr>
              <a:t>Соблюдение требований таможенного законодательства;</a:t>
            </a:r>
          </a:p>
          <a:p>
            <a:pPr marL="388620" indent="-285750">
              <a:lnSpc>
                <a:spcPct val="85000"/>
              </a:lnSpc>
              <a:spcAft>
                <a:spcPts val="600"/>
              </a:spcAft>
              <a:buClr>
                <a:srgbClr val="4AA851"/>
              </a:buClr>
              <a:buSzPct val="100000"/>
              <a:buFont typeface="EYInterstate Light" panose="02000506000000020004" pitchFamily="2" charset="0"/>
              <a:buChar char="√"/>
            </a:pPr>
            <a:r>
              <a:rPr lang="ru-RU" sz="1400" dirty="0">
                <a:solidFill>
                  <a:schemeClr val="bg1"/>
                </a:solidFill>
                <a:latin typeface="+mj-lt"/>
              </a:rPr>
              <a:t>Освобождение от административной ответственности по ч. 2 ст. 16.2 КоАП РФ.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0AB07F4-9CED-4842-BB36-66B59F59BD5C}"/>
              </a:ext>
            </a:extLst>
          </p:cNvPr>
          <p:cNvSpPr/>
          <p:nvPr/>
        </p:nvSpPr>
        <p:spPr>
          <a:xfrm>
            <a:off x="8706997" y="1238462"/>
            <a:ext cx="2909408" cy="340025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+mj-lt"/>
              </a:rPr>
              <a:t>  </a:t>
            </a:r>
            <a:r>
              <a:rPr lang="ru-RU" sz="1600" dirty="0">
                <a:solidFill>
                  <a:schemeClr val="tx1"/>
                </a:solidFill>
                <a:latin typeface="+mj-lt"/>
              </a:rPr>
              <a:t>Преимущества?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938AC61-26B6-4431-86B2-8269E36B9903}"/>
              </a:ext>
            </a:extLst>
          </p:cNvPr>
          <p:cNvSpPr txBox="1"/>
          <p:nvPr/>
        </p:nvSpPr>
        <p:spPr>
          <a:xfrm>
            <a:off x="8721382" y="1218628"/>
            <a:ext cx="1295758" cy="455509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ru-RU" sz="3200" b="1">
                <a:solidFill>
                  <a:srgbClr val="FF0000"/>
                </a:solidFill>
                <a:latin typeface="+mj-lt"/>
              </a:rPr>
              <a:t>*</a:t>
            </a:r>
            <a:endParaRPr lang="en-US" sz="3200" b="1" err="1">
              <a:solidFill>
                <a:srgbClr val="FF0000"/>
              </a:solidFill>
              <a:latin typeface="+mj-lt"/>
            </a:endParaRPr>
          </a:p>
        </p:txBody>
      </p:sp>
      <p:sp>
        <p:nvSpPr>
          <p:cNvPr id="15" name="Arrow: Right 20">
            <a:extLst>
              <a:ext uri="{FF2B5EF4-FFF2-40B4-BE49-F238E27FC236}">
                <a16:creationId xmlns:a16="http://schemas.microsoft.com/office/drawing/2014/main" id="{5744861F-99F0-4CB4-9B7A-D888BC8EE92B}"/>
              </a:ext>
            </a:extLst>
          </p:cNvPr>
          <p:cNvSpPr/>
          <p:nvPr/>
        </p:nvSpPr>
        <p:spPr>
          <a:xfrm>
            <a:off x="7722914" y="1776670"/>
            <a:ext cx="731520" cy="284480"/>
          </a:xfrm>
          <a:prstGeom prst="rightArrow">
            <a:avLst/>
          </a:prstGeom>
          <a:solidFill>
            <a:schemeClr val="tx2"/>
          </a:solidFill>
          <a:ln w="9525"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CA11426A-B907-4C2C-B095-32D72B58C8A4}"/>
              </a:ext>
            </a:extLst>
          </p:cNvPr>
          <p:cNvSpPr/>
          <p:nvPr/>
        </p:nvSpPr>
        <p:spPr>
          <a:xfrm>
            <a:off x="8723711" y="4916847"/>
            <a:ext cx="271870" cy="271870"/>
          </a:xfrm>
          <a:prstGeom prst="ellipse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ru-RU" sz="1200" b="1">
                <a:solidFill>
                  <a:schemeClr val="tx1"/>
                </a:solidFill>
                <a:latin typeface="+mj-lt"/>
              </a:rPr>
              <a:t>3</a:t>
            </a:r>
            <a:endParaRPr lang="en-US" sz="1200" b="1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221561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4992F05-1919-456D-95EB-D7497941F4E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84384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15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4992F05-1919-456D-95EB-D7497941F4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4382E16-B1D4-4F55-8F5F-76A42A8BA0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Команда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56EE12-D078-4D3F-9AF0-C586A643238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1BC30E3-FFE5-4B91-AA19-87A149EBB9EE}" type="slidenum">
              <a:rPr smtClean="0"/>
              <a:pPr/>
              <a:t>12</a:t>
            </a:fld>
            <a:endParaRPr dirty="0"/>
          </a:p>
        </p:txBody>
      </p:sp>
      <p:sp>
        <p:nvSpPr>
          <p:cNvPr id="7" name="Rectangle 10">
            <a:extLst>
              <a:ext uri="{FF2B5EF4-FFF2-40B4-BE49-F238E27FC236}">
                <a16:creationId xmlns:a16="http://schemas.microsoft.com/office/drawing/2014/main" id="{5CF968ED-D4EC-4AEA-BB08-D0F80A23B46E}"/>
              </a:ext>
            </a:extLst>
          </p:cNvPr>
          <p:cNvSpPr>
            <a:spLocks noChangeArrowheads="1"/>
          </p:cNvSpPr>
          <p:nvPr/>
        </p:nvSpPr>
        <p:spPr bwMode="gray">
          <a:xfrm>
            <a:off x="457200" y="2497405"/>
            <a:ext cx="2758750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829361" fontAlgn="base">
              <a:spcBef>
                <a:spcPct val="20000"/>
              </a:spcBef>
              <a:spcAft>
                <a:spcPct val="40000"/>
              </a:spcAft>
              <a:buClr>
                <a:srgbClr val="000000"/>
              </a:buClr>
              <a:buSzPct val="75000"/>
              <a:defRPr/>
            </a:pPr>
            <a:r>
              <a:rPr lang="ru-RU" sz="1100" b="1" i="1" dirty="0">
                <a:solidFill>
                  <a:schemeClr val="bg2"/>
                </a:solidFill>
                <a:ea typeface="Tahoma" panose="020B0604030504040204" pitchFamily="34" charset="0"/>
                <a:cs typeface="Tahoma" panose="020B0604030504040204" pitchFamily="34" charset="0"/>
                <a:sym typeface="Arial Unicode MS" pitchFamily="34" charset="-128"/>
              </a:rPr>
              <a:t>    Общая информация :  </a:t>
            </a:r>
            <a:endParaRPr lang="en-US" sz="1100" b="1" i="1" dirty="0">
              <a:solidFill>
                <a:schemeClr val="bg2"/>
              </a:solidFill>
              <a:ea typeface="Tahoma" panose="020B0604030504040204" pitchFamily="34" charset="0"/>
              <a:cs typeface="Tahoma" panose="020B0604030504040204" pitchFamily="34" charset="0"/>
              <a:sym typeface="Arial Unicode MS" pitchFamily="34" charset="-128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5B68D86-5588-4F50-B953-3D695F49FA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2001" y="2846313"/>
            <a:ext cx="4773242" cy="3783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177800" indent="-177800" defTabSz="995363">
              <a:spcAft>
                <a:spcPct val="40000"/>
              </a:spcAft>
              <a:buClr>
                <a:srgbClr val="FFD200"/>
              </a:buClr>
              <a:buSzPct val="75000"/>
              <a:buFont typeface="Arial Unicode MS" charset="-128"/>
              <a:tabLst>
                <a:tab pos="3228975" algn="l"/>
                <a:tab pos="4665663" algn="r"/>
              </a:tabLst>
              <a:defRPr sz="1100">
                <a:solidFill>
                  <a:schemeClr val="tx1"/>
                </a:solidFill>
                <a:latin typeface="EYInterstate" panose="02000503020000020004" pitchFamily="2" charset="0"/>
                <a:cs typeface="Arial" panose="020B0604020202020204" pitchFamily="34" charset="0"/>
              </a:defRPr>
            </a:lvl1pPr>
            <a:lvl2pPr marL="742950" indent="-285750" defTabSz="995363">
              <a:spcBef>
                <a:spcPct val="20000"/>
              </a:spcBef>
              <a:spcAft>
                <a:spcPct val="40000"/>
              </a:spcAft>
              <a:buClr>
                <a:srgbClr val="FFD200"/>
              </a:buClr>
              <a:buSzPct val="75000"/>
              <a:buFont typeface="Arial Unicode MS" charset="-128"/>
              <a:tabLst>
                <a:tab pos="3228975" algn="l"/>
                <a:tab pos="4665663" algn="r"/>
              </a:tabLst>
              <a:defRPr sz="1500" b="1">
                <a:solidFill>
                  <a:schemeClr val="tx2"/>
                </a:solidFill>
                <a:latin typeface="EYInterstate" panose="02000503020000020004" pitchFamily="2" charset="0"/>
                <a:cs typeface="Arial" panose="020B0604020202020204" pitchFamily="34" charset="0"/>
              </a:defRPr>
            </a:lvl2pPr>
            <a:lvl3pPr marL="1143000" indent="-228600" defTabSz="995363">
              <a:spcBef>
                <a:spcPct val="20000"/>
              </a:spcBef>
              <a:spcAft>
                <a:spcPct val="40000"/>
              </a:spcAft>
              <a:buClr>
                <a:schemeClr val="tx2"/>
              </a:buClr>
              <a:buSzPct val="75000"/>
              <a:buFont typeface="Arial Unicode MS" charset="-128"/>
              <a:tabLst>
                <a:tab pos="3228975" algn="l"/>
                <a:tab pos="4665663" algn="r"/>
              </a:tabLst>
              <a:defRPr sz="1300" b="1">
                <a:solidFill>
                  <a:schemeClr val="accent1"/>
                </a:solidFill>
                <a:latin typeface="EYInterstate" panose="02000503020000020004" pitchFamily="2" charset="0"/>
                <a:cs typeface="Arial" panose="020B0604020202020204" pitchFamily="34" charset="0"/>
              </a:defRPr>
            </a:lvl3pPr>
            <a:lvl4pPr marL="1600200" indent="-228600" defTabSz="995363">
              <a:spcAft>
                <a:spcPct val="40000"/>
              </a:spcAft>
              <a:buClr>
                <a:schemeClr val="tx1"/>
              </a:buClr>
              <a:buSzPct val="75000"/>
              <a:buFont typeface="EYInterstate" panose="02000503020000020004" pitchFamily="2" charset="0"/>
              <a:buChar char="►"/>
              <a:tabLst>
                <a:tab pos="3228975" algn="l"/>
                <a:tab pos="4665663" algn="r"/>
              </a:tabLst>
              <a:defRPr sz="1100">
                <a:solidFill>
                  <a:schemeClr val="tx1"/>
                </a:solidFill>
                <a:latin typeface="EYInterstate" panose="02000503020000020004" pitchFamily="2" charset="0"/>
                <a:cs typeface="Arial" panose="020B0604020202020204" pitchFamily="34" charset="0"/>
              </a:defRPr>
            </a:lvl4pPr>
            <a:lvl5pPr marL="2057400" indent="-228600" defTabSz="995363">
              <a:spcAft>
                <a:spcPct val="40000"/>
              </a:spcAft>
              <a:buClr>
                <a:schemeClr val="tx1"/>
              </a:buClr>
              <a:buSzPct val="75000"/>
              <a:buFont typeface="EYInterstate" panose="02000503020000020004" pitchFamily="2" charset="0"/>
              <a:buChar char="►"/>
              <a:tabLst>
                <a:tab pos="3228975" algn="l"/>
                <a:tab pos="4665663" algn="r"/>
              </a:tabLst>
              <a:defRPr sz="1100">
                <a:solidFill>
                  <a:schemeClr val="tx1"/>
                </a:solidFill>
                <a:latin typeface="EYInterstate" panose="02000503020000020004" pitchFamily="2" charset="0"/>
                <a:cs typeface="Arial" panose="020B0604020202020204" pitchFamily="34" charset="0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75000"/>
              <a:buFont typeface="EYInterstate" panose="02000503020000020004" pitchFamily="2" charset="0"/>
              <a:buChar char="►"/>
              <a:tabLst>
                <a:tab pos="3228975" algn="l"/>
                <a:tab pos="4665663" algn="r"/>
              </a:tabLst>
              <a:defRPr sz="1100">
                <a:solidFill>
                  <a:schemeClr val="tx1"/>
                </a:solidFill>
                <a:latin typeface="EYInterstate" panose="02000503020000020004" pitchFamily="2" charset="0"/>
                <a:cs typeface="Arial" panose="020B0604020202020204" pitchFamily="34" charset="0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75000"/>
              <a:buFont typeface="EYInterstate" panose="02000503020000020004" pitchFamily="2" charset="0"/>
              <a:buChar char="►"/>
              <a:tabLst>
                <a:tab pos="3228975" algn="l"/>
                <a:tab pos="4665663" algn="r"/>
              </a:tabLst>
              <a:defRPr sz="1100">
                <a:solidFill>
                  <a:schemeClr val="tx1"/>
                </a:solidFill>
                <a:latin typeface="EYInterstate" panose="02000503020000020004" pitchFamily="2" charset="0"/>
                <a:cs typeface="Arial" panose="020B0604020202020204" pitchFamily="34" charset="0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75000"/>
              <a:buFont typeface="EYInterstate" panose="02000503020000020004" pitchFamily="2" charset="0"/>
              <a:buChar char="►"/>
              <a:tabLst>
                <a:tab pos="3228975" algn="l"/>
                <a:tab pos="4665663" algn="r"/>
              </a:tabLst>
              <a:defRPr sz="1100">
                <a:solidFill>
                  <a:schemeClr val="tx1"/>
                </a:solidFill>
                <a:latin typeface="EYInterstate" panose="02000503020000020004" pitchFamily="2" charset="0"/>
                <a:cs typeface="Arial" panose="020B0604020202020204" pitchFamily="34" charset="0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75000"/>
              <a:buFont typeface="EYInterstate" panose="02000503020000020004" pitchFamily="2" charset="0"/>
              <a:buChar char="►"/>
              <a:tabLst>
                <a:tab pos="3228975" algn="l"/>
                <a:tab pos="4665663" algn="r"/>
              </a:tabLst>
              <a:defRPr sz="1100">
                <a:solidFill>
                  <a:schemeClr val="tx1"/>
                </a:solidFill>
                <a:latin typeface="EYInterstate" panose="02000503020000020004" pitchFamily="2" charset="0"/>
                <a:cs typeface="Arial" panose="020B0604020202020204" pitchFamily="34" charset="0"/>
              </a:defRPr>
            </a:lvl9pPr>
          </a:lstStyle>
          <a:p>
            <a:pPr marL="171450" indent="-171450" defTabSz="902794" fontAlgn="base">
              <a:spcBef>
                <a:spcPts val="544"/>
              </a:spcBef>
              <a:spcAft>
                <a:spcPts val="181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Char char="►"/>
              <a:tabLst>
                <a:tab pos="2928680" algn="l"/>
                <a:tab pos="4231756" algn="r"/>
              </a:tabLst>
            </a:pPr>
            <a:r>
              <a:rPr lang="ru-RU" altLang="ru-RU" sz="900" dirty="0">
                <a:solidFill>
                  <a:schemeClr val="bg2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Вильгельмина является руководителем </a:t>
            </a:r>
            <a:r>
              <a:rPr lang="ru-RU" altLang="en-US" sz="900" dirty="0">
                <a:solidFill>
                  <a:schemeClr val="bg2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группы таможенного регулирования и международной торговли в СНГ</a:t>
            </a:r>
            <a:r>
              <a:rPr lang="ru-RU" altLang="ru-RU" sz="900" dirty="0">
                <a:solidFill>
                  <a:schemeClr val="bg2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, Ассоциированным партнером </a:t>
            </a:r>
            <a:r>
              <a:rPr lang="en-US" altLang="ru-RU" sz="900" dirty="0">
                <a:solidFill>
                  <a:schemeClr val="bg2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B1</a:t>
            </a:r>
            <a:r>
              <a:rPr lang="ru-RU" altLang="ru-RU" sz="900" dirty="0">
                <a:solidFill>
                  <a:schemeClr val="bg2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  <a:p>
            <a:pPr marL="171450" indent="-171450" defTabSz="902794" fontAlgn="base">
              <a:spcBef>
                <a:spcPts val="544"/>
              </a:spcBef>
              <a:spcAft>
                <a:spcPts val="181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Char char="►"/>
              <a:tabLst>
                <a:tab pos="2928680" algn="l"/>
                <a:tab pos="4231756" algn="r"/>
              </a:tabLst>
            </a:pPr>
            <a:r>
              <a:rPr lang="ru-RU" altLang="en-US" sz="900" dirty="0">
                <a:solidFill>
                  <a:schemeClr val="bg2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Вильгельмина имеет 7-летний опыт работы в таможенных органах. В период с 1997 по 2002 год она возглавляла юридический департамент Санкт-Петербургской таможни, а с 2002 по 2005 год возглавляла Адвокатское таможенное Агентство Балтийской коллегии адвокатов. Вильгельмина более 19 лет работает в сфере консалтинга. </a:t>
            </a:r>
            <a:endParaRPr lang="en-GB" altLang="en-US" sz="900" dirty="0">
              <a:solidFill>
                <a:schemeClr val="bg2"/>
              </a:solidFill>
              <a:latin typeface="+mn-lt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indent="-171450" defTabSz="902794" fontAlgn="base">
              <a:spcBef>
                <a:spcPts val="544"/>
              </a:spcBef>
              <a:spcAft>
                <a:spcPts val="181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Char char="►"/>
              <a:tabLst>
                <a:tab pos="2928680" algn="l"/>
                <a:tab pos="4231756" algn="r"/>
              </a:tabLst>
            </a:pPr>
            <a:r>
              <a:rPr lang="ru-RU" altLang="en-US" sz="900" dirty="0">
                <a:solidFill>
                  <a:schemeClr val="bg2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Является членом Экспертного совета при Бюджетно-налоговом комитете Государственной Думы РФ и ряда рабочих групп Евразийской экономической комиссии. Она также является экспертом Общественного и Экспертно-консультативного советов Федеральной таможенной службы.</a:t>
            </a:r>
          </a:p>
          <a:p>
            <a:pPr marL="171450" indent="-171450" defTabSz="902794" fontAlgn="base">
              <a:spcBef>
                <a:spcPts val="544"/>
              </a:spcBef>
              <a:spcAft>
                <a:spcPts val="181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Char char="►"/>
              <a:tabLst>
                <a:tab pos="2928680" algn="l"/>
                <a:tab pos="4231756" algn="r"/>
              </a:tabLst>
            </a:pPr>
            <a:r>
              <a:rPr lang="ru-RU" altLang="en-US" sz="900" dirty="0">
                <a:solidFill>
                  <a:schemeClr val="bg2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С 20</a:t>
            </a:r>
            <a:r>
              <a:rPr lang="en-US" altLang="en-US" sz="900" dirty="0">
                <a:solidFill>
                  <a:schemeClr val="bg2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21</a:t>
            </a:r>
            <a:r>
              <a:rPr lang="ru-RU" altLang="en-US" sz="900" dirty="0">
                <a:solidFill>
                  <a:schemeClr val="bg2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 года Вильгельмина является председателем Таможенного и транспортного комитета АЕБ, а с 2015 года - заместителем председателя Исполнительного комитета Ассоциации европейского бизнеса на Северо-Западе.</a:t>
            </a:r>
          </a:p>
          <a:p>
            <a:pPr marL="171450" indent="-171450" defTabSz="902794" fontAlgn="base">
              <a:spcBef>
                <a:spcPts val="544"/>
              </a:spcBef>
              <a:spcAft>
                <a:spcPts val="181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Char char="►"/>
              <a:tabLst>
                <a:tab pos="2928680" algn="l"/>
                <a:tab pos="4231756" algn="r"/>
              </a:tabLst>
            </a:pPr>
            <a:r>
              <a:rPr lang="ru-RU" altLang="en-US" sz="900" dirty="0">
                <a:solidFill>
                  <a:schemeClr val="bg2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Кроме того, Вильгельмина занимает должность доцента в СПбГУ и является соруководителем программы дополнительного образования по внешнеэкономической деятельности для юристов и руководителей предприятий.</a:t>
            </a:r>
          </a:p>
          <a:p>
            <a:pPr marL="171450" indent="-171450" defTabSz="902794" fontAlgn="base">
              <a:spcBef>
                <a:spcPts val="544"/>
              </a:spcBef>
              <a:spcAft>
                <a:spcPts val="181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Char char="►"/>
              <a:tabLst>
                <a:tab pos="2928680" algn="l"/>
                <a:tab pos="4231756" algn="r"/>
              </a:tabLst>
            </a:pPr>
            <a:r>
              <a:rPr lang="ru-RU" altLang="en-US" sz="900" dirty="0">
                <a:solidFill>
                  <a:schemeClr val="bg2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Вильгельмина также является членом совета магистерской программы «Юрист по внешней торговле».</a:t>
            </a:r>
          </a:p>
          <a:p>
            <a:pPr marL="171450" indent="-171450" defTabSz="902794" fontAlgn="base">
              <a:spcBef>
                <a:spcPct val="0"/>
              </a:spcBef>
              <a:spcAft>
                <a:spcPts val="181"/>
              </a:spcAft>
              <a:buClr>
                <a:schemeClr val="tx2"/>
              </a:buClr>
              <a:buSzTx/>
              <a:buFont typeface="Arial" panose="020B0604020202020204" pitchFamily="34" charset="0"/>
              <a:buChar char="►"/>
              <a:tabLst>
                <a:tab pos="2928680" algn="l"/>
                <a:tab pos="4231756" algn="r"/>
              </a:tabLst>
            </a:pPr>
            <a:endParaRPr lang="en-GB" altLang="en-US" sz="800" dirty="0">
              <a:solidFill>
                <a:schemeClr val="bg2"/>
              </a:solidFill>
              <a:latin typeface="+mn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" name="Text Box 7">
            <a:extLst>
              <a:ext uri="{FF2B5EF4-FFF2-40B4-BE49-F238E27FC236}">
                <a16:creationId xmlns:a16="http://schemas.microsoft.com/office/drawing/2014/main" id="{CE1A4216-0E42-48F3-9479-E033DDFBCED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81200" y="1066800"/>
            <a:ext cx="4773243" cy="4847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995363">
              <a:spcAft>
                <a:spcPct val="40000"/>
              </a:spcAft>
              <a:buClr>
                <a:srgbClr val="FFD200"/>
              </a:buClr>
              <a:buSzPct val="75000"/>
              <a:buFont typeface="Arial Unicode MS" charset="-128"/>
              <a:tabLst>
                <a:tab pos="442913" algn="l"/>
              </a:tabLst>
              <a:defRPr sz="1100">
                <a:solidFill>
                  <a:schemeClr val="tx1"/>
                </a:solidFill>
                <a:latin typeface="EYInterstate" panose="02000503020000020004" pitchFamily="2" charset="0"/>
                <a:cs typeface="Arial" panose="020B0604020202020204" pitchFamily="34" charset="0"/>
              </a:defRPr>
            </a:lvl1pPr>
            <a:lvl2pPr marL="742950" indent="-285750" defTabSz="995363">
              <a:spcBef>
                <a:spcPct val="20000"/>
              </a:spcBef>
              <a:spcAft>
                <a:spcPct val="40000"/>
              </a:spcAft>
              <a:buClr>
                <a:srgbClr val="FFD200"/>
              </a:buClr>
              <a:buSzPct val="75000"/>
              <a:buFont typeface="Arial Unicode MS" charset="-128"/>
              <a:tabLst>
                <a:tab pos="442913" algn="l"/>
              </a:tabLst>
              <a:defRPr sz="1500" b="1">
                <a:solidFill>
                  <a:schemeClr val="tx2"/>
                </a:solidFill>
                <a:latin typeface="EYInterstate" panose="02000503020000020004" pitchFamily="2" charset="0"/>
                <a:cs typeface="Arial" panose="020B0604020202020204" pitchFamily="34" charset="0"/>
              </a:defRPr>
            </a:lvl2pPr>
            <a:lvl3pPr marL="1143000" indent="-228600" defTabSz="995363">
              <a:spcBef>
                <a:spcPct val="20000"/>
              </a:spcBef>
              <a:spcAft>
                <a:spcPct val="40000"/>
              </a:spcAft>
              <a:buClr>
                <a:schemeClr val="tx2"/>
              </a:buClr>
              <a:buSzPct val="75000"/>
              <a:buFont typeface="Arial Unicode MS" charset="-128"/>
              <a:tabLst>
                <a:tab pos="442913" algn="l"/>
              </a:tabLst>
              <a:defRPr sz="1300" b="1">
                <a:solidFill>
                  <a:schemeClr val="accent1"/>
                </a:solidFill>
                <a:latin typeface="EYInterstate" panose="02000503020000020004" pitchFamily="2" charset="0"/>
                <a:cs typeface="Arial" panose="020B0604020202020204" pitchFamily="34" charset="0"/>
              </a:defRPr>
            </a:lvl3pPr>
            <a:lvl4pPr marL="1600200" indent="-228600" defTabSz="995363">
              <a:spcAft>
                <a:spcPct val="40000"/>
              </a:spcAft>
              <a:buClr>
                <a:schemeClr val="tx1"/>
              </a:buClr>
              <a:buSzPct val="75000"/>
              <a:buFont typeface="EYInterstate" panose="02000503020000020004" pitchFamily="2" charset="0"/>
              <a:buChar char="►"/>
              <a:tabLst>
                <a:tab pos="442913" algn="l"/>
              </a:tabLst>
              <a:defRPr sz="1100">
                <a:solidFill>
                  <a:schemeClr val="tx1"/>
                </a:solidFill>
                <a:latin typeface="EYInterstate" panose="02000503020000020004" pitchFamily="2" charset="0"/>
                <a:cs typeface="Arial" panose="020B0604020202020204" pitchFamily="34" charset="0"/>
              </a:defRPr>
            </a:lvl4pPr>
            <a:lvl5pPr marL="2057400" indent="-228600" defTabSz="995363">
              <a:spcAft>
                <a:spcPct val="40000"/>
              </a:spcAft>
              <a:buClr>
                <a:schemeClr val="tx1"/>
              </a:buClr>
              <a:buSzPct val="75000"/>
              <a:buFont typeface="EYInterstate" panose="02000503020000020004" pitchFamily="2" charset="0"/>
              <a:buChar char="►"/>
              <a:tabLst>
                <a:tab pos="442913" algn="l"/>
              </a:tabLst>
              <a:defRPr sz="1100">
                <a:solidFill>
                  <a:schemeClr val="tx1"/>
                </a:solidFill>
                <a:latin typeface="EYInterstate" panose="02000503020000020004" pitchFamily="2" charset="0"/>
                <a:cs typeface="Arial" panose="020B0604020202020204" pitchFamily="34" charset="0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75000"/>
              <a:buFont typeface="EYInterstate" panose="02000503020000020004" pitchFamily="2" charset="0"/>
              <a:buChar char="►"/>
              <a:tabLst>
                <a:tab pos="442913" algn="l"/>
              </a:tabLst>
              <a:defRPr sz="1100">
                <a:solidFill>
                  <a:schemeClr val="tx1"/>
                </a:solidFill>
                <a:latin typeface="EYInterstate" panose="02000503020000020004" pitchFamily="2" charset="0"/>
                <a:cs typeface="Arial" panose="020B0604020202020204" pitchFamily="34" charset="0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75000"/>
              <a:buFont typeface="EYInterstate" panose="02000503020000020004" pitchFamily="2" charset="0"/>
              <a:buChar char="►"/>
              <a:tabLst>
                <a:tab pos="442913" algn="l"/>
              </a:tabLst>
              <a:defRPr sz="1100">
                <a:solidFill>
                  <a:schemeClr val="tx1"/>
                </a:solidFill>
                <a:latin typeface="EYInterstate" panose="02000503020000020004" pitchFamily="2" charset="0"/>
                <a:cs typeface="Arial" panose="020B0604020202020204" pitchFamily="34" charset="0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75000"/>
              <a:buFont typeface="EYInterstate" panose="02000503020000020004" pitchFamily="2" charset="0"/>
              <a:buChar char="►"/>
              <a:tabLst>
                <a:tab pos="442913" algn="l"/>
              </a:tabLst>
              <a:defRPr sz="1100">
                <a:solidFill>
                  <a:schemeClr val="tx1"/>
                </a:solidFill>
                <a:latin typeface="EYInterstate" panose="02000503020000020004" pitchFamily="2" charset="0"/>
                <a:cs typeface="Arial" panose="020B0604020202020204" pitchFamily="34" charset="0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75000"/>
              <a:buFont typeface="EYInterstate" panose="02000503020000020004" pitchFamily="2" charset="0"/>
              <a:buChar char="►"/>
              <a:tabLst>
                <a:tab pos="442913" algn="l"/>
              </a:tabLst>
              <a:defRPr sz="1100">
                <a:solidFill>
                  <a:schemeClr val="tx1"/>
                </a:solidFill>
                <a:latin typeface="EYInterstate" panose="02000503020000020004" pitchFamily="2" charset="0"/>
                <a:cs typeface="Arial" panose="020B0604020202020204" pitchFamily="34" charset="0"/>
              </a:defRPr>
            </a:lvl9pPr>
          </a:lstStyle>
          <a:p>
            <a:pPr defTabSz="902794" fontAlgn="base">
              <a:spcBef>
                <a:spcPct val="0"/>
              </a:spcBef>
              <a:spcAft>
                <a:spcPct val="0"/>
              </a:spcAft>
              <a:buClrTx/>
              <a:buSzTx/>
              <a:tabLst>
                <a:tab pos="401722" algn="l"/>
              </a:tabLst>
            </a:pPr>
            <a:r>
              <a:rPr lang="ru-RU" altLang="ru-RU" sz="1050" b="1" dirty="0">
                <a:solidFill>
                  <a:schemeClr val="bg2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Вильгельмина </a:t>
            </a:r>
            <a:r>
              <a:rPr lang="ru-RU" altLang="ru-RU" sz="1050" b="1" dirty="0" err="1">
                <a:solidFill>
                  <a:schemeClr val="bg2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Шавшина</a:t>
            </a:r>
            <a:r>
              <a:rPr lang="en-US" altLang="en-US" sz="1050" dirty="0">
                <a:solidFill>
                  <a:schemeClr val="bg2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/>
            </a:r>
            <a:br>
              <a:rPr lang="en-US" altLang="en-US" sz="1050" dirty="0">
                <a:solidFill>
                  <a:schemeClr val="bg2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altLang="en-US" sz="1000" dirty="0">
                <a:solidFill>
                  <a:schemeClr val="bg2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Партнер, руководитель группы таможенного регулирования и международной торговли в СНГ</a:t>
            </a:r>
            <a:r>
              <a:rPr lang="en-US" altLang="en-US" sz="1000" dirty="0">
                <a:solidFill>
                  <a:schemeClr val="bg2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ru-RU" altLang="en-US" sz="1000" dirty="0">
                <a:solidFill>
                  <a:schemeClr val="bg2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Б</a:t>
            </a:r>
            <a:r>
              <a:rPr lang="en-US" altLang="en-US" sz="1000" dirty="0">
                <a:solidFill>
                  <a:schemeClr val="bg2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1</a:t>
            </a:r>
            <a:endParaRPr lang="en-US" altLang="en-US" sz="1050" dirty="0">
              <a:solidFill>
                <a:schemeClr val="bg2"/>
              </a:solidFill>
              <a:latin typeface="+mn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" name="Text Box 8">
            <a:extLst>
              <a:ext uri="{FF2B5EF4-FFF2-40B4-BE49-F238E27FC236}">
                <a16:creationId xmlns:a16="http://schemas.microsoft.com/office/drawing/2014/main" id="{9B7E9EDF-365D-4F8D-9685-72B94F2D115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81200" y="1600200"/>
            <a:ext cx="3360130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995363">
              <a:spcAft>
                <a:spcPct val="40000"/>
              </a:spcAft>
              <a:buClr>
                <a:srgbClr val="FFD200"/>
              </a:buClr>
              <a:buSzPct val="75000"/>
              <a:buFont typeface="Arial Unicode MS" charset="-128"/>
              <a:tabLst>
                <a:tab pos="442913" algn="l"/>
              </a:tabLst>
              <a:defRPr sz="1100">
                <a:solidFill>
                  <a:schemeClr val="tx1"/>
                </a:solidFill>
                <a:latin typeface="EYInterstate" panose="02000503020000020004" pitchFamily="2" charset="0"/>
                <a:cs typeface="Arial" panose="020B0604020202020204" pitchFamily="34" charset="0"/>
              </a:defRPr>
            </a:lvl1pPr>
            <a:lvl2pPr marL="742950" indent="-285750" defTabSz="995363">
              <a:spcBef>
                <a:spcPct val="20000"/>
              </a:spcBef>
              <a:spcAft>
                <a:spcPct val="40000"/>
              </a:spcAft>
              <a:buClr>
                <a:srgbClr val="FFD200"/>
              </a:buClr>
              <a:buSzPct val="75000"/>
              <a:buFont typeface="Arial Unicode MS" charset="-128"/>
              <a:tabLst>
                <a:tab pos="442913" algn="l"/>
              </a:tabLst>
              <a:defRPr sz="1500" b="1">
                <a:solidFill>
                  <a:schemeClr val="tx2"/>
                </a:solidFill>
                <a:latin typeface="EYInterstate" panose="02000503020000020004" pitchFamily="2" charset="0"/>
                <a:cs typeface="Arial" panose="020B0604020202020204" pitchFamily="34" charset="0"/>
              </a:defRPr>
            </a:lvl2pPr>
            <a:lvl3pPr marL="1143000" indent="-228600" defTabSz="995363">
              <a:spcBef>
                <a:spcPct val="20000"/>
              </a:spcBef>
              <a:spcAft>
                <a:spcPct val="40000"/>
              </a:spcAft>
              <a:buClr>
                <a:schemeClr val="tx2"/>
              </a:buClr>
              <a:buSzPct val="75000"/>
              <a:buFont typeface="Arial Unicode MS" charset="-128"/>
              <a:tabLst>
                <a:tab pos="442913" algn="l"/>
              </a:tabLst>
              <a:defRPr sz="1300" b="1">
                <a:solidFill>
                  <a:schemeClr val="accent1"/>
                </a:solidFill>
                <a:latin typeface="EYInterstate" panose="02000503020000020004" pitchFamily="2" charset="0"/>
                <a:cs typeface="Arial" panose="020B0604020202020204" pitchFamily="34" charset="0"/>
              </a:defRPr>
            </a:lvl3pPr>
            <a:lvl4pPr marL="1600200" indent="-228600" defTabSz="995363">
              <a:spcAft>
                <a:spcPct val="40000"/>
              </a:spcAft>
              <a:buClr>
                <a:schemeClr val="tx1"/>
              </a:buClr>
              <a:buSzPct val="75000"/>
              <a:buFont typeface="EYInterstate" panose="02000503020000020004" pitchFamily="2" charset="0"/>
              <a:buChar char="►"/>
              <a:tabLst>
                <a:tab pos="442913" algn="l"/>
              </a:tabLst>
              <a:defRPr sz="1100">
                <a:solidFill>
                  <a:schemeClr val="tx1"/>
                </a:solidFill>
                <a:latin typeface="EYInterstate" panose="02000503020000020004" pitchFamily="2" charset="0"/>
                <a:cs typeface="Arial" panose="020B0604020202020204" pitchFamily="34" charset="0"/>
              </a:defRPr>
            </a:lvl4pPr>
            <a:lvl5pPr marL="2057400" indent="-228600" defTabSz="995363">
              <a:spcAft>
                <a:spcPct val="40000"/>
              </a:spcAft>
              <a:buClr>
                <a:schemeClr val="tx1"/>
              </a:buClr>
              <a:buSzPct val="75000"/>
              <a:buFont typeface="EYInterstate" panose="02000503020000020004" pitchFamily="2" charset="0"/>
              <a:buChar char="►"/>
              <a:tabLst>
                <a:tab pos="442913" algn="l"/>
              </a:tabLst>
              <a:defRPr sz="1100">
                <a:solidFill>
                  <a:schemeClr val="tx1"/>
                </a:solidFill>
                <a:latin typeface="EYInterstate" panose="02000503020000020004" pitchFamily="2" charset="0"/>
                <a:cs typeface="Arial" panose="020B0604020202020204" pitchFamily="34" charset="0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75000"/>
              <a:buFont typeface="EYInterstate" panose="02000503020000020004" pitchFamily="2" charset="0"/>
              <a:buChar char="►"/>
              <a:tabLst>
                <a:tab pos="442913" algn="l"/>
              </a:tabLst>
              <a:defRPr sz="1100">
                <a:solidFill>
                  <a:schemeClr val="tx1"/>
                </a:solidFill>
                <a:latin typeface="EYInterstate" panose="02000503020000020004" pitchFamily="2" charset="0"/>
                <a:cs typeface="Arial" panose="020B0604020202020204" pitchFamily="34" charset="0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75000"/>
              <a:buFont typeface="EYInterstate" panose="02000503020000020004" pitchFamily="2" charset="0"/>
              <a:buChar char="►"/>
              <a:tabLst>
                <a:tab pos="442913" algn="l"/>
              </a:tabLst>
              <a:defRPr sz="1100">
                <a:solidFill>
                  <a:schemeClr val="tx1"/>
                </a:solidFill>
                <a:latin typeface="EYInterstate" panose="02000503020000020004" pitchFamily="2" charset="0"/>
                <a:cs typeface="Arial" panose="020B0604020202020204" pitchFamily="34" charset="0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75000"/>
              <a:buFont typeface="EYInterstate" panose="02000503020000020004" pitchFamily="2" charset="0"/>
              <a:buChar char="►"/>
              <a:tabLst>
                <a:tab pos="442913" algn="l"/>
              </a:tabLst>
              <a:defRPr sz="1100">
                <a:solidFill>
                  <a:schemeClr val="tx1"/>
                </a:solidFill>
                <a:latin typeface="EYInterstate" panose="02000503020000020004" pitchFamily="2" charset="0"/>
                <a:cs typeface="Arial" panose="020B0604020202020204" pitchFamily="34" charset="0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75000"/>
              <a:buFont typeface="EYInterstate" panose="02000503020000020004" pitchFamily="2" charset="0"/>
              <a:buChar char="►"/>
              <a:tabLst>
                <a:tab pos="442913" algn="l"/>
              </a:tabLst>
              <a:defRPr sz="1100">
                <a:solidFill>
                  <a:schemeClr val="tx1"/>
                </a:solidFill>
                <a:latin typeface="EYInterstate" panose="02000503020000020004" pitchFamily="2" charset="0"/>
                <a:cs typeface="Arial" panose="020B0604020202020204" pitchFamily="34" charset="0"/>
              </a:defRPr>
            </a:lvl9pPr>
          </a:lstStyle>
          <a:p>
            <a:pPr defTabSz="902794" eaLnBrk="0" fontAlgn="base" hangingPunct="0">
              <a:spcBef>
                <a:spcPct val="0"/>
              </a:spcBef>
              <a:spcAft>
                <a:spcPct val="0"/>
              </a:spcAft>
              <a:tabLst>
                <a:tab pos="401722" algn="l"/>
              </a:tabLst>
            </a:pPr>
            <a:r>
              <a:rPr lang="ru-RU" altLang="ru-RU" sz="800" dirty="0">
                <a:solidFill>
                  <a:schemeClr val="bg2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Тел.: 	+7 495 755 9700</a:t>
            </a:r>
          </a:p>
          <a:p>
            <a:pPr defTabSz="902794" eaLnBrk="0" fontAlgn="base" hangingPunct="0">
              <a:spcBef>
                <a:spcPct val="0"/>
              </a:spcBef>
              <a:spcAft>
                <a:spcPct val="0"/>
              </a:spcAft>
              <a:tabLst>
                <a:tab pos="401722" algn="l"/>
              </a:tabLst>
            </a:pPr>
            <a:r>
              <a:rPr lang="ru-RU" altLang="ru-RU" sz="800" dirty="0">
                <a:solidFill>
                  <a:schemeClr val="bg2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Моб.:     +7 921 940 22 61</a:t>
            </a:r>
          </a:p>
          <a:p>
            <a:pPr defTabSz="902794" eaLnBrk="0" fontAlgn="base" hangingPunct="0">
              <a:spcBef>
                <a:spcPct val="0"/>
              </a:spcBef>
              <a:spcAft>
                <a:spcPct val="0"/>
              </a:spcAft>
              <a:tabLst>
                <a:tab pos="401722" algn="l"/>
              </a:tabLst>
            </a:pPr>
            <a:r>
              <a:rPr lang="ru-RU" altLang="ru-RU" sz="800" dirty="0">
                <a:solidFill>
                  <a:schemeClr val="bg2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Факс: 	+7 495 755 9701</a:t>
            </a:r>
          </a:p>
          <a:p>
            <a:pPr defTabSz="902794" eaLnBrk="0" fontAlgn="base" hangingPunct="0">
              <a:spcBef>
                <a:spcPct val="0"/>
              </a:spcBef>
              <a:spcAft>
                <a:spcPct val="0"/>
              </a:spcAft>
              <a:tabLst>
                <a:tab pos="401722" algn="l"/>
              </a:tabLst>
            </a:pPr>
            <a:r>
              <a:rPr lang="en-US" altLang="ru-RU" sz="800" dirty="0">
                <a:solidFill>
                  <a:schemeClr val="bg2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Email</a:t>
            </a:r>
            <a:r>
              <a:rPr lang="ru-RU" altLang="ru-RU" sz="800" dirty="0">
                <a:solidFill>
                  <a:schemeClr val="bg2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:	</a:t>
            </a:r>
            <a:r>
              <a:rPr lang="en-US" altLang="ru-RU" sz="800" dirty="0">
                <a:solidFill>
                  <a:schemeClr val="bg2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Wilhelmina.Shavshina@ru.ey.com</a:t>
            </a:r>
            <a:endParaRPr lang="en-US" altLang="en-US" sz="800" dirty="0">
              <a:solidFill>
                <a:schemeClr val="bg2"/>
              </a:solidFill>
              <a:latin typeface="+mn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" name="Rectangle 12">
            <a:extLst>
              <a:ext uri="{FF2B5EF4-FFF2-40B4-BE49-F238E27FC236}">
                <a16:creationId xmlns:a16="http://schemas.microsoft.com/office/drawing/2014/main" id="{F624A472-6EB6-417D-9DE4-BE63C502EE3C}"/>
              </a:ext>
            </a:extLst>
          </p:cNvPr>
          <p:cNvSpPr>
            <a:spLocks noChangeArrowheads="1"/>
          </p:cNvSpPr>
          <p:nvPr/>
        </p:nvSpPr>
        <p:spPr bwMode="gray">
          <a:xfrm>
            <a:off x="5623250" y="2497405"/>
            <a:ext cx="2758750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829361" fontAlgn="base">
              <a:spcBef>
                <a:spcPct val="20000"/>
              </a:spcBef>
              <a:spcAft>
                <a:spcPct val="40000"/>
              </a:spcAft>
              <a:buClr>
                <a:srgbClr val="000000"/>
              </a:buClr>
              <a:buSzPct val="75000"/>
              <a:defRPr/>
            </a:pPr>
            <a:r>
              <a:rPr lang="ru-RU" sz="1100" b="1" i="1" dirty="0">
                <a:solidFill>
                  <a:schemeClr val="bg2"/>
                </a:solidFill>
                <a:ea typeface="Tahoma" panose="020B0604030504040204" pitchFamily="34" charset="0"/>
                <a:cs typeface="Tahoma" panose="020B0604030504040204" pitchFamily="34" charset="0"/>
                <a:sym typeface="Arial Unicode MS" pitchFamily="34" charset="-128"/>
              </a:rPr>
              <a:t>Профессиональные навыки : </a:t>
            </a:r>
            <a:endParaRPr lang="en-US" sz="1100" b="1" i="1" dirty="0">
              <a:solidFill>
                <a:schemeClr val="bg2"/>
              </a:solidFill>
              <a:ea typeface="Tahoma" panose="020B0604030504040204" pitchFamily="34" charset="0"/>
              <a:cs typeface="Tahoma" panose="020B0604030504040204" pitchFamily="34" charset="0"/>
              <a:sym typeface="Arial Unicode MS" pitchFamily="34" charset="-128"/>
            </a:endParaRPr>
          </a:p>
        </p:txBody>
      </p:sp>
      <p:sp>
        <p:nvSpPr>
          <p:cNvPr id="12" name="Rectangle 13">
            <a:extLst>
              <a:ext uri="{FF2B5EF4-FFF2-40B4-BE49-F238E27FC236}">
                <a16:creationId xmlns:a16="http://schemas.microsoft.com/office/drawing/2014/main" id="{4DE29F8E-4231-4FE0-9554-8C68DA5BEA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28276" y="2846313"/>
            <a:ext cx="5736673" cy="19800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177800" indent="-177800" defTabSz="995363">
              <a:spcAft>
                <a:spcPct val="40000"/>
              </a:spcAft>
              <a:buClr>
                <a:srgbClr val="FFD200"/>
              </a:buClr>
              <a:buSzPct val="75000"/>
              <a:buFont typeface="Arial Unicode MS" charset="-128"/>
              <a:tabLst>
                <a:tab pos="180975" algn="l"/>
                <a:tab pos="3228975" algn="l"/>
                <a:tab pos="4665663" algn="r"/>
              </a:tabLst>
              <a:defRPr sz="1100">
                <a:solidFill>
                  <a:schemeClr val="tx1"/>
                </a:solidFill>
                <a:latin typeface="EYInterstate" panose="02000503020000020004" pitchFamily="2" charset="0"/>
                <a:cs typeface="Arial" panose="020B0604020202020204" pitchFamily="34" charset="0"/>
              </a:defRPr>
            </a:lvl1pPr>
            <a:lvl2pPr marL="357188" indent="-176213" defTabSz="995363">
              <a:spcBef>
                <a:spcPct val="20000"/>
              </a:spcBef>
              <a:spcAft>
                <a:spcPct val="40000"/>
              </a:spcAft>
              <a:buClr>
                <a:srgbClr val="FFD200"/>
              </a:buClr>
              <a:buSzPct val="75000"/>
              <a:buFont typeface="Arial Unicode MS" charset="-128"/>
              <a:tabLst>
                <a:tab pos="180975" algn="l"/>
                <a:tab pos="3228975" algn="l"/>
                <a:tab pos="4665663" algn="r"/>
              </a:tabLst>
              <a:defRPr sz="1500" b="1">
                <a:solidFill>
                  <a:schemeClr val="tx2"/>
                </a:solidFill>
                <a:latin typeface="EYInterstate" panose="02000503020000020004" pitchFamily="2" charset="0"/>
                <a:cs typeface="Arial" panose="020B0604020202020204" pitchFamily="34" charset="0"/>
              </a:defRPr>
            </a:lvl2pPr>
            <a:lvl3pPr marL="1143000" indent="-228600" defTabSz="995363">
              <a:spcBef>
                <a:spcPct val="20000"/>
              </a:spcBef>
              <a:spcAft>
                <a:spcPct val="40000"/>
              </a:spcAft>
              <a:buClr>
                <a:schemeClr val="tx2"/>
              </a:buClr>
              <a:buSzPct val="75000"/>
              <a:buFont typeface="Arial Unicode MS" charset="-128"/>
              <a:tabLst>
                <a:tab pos="180975" algn="l"/>
                <a:tab pos="3228975" algn="l"/>
                <a:tab pos="4665663" algn="r"/>
              </a:tabLst>
              <a:defRPr sz="1300" b="1">
                <a:solidFill>
                  <a:schemeClr val="accent1"/>
                </a:solidFill>
                <a:latin typeface="EYInterstate" panose="02000503020000020004" pitchFamily="2" charset="0"/>
                <a:cs typeface="Arial" panose="020B0604020202020204" pitchFamily="34" charset="0"/>
              </a:defRPr>
            </a:lvl3pPr>
            <a:lvl4pPr marL="1600200" indent="-228600" defTabSz="995363">
              <a:spcAft>
                <a:spcPct val="40000"/>
              </a:spcAft>
              <a:buClr>
                <a:schemeClr val="tx1"/>
              </a:buClr>
              <a:buSzPct val="75000"/>
              <a:buFont typeface="EYInterstate" panose="02000503020000020004" pitchFamily="2" charset="0"/>
              <a:buChar char="►"/>
              <a:tabLst>
                <a:tab pos="180975" algn="l"/>
                <a:tab pos="3228975" algn="l"/>
                <a:tab pos="4665663" algn="r"/>
              </a:tabLst>
              <a:defRPr sz="1100">
                <a:solidFill>
                  <a:schemeClr val="tx1"/>
                </a:solidFill>
                <a:latin typeface="EYInterstate" panose="02000503020000020004" pitchFamily="2" charset="0"/>
                <a:cs typeface="Arial" panose="020B0604020202020204" pitchFamily="34" charset="0"/>
              </a:defRPr>
            </a:lvl4pPr>
            <a:lvl5pPr marL="2057400" indent="-228600" defTabSz="995363">
              <a:spcAft>
                <a:spcPct val="40000"/>
              </a:spcAft>
              <a:buClr>
                <a:schemeClr val="tx1"/>
              </a:buClr>
              <a:buSzPct val="75000"/>
              <a:buFont typeface="EYInterstate" panose="02000503020000020004" pitchFamily="2" charset="0"/>
              <a:buChar char="►"/>
              <a:tabLst>
                <a:tab pos="180975" algn="l"/>
                <a:tab pos="3228975" algn="l"/>
                <a:tab pos="4665663" algn="r"/>
              </a:tabLst>
              <a:defRPr sz="1100">
                <a:solidFill>
                  <a:schemeClr val="tx1"/>
                </a:solidFill>
                <a:latin typeface="EYInterstate" panose="02000503020000020004" pitchFamily="2" charset="0"/>
                <a:cs typeface="Arial" panose="020B0604020202020204" pitchFamily="34" charset="0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75000"/>
              <a:buFont typeface="EYInterstate" panose="02000503020000020004" pitchFamily="2" charset="0"/>
              <a:buChar char="►"/>
              <a:tabLst>
                <a:tab pos="180975" algn="l"/>
                <a:tab pos="3228975" algn="l"/>
                <a:tab pos="4665663" algn="r"/>
              </a:tabLst>
              <a:defRPr sz="1100">
                <a:solidFill>
                  <a:schemeClr val="tx1"/>
                </a:solidFill>
                <a:latin typeface="EYInterstate" panose="02000503020000020004" pitchFamily="2" charset="0"/>
                <a:cs typeface="Arial" panose="020B0604020202020204" pitchFamily="34" charset="0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75000"/>
              <a:buFont typeface="EYInterstate" panose="02000503020000020004" pitchFamily="2" charset="0"/>
              <a:buChar char="►"/>
              <a:tabLst>
                <a:tab pos="180975" algn="l"/>
                <a:tab pos="3228975" algn="l"/>
                <a:tab pos="4665663" algn="r"/>
              </a:tabLst>
              <a:defRPr sz="1100">
                <a:solidFill>
                  <a:schemeClr val="tx1"/>
                </a:solidFill>
                <a:latin typeface="EYInterstate" panose="02000503020000020004" pitchFamily="2" charset="0"/>
                <a:cs typeface="Arial" panose="020B0604020202020204" pitchFamily="34" charset="0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75000"/>
              <a:buFont typeface="EYInterstate" panose="02000503020000020004" pitchFamily="2" charset="0"/>
              <a:buChar char="►"/>
              <a:tabLst>
                <a:tab pos="180975" algn="l"/>
                <a:tab pos="3228975" algn="l"/>
                <a:tab pos="4665663" algn="r"/>
              </a:tabLst>
              <a:defRPr sz="1100">
                <a:solidFill>
                  <a:schemeClr val="tx1"/>
                </a:solidFill>
                <a:latin typeface="EYInterstate" panose="02000503020000020004" pitchFamily="2" charset="0"/>
                <a:cs typeface="Arial" panose="020B0604020202020204" pitchFamily="34" charset="0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75000"/>
              <a:buFont typeface="EYInterstate" panose="02000503020000020004" pitchFamily="2" charset="0"/>
              <a:buChar char="►"/>
              <a:tabLst>
                <a:tab pos="180975" algn="l"/>
                <a:tab pos="3228975" algn="l"/>
                <a:tab pos="4665663" algn="r"/>
              </a:tabLst>
              <a:defRPr sz="1100">
                <a:solidFill>
                  <a:schemeClr val="tx1"/>
                </a:solidFill>
                <a:latin typeface="EYInterstate" panose="02000503020000020004" pitchFamily="2" charset="0"/>
                <a:cs typeface="Arial" panose="020B0604020202020204" pitchFamily="34" charset="0"/>
              </a:defRPr>
            </a:lvl9pPr>
          </a:lstStyle>
          <a:p>
            <a:pPr marL="171450" indent="-171450" defTabSz="902794" fontAlgn="base">
              <a:spcBef>
                <a:spcPts val="544"/>
              </a:spcBef>
              <a:spcAft>
                <a:spcPts val="181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Char char="►"/>
              <a:tabLst>
                <a:tab pos="2928680" algn="l"/>
                <a:tab pos="4231756" algn="r"/>
              </a:tabLst>
            </a:pPr>
            <a:r>
              <a:rPr lang="ru-RU" altLang="en-US" sz="900" dirty="0">
                <a:solidFill>
                  <a:schemeClr val="bg2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Вильгельмина </a:t>
            </a:r>
            <a:r>
              <a:rPr lang="ru-RU" altLang="en-US" sz="900" dirty="0" err="1">
                <a:solidFill>
                  <a:schemeClr val="bg2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Шавшина</a:t>
            </a:r>
            <a:r>
              <a:rPr lang="ru-RU" altLang="en-US" sz="900" dirty="0">
                <a:solidFill>
                  <a:schemeClr val="bg2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 – признанный эксперт в области государственного регулирования, имеет большой опыт работы в сфере внешнеэкономической деятельности, таможенного администрирования и реализации таможенной политики в отношении инвестиционной деятельности.</a:t>
            </a:r>
          </a:p>
          <a:p>
            <a:pPr marL="171450" indent="-171450" defTabSz="902794" fontAlgn="base">
              <a:spcBef>
                <a:spcPts val="544"/>
              </a:spcBef>
              <a:spcAft>
                <a:spcPts val="181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Char char="►"/>
              <a:tabLst>
                <a:tab pos="2928680" algn="l"/>
                <a:tab pos="4231756" algn="r"/>
              </a:tabLst>
            </a:pPr>
            <a:r>
              <a:rPr lang="ru-RU" altLang="en-US" sz="900" dirty="0">
                <a:solidFill>
                  <a:schemeClr val="bg2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Вильгельмина оказывает клиентам поддержку в структурировании международных инвестиционных проектов и внешнеторговых сделок, включая лицензионные отношения, концессию и франшизу, консультирует по реализации мер, направленных на снижение таможенных пошлин, а также по тарифному / нетарифному / техническому регулированию, вопросам валютного контроля и требованиям таможенного администрирования, включая вопросы категорирования, упрощений в части  таможенного декларирования и изъятий из таможенного контроля.</a:t>
            </a:r>
          </a:p>
          <a:p>
            <a:pPr marL="171450" indent="-171450" defTabSz="902794" fontAlgn="base">
              <a:spcBef>
                <a:spcPts val="544"/>
              </a:spcBef>
              <a:spcAft>
                <a:spcPts val="181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Char char="►"/>
              <a:tabLst>
                <a:tab pos="2928680" algn="l"/>
                <a:tab pos="4231756" algn="r"/>
              </a:tabLst>
            </a:pPr>
            <a:r>
              <a:rPr lang="ru-RU" altLang="en-US" sz="900" dirty="0">
                <a:solidFill>
                  <a:schemeClr val="bg2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Вильгельмина также помогает клиентам в разрешении таможенных споров и обеспечивает систематическую юридическую защиту интересов правообладателей.</a:t>
            </a:r>
          </a:p>
        </p:txBody>
      </p:sp>
      <p:sp>
        <p:nvSpPr>
          <p:cNvPr id="14" name="Rectangle 5">
            <a:extLst>
              <a:ext uri="{FF2B5EF4-FFF2-40B4-BE49-F238E27FC236}">
                <a16:creationId xmlns:a16="http://schemas.microsoft.com/office/drawing/2014/main" id="{0EA20A69-1EB0-458B-965A-B40DCDB2F6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28276" y="5344938"/>
            <a:ext cx="5736672" cy="5052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177800" indent="-177800" defTabSz="995363">
              <a:spcAft>
                <a:spcPct val="40000"/>
              </a:spcAft>
              <a:buClr>
                <a:srgbClr val="FFD200"/>
              </a:buClr>
              <a:buSzPct val="75000"/>
              <a:buFont typeface="Arial Unicode MS" charset="-128"/>
              <a:tabLst>
                <a:tab pos="3228975" algn="l"/>
                <a:tab pos="4665663" algn="r"/>
              </a:tabLst>
              <a:defRPr sz="1100">
                <a:solidFill>
                  <a:schemeClr val="tx1"/>
                </a:solidFill>
                <a:latin typeface="EYInterstate" panose="02000503020000020004" pitchFamily="2" charset="0"/>
                <a:cs typeface="Arial" panose="020B0604020202020204" pitchFamily="34" charset="0"/>
              </a:defRPr>
            </a:lvl1pPr>
            <a:lvl2pPr marL="742950" indent="-285750" defTabSz="995363">
              <a:spcBef>
                <a:spcPct val="20000"/>
              </a:spcBef>
              <a:spcAft>
                <a:spcPct val="40000"/>
              </a:spcAft>
              <a:buClr>
                <a:srgbClr val="FFD200"/>
              </a:buClr>
              <a:buSzPct val="75000"/>
              <a:buFont typeface="Arial Unicode MS" charset="-128"/>
              <a:tabLst>
                <a:tab pos="3228975" algn="l"/>
                <a:tab pos="4665663" algn="r"/>
              </a:tabLst>
              <a:defRPr sz="1500" b="1">
                <a:solidFill>
                  <a:schemeClr val="tx2"/>
                </a:solidFill>
                <a:latin typeface="EYInterstate" panose="02000503020000020004" pitchFamily="2" charset="0"/>
                <a:cs typeface="Arial" panose="020B0604020202020204" pitchFamily="34" charset="0"/>
              </a:defRPr>
            </a:lvl2pPr>
            <a:lvl3pPr marL="1143000" indent="-228600" defTabSz="995363">
              <a:spcBef>
                <a:spcPct val="20000"/>
              </a:spcBef>
              <a:spcAft>
                <a:spcPct val="40000"/>
              </a:spcAft>
              <a:buClr>
                <a:schemeClr val="tx2"/>
              </a:buClr>
              <a:buSzPct val="75000"/>
              <a:buFont typeface="Arial Unicode MS" charset="-128"/>
              <a:tabLst>
                <a:tab pos="3228975" algn="l"/>
                <a:tab pos="4665663" algn="r"/>
              </a:tabLst>
              <a:defRPr sz="1300" b="1">
                <a:solidFill>
                  <a:schemeClr val="accent1"/>
                </a:solidFill>
                <a:latin typeface="EYInterstate" panose="02000503020000020004" pitchFamily="2" charset="0"/>
                <a:cs typeface="Arial" panose="020B0604020202020204" pitchFamily="34" charset="0"/>
              </a:defRPr>
            </a:lvl3pPr>
            <a:lvl4pPr marL="1600200" indent="-228600" defTabSz="995363">
              <a:spcAft>
                <a:spcPct val="40000"/>
              </a:spcAft>
              <a:buClr>
                <a:schemeClr val="tx1"/>
              </a:buClr>
              <a:buSzPct val="75000"/>
              <a:buFont typeface="EYInterstate" panose="02000503020000020004" pitchFamily="2" charset="0"/>
              <a:buChar char="►"/>
              <a:tabLst>
                <a:tab pos="3228975" algn="l"/>
                <a:tab pos="4665663" algn="r"/>
              </a:tabLst>
              <a:defRPr sz="1100">
                <a:solidFill>
                  <a:schemeClr val="tx1"/>
                </a:solidFill>
                <a:latin typeface="EYInterstate" panose="02000503020000020004" pitchFamily="2" charset="0"/>
                <a:cs typeface="Arial" panose="020B0604020202020204" pitchFamily="34" charset="0"/>
              </a:defRPr>
            </a:lvl4pPr>
            <a:lvl5pPr marL="2057400" indent="-228600" defTabSz="995363">
              <a:spcAft>
                <a:spcPct val="40000"/>
              </a:spcAft>
              <a:buClr>
                <a:schemeClr val="tx1"/>
              </a:buClr>
              <a:buSzPct val="75000"/>
              <a:buFont typeface="EYInterstate" panose="02000503020000020004" pitchFamily="2" charset="0"/>
              <a:buChar char="►"/>
              <a:tabLst>
                <a:tab pos="3228975" algn="l"/>
                <a:tab pos="4665663" algn="r"/>
              </a:tabLst>
              <a:defRPr sz="1100">
                <a:solidFill>
                  <a:schemeClr val="tx1"/>
                </a:solidFill>
                <a:latin typeface="EYInterstate" panose="02000503020000020004" pitchFamily="2" charset="0"/>
                <a:cs typeface="Arial" panose="020B0604020202020204" pitchFamily="34" charset="0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75000"/>
              <a:buFont typeface="EYInterstate" panose="02000503020000020004" pitchFamily="2" charset="0"/>
              <a:buChar char="►"/>
              <a:tabLst>
                <a:tab pos="3228975" algn="l"/>
                <a:tab pos="4665663" algn="r"/>
              </a:tabLst>
              <a:defRPr sz="1100">
                <a:solidFill>
                  <a:schemeClr val="tx1"/>
                </a:solidFill>
                <a:latin typeface="EYInterstate" panose="02000503020000020004" pitchFamily="2" charset="0"/>
                <a:cs typeface="Arial" panose="020B0604020202020204" pitchFamily="34" charset="0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75000"/>
              <a:buFont typeface="EYInterstate" panose="02000503020000020004" pitchFamily="2" charset="0"/>
              <a:buChar char="►"/>
              <a:tabLst>
                <a:tab pos="3228975" algn="l"/>
                <a:tab pos="4665663" algn="r"/>
              </a:tabLst>
              <a:defRPr sz="1100">
                <a:solidFill>
                  <a:schemeClr val="tx1"/>
                </a:solidFill>
                <a:latin typeface="EYInterstate" panose="02000503020000020004" pitchFamily="2" charset="0"/>
                <a:cs typeface="Arial" panose="020B0604020202020204" pitchFamily="34" charset="0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75000"/>
              <a:buFont typeface="EYInterstate" panose="02000503020000020004" pitchFamily="2" charset="0"/>
              <a:buChar char="►"/>
              <a:tabLst>
                <a:tab pos="3228975" algn="l"/>
                <a:tab pos="4665663" algn="r"/>
              </a:tabLst>
              <a:defRPr sz="1100">
                <a:solidFill>
                  <a:schemeClr val="tx1"/>
                </a:solidFill>
                <a:latin typeface="EYInterstate" panose="02000503020000020004" pitchFamily="2" charset="0"/>
                <a:cs typeface="Arial" panose="020B0604020202020204" pitchFamily="34" charset="0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75000"/>
              <a:buFont typeface="EYInterstate" panose="02000503020000020004" pitchFamily="2" charset="0"/>
              <a:buChar char="►"/>
              <a:tabLst>
                <a:tab pos="3228975" algn="l"/>
                <a:tab pos="4665663" algn="r"/>
              </a:tabLst>
              <a:defRPr sz="1100">
                <a:solidFill>
                  <a:schemeClr val="tx1"/>
                </a:solidFill>
                <a:latin typeface="EYInterstate" panose="02000503020000020004" pitchFamily="2" charset="0"/>
                <a:cs typeface="Arial" panose="020B0604020202020204" pitchFamily="34" charset="0"/>
              </a:defRPr>
            </a:lvl9pPr>
          </a:lstStyle>
          <a:p>
            <a:pPr marL="171450" indent="-171450" defTabSz="902794" fontAlgn="base">
              <a:spcBef>
                <a:spcPts val="544"/>
              </a:spcBef>
              <a:spcAft>
                <a:spcPts val="181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Char char="►"/>
              <a:tabLst>
                <a:tab pos="2928680" algn="l"/>
                <a:tab pos="4231756" algn="r"/>
              </a:tabLst>
            </a:pPr>
            <a:r>
              <a:rPr lang="ru-RU" altLang="ru-RU" sz="900" dirty="0">
                <a:solidFill>
                  <a:schemeClr val="bg2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Один из лучших юристов России в категориях «Государственное регулирование» и «Таможня и акцизы» в 2011‒2021 гг., рейтинг </a:t>
            </a:r>
            <a:r>
              <a:rPr lang="ru-RU" altLang="ru-RU" sz="900" dirty="0" err="1">
                <a:solidFill>
                  <a:schemeClr val="bg2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Best</a:t>
            </a:r>
            <a:r>
              <a:rPr lang="ru-RU" altLang="ru-RU" sz="900" dirty="0">
                <a:solidFill>
                  <a:schemeClr val="bg2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altLang="ru-RU" sz="900" dirty="0" err="1">
                <a:solidFill>
                  <a:schemeClr val="bg2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Lawyers</a:t>
            </a:r>
            <a:r>
              <a:rPr lang="ru-RU" altLang="ru-RU" sz="900" dirty="0">
                <a:solidFill>
                  <a:schemeClr val="bg2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. </a:t>
            </a:r>
          </a:p>
          <a:p>
            <a:pPr marL="171450" indent="-171450" defTabSz="902794" fontAlgn="base">
              <a:spcBef>
                <a:spcPts val="544"/>
              </a:spcBef>
              <a:spcAft>
                <a:spcPts val="181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Char char="►"/>
              <a:tabLst>
                <a:tab pos="2928680" algn="l"/>
                <a:tab pos="4231756" algn="r"/>
              </a:tabLst>
            </a:pPr>
            <a:r>
              <a:rPr lang="ru-RU" altLang="ru-RU" sz="900" dirty="0">
                <a:solidFill>
                  <a:schemeClr val="bg2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«Юрист года» в категории «Таможня и акцизы» в 2018 г., 2020-2021 гг. рейтинг </a:t>
            </a:r>
            <a:r>
              <a:rPr lang="ru-RU" altLang="ru-RU" sz="900" dirty="0" err="1">
                <a:solidFill>
                  <a:schemeClr val="bg2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Best</a:t>
            </a:r>
            <a:r>
              <a:rPr lang="ru-RU" altLang="ru-RU" sz="900" dirty="0">
                <a:solidFill>
                  <a:schemeClr val="bg2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altLang="ru-RU" sz="900" dirty="0" err="1">
                <a:solidFill>
                  <a:schemeClr val="bg2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Lawyers</a:t>
            </a:r>
            <a:r>
              <a:rPr lang="ru-RU" altLang="ru-RU" sz="900" dirty="0">
                <a:solidFill>
                  <a:schemeClr val="bg2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  <a:endParaRPr lang="en-GB" altLang="en-US" sz="900" dirty="0">
              <a:solidFill>
                <a:schemeClr val="bg2"/>
              </a:solidFill>
              <a:latin typeface="+mn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5" name="Picture 14" descr="A person wearing glasses&#10;&#10;Description automatically generated with low confidence">
            <a:extLst>
              <a:ext uri="{FF2B5EF4-FFF2-40B4-BE49-F238E27FC236}">
                <a16:creationId xmlns:a16="http://schemas.microsoft.com/office/drawing/2014/main" id="{E228D3DF-6800-40BD-B523-1E9A115DDB45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330" t="20854" r="35529" b="47436"/>
          <a:stretch/>
        </p:blipFill>
        <p:spPr>
          <a:xfrm>
            <a:off x="669670" y="1122414"/>
            <a:ext cx="955572" cy="955572"/>
          </a:xfrm>
          <a:prstGeom prst="flowChartConnector">
            <a:avLst/>
          </a:prstGeom>
        </p:spPr>
      </p:pic>
      <p:sp>
        <p:nvSpPr>
          <p:cNvPr id="16" name="Rectangle 12">
            <a:extLst>
              <a:ext uri="{FF2B5EF4-FFF2-40B4-BE49-F238E27FC236}">
                <a16:creationId xmlns:a16="http://schemas.microsoft.com/office/drawing/2014/main" id="{F6FF855E-5BC0-46EA-B4FA-2EB89C8FAD85}"/>
              </a:ext>
            </a:extLst>
          </p:cNvPr>
          <p:cNvSpPr>
            <a:spLocks noChangeArrowheads="1"/>
          </p:cNvSpPr>
          <p:nvPr/>
        </p:nvSpPr>
        <p:spPr bwMode="gray">
          <a:xfrm>
            <a:off x="5638800" y="5012005"/>
            <a:ext cx="2758750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829361" fontAlgn="base">
              <a:spcBef>
                <a:spcPct val="20000"/>
              </a:spcBef>
              <a:spcAft>
                <a:spcPct val="40000"/>
              </a:spcAft>
              <a:buClr>
                <a:srgbClr val="000000"/>
              </a:buClr>
              <a:buSzPct val="75000"/>
              <a:defRPr/>
            </a:pPr>
            <a:r>
              <a:rPr lang="ru-RU" sz="1100" b="1" i="1" dirty="0">
                <a:solidFill>
                  <a:schemeClr val="bg2"/>
                </a:solidFill>
                <a:ea typeface="Tahoma" panose="020B0604030504040204" pitchFamily="34" charset="0"/>
                <a:cs typeface="Tahoma" panose="020B0604030504040204" pitchFamily="34" charset="0"/>
                <a:sym typeface="Arial Unicode MS" pitchFamily="34" charset="-128"/>
              </a:rPr>
              <a:t>Награды и почетные звания :</a:t>
            </a:r>
            <a:endParaRPr lang="en-US" sz="1100" b="1" i="1" dirty="0">
              <a:solidFill>
                <a:schemeClr val="bg2"/>
              </a:solidFill>
              <a:ea typeface="Tahoma" panose="020B0604030504040204" pitchFamily="34" charset="0"/>
              <a:cs typeface="Tahoma" panose="020B0604030504040204" pitchFamily="34" charset="0"/>
              <a:sym typeface="Arial Unicode MS" pitchFamily="34" charset="-128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5971328D-5D62-4C36-B95C-E4506598225A}"/>
              </a:ext>
            </a:extLst>
          </p:cNvPr>
          <p:cNvCxnSpPr>
            <a:cxnSpLocks/>
          </p:cNvCxnSpPr>
          <p:nvPr/>
        </p:nvCxnSpPr>
        <p:spPr>
          <a:xfrm>
            <a:off x="1981200" y="2286000"/>
            <a:ext cx="10210800" cy="0"/>
          </a:xfrm>
          <a:prstGeom prst="line">
            <a:avLst/>
          </a:prstGeom>
          <a:ln w="9525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001000" y="107279"/>
            <a:ext cx="1733280" cy="2086620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814570" y="66901"/>
            <a:ext cx="2019672" cy="2126998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>
          <a:xfrm>
            <a:off x="8382000" y="1905000"/>
            <a:ext cx="228600" cy="187643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8299772" y="1864852"/>
            <a:ext cx="393056" cy="30777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en-US" sz="1400" b="1" dirty="0" smtClean="0">
                <a:solidFill>
                  <a:srgbClr val="002060"/>
                </a:solidFill>
                <a:latin typeface="+mj-lt"/>
              </a:rPr>
              <a:t>B1</a:t>
            </a:r>
            <a:endParaRPr lang="ru-RU" sz="1100" b="1" dirty="0">
              <a:solidFill>
                <a:srgbClr val="00206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541783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4992F05-1919-456D-95EB-D7497941F4E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23447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8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6" name="Picture 75" descr="A picture containing person, clothing&#10;&#10;Description automatically generated">
            <a:extLst>
              <a:ext uri="{FF2B5EF4-FFF2-40B4-BE49-F238E27FC236}">
                <a16:creationId xmlns:a16="http://schemas.microsoft.com/office/drawing/2014/main" id="{DDF2E2CA-71A6-4B9A-BC20-445A4E946479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alphaModFix amt="27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473" r="19289" b="6269"/>
          <a:stretch/>
        </p:blipFill>
        <p:spPr>
          <a:xfrm>
            <a:off x="10713996" y="-1836"/>
            <a:ext cx="1478004" cy="685983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4382E16-B1D4-4F55-8F5F-76A42A8BA0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Экспорт </a:t>
            </a:r>
            <a:r>
              <a:rPr lang="ru-RU" dirty="0" smtClean="0"/>
              <a:t>товаров</a:t>
            </a:r>
            <a:r>
              <a:rPr lang="en-US" dirty="0" smtClean="0"/>
              <a:t> </a:t>
            </a:r>
            <a:r>
              <a:rPr lang="ru-RU" dirty="0" smtClean="0"/>
              <a:t>в третьи страны и ЕАЭС: особенности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56EE12-D078-4D3F-9AF0-C586A643238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1BC30E3-FFE5-4B91-AA19-87A149EBB9EE}" type="slidenum">
              <a:rPr smtClean="0"/>
              <a:pPr/>
              <a:t>2</a:t>
            </a:fld>
            <a:endParaRPr dirty="0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16A46070-76AF-47D8-B986-39D31F107440}"/>
              </a:ext>
            </a:extLst>
          </p:cNvPr>
          <p:cNvSpPr/>
          <p:nvPr/>
        </p:nvSpPr>
        <p:spPr>
          <a:xfrm>
            <a:off x="621179" y="1143000"/>
            <a:ext cx="4648200" cy="361305"/>
          </a:xfrm>
          <a:prstGeom prst="roundRect">
            <a:avLst/>
          </a:prstGeom>
          <a:solidFill>
            <a:schemeClr val="bg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ru-RU" sz="1400" b="1" dirty="0">
                <a:solidFill>
                  <a:schemeClr val="bg2"/>
                </a:solidFill>
                <a:latin typeface="+mj-lt"/>
              </a:rPr>
              <a:t>Экспорт в страны ЕАЭС</a:t>
            </a:r>
            <a:endParaRPr lang="en-US" sz="1400" b="1" dirty="0">
              <a:solidFill>
                <a:schemeClr val="bg2"/>
              </a:solidFill>
              <a:latin typeface="+mj-lt"/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8BB525C7-1331-461A-8171-8B2936C00790}"/>
              </a:ext>
            </a:extLst>
          </p:cNvPr>
          <p:cNvSpPr/>
          <p:nvPr/>
        </p:nvSpPr>
        <p:spPr>
          <a:xfrm>
            <a:off x="5801986" y="1143000"/>
            <a:ext cx="4537572" cy="404185"/>
          </a:xfrm>
          <a:prstGeom prst="roundRect">
            <a:avLst/>
          </a:prstGeom>
          <a:solidFill>
            <a:schemeClr val="bg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ru-RU" sz="1400" b="1" dirty="0">
                <a:solidFill>
                  <a:schemeClr val="bg2"/>
                </a:solidFill>
                <a:latin typeface="+mj-lt"/>
              </a:rPr>
              <a:t>Экспорт за пределы ЕАЭС</a:t>
            </a:r>
            <a:endParaRPr lang="en-US" sz="1400" b="1" dirty="0">
              <a:solidFill>
                <a:schemeClr val="bg2"/>
              </a:solidFill>
              <a:latin typeface="+mj-lt"/>
            </a:endParaRPr>
          </a:p>
        </p:txBody>
      </p:sp>
      <p:sp>
        <p:nvSpPr>
          <p:cNvPr id="14" name="Arrow: Down 13">
            <a:extLst>
              <a:ext uri="{FF2B5EF4-FFF2-40B4-BE49-F238E27FC236}">
                <a16:creationId xmlns:a16="http://schemas.microsoft.com/office/drawing/2014/main" id="{663E4E1C-650E-4E9C-83FE-D4F12C9D333E}"/>
              </a:ext>
            </a:extLst>
          </p:cNvPr>
          <p:cNvSpPr/>
          <p:nvPr/>
        </p:nvSpPr>
        <p:spPr>
          <a:xfrm>
            <a:off x="2752711" y="1447800"/>
            <a:ext cx="381000" cy="226293"/>
          </a:xfrm>
          <a:prstGeom prst="downArrow">
            <a:avLst/>
          </a:prstGeom>
          <a:solidFill>
            <a:schemeClr val="bg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CF3D212-C653-49C1-94AA-C7E01A96822E}"/>
              </a:ext>
            </a:extLst>
          </p:cNvPr>
          <p:cNvSpPr txBox="1"/>
          <p:nvPr/>
        </p:nvSpPr>
        <p:spPr>
          <a:xfrm>
            <a:off x="1219200" y="2168301"/>
            <a:ext cx="4114800" cy="193899"/>
          </a:xfrm>
          <a:prstGeom prst="rect">
            <a:avLst/>
          </a:prstGeom>
          <a:noFill/>
        </p:spPr>
        <p:txBody>
          <a:bodyPr wrap="square" lIns="0" tIns="36576" rIns="0" bIns="0" rtlCol="0" anchor="ctr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ru-RU" sz="1200" i="1" dirty="0">
                <a:solidFill>
                  <a:schemeClr val="bg1"/>
                </a:solidFill>
                <a:latin typeface="+mj-lt"/>
              </a:rPr>
              <a:t>Без уплаты таможенных платежей</a:t>
            </a:r>
            <a:endParaRPr lang="en-US" sz="1200" i="1" dirty="0" err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0F93476-8BF2-4196-B189-994420118BA2}"/>
              </a:ext>
            </a:extLst>
          </p:cNvPr>
          <p:cNvSpPr txBox="1"/>
          <p:nvPr/>
        </p:nvSpPr>
        <p:spPr>
          <a:xfrm>
            <a:off x="6400800" y="2089818"/>
            <a:ext cx="3872276" cy="350865"/>
          </a:xfrm>
          <a:prstGeom prst="rect">
            <a:avLst/>
          </a:prstGeom>
          <a:noFill/>
        </p:spPr>
        <p:txBody>
          <a:bodyPr wrap="square" lIns="0" tIns="36576" rIns="0" bIns="0" rtlCol="0" anchor="ctr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ru-RU" sz="1200" i="1" dirty="0">
                <a:solidFill>
                  <a:schemeClr val="bg1"/>
                </a:solidFill>
                <a:latin typeface="+mj-lt"/>
              </a:rPr>
              <a:t>Без уплаты таможенных </a:t>
            </a:r>
            <a:r>
              <a:rPr lang="ru-RU" sz="1200" i="1" dirty="0" smtClean="0">
                <a:solidFill>
                  <a:schemeClr val="bg1"/>
                </a:solidFill>
                <a:latin typeface="+mj-lt"/>
              </a:rPr>
              <a:t>платежей в отношении большинства товаров</a:t>
            </a:r>
            <a:endParaRPr lang="en-US" sz="1200" i="1" dirty="0" err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E3241FB-2CAB-4CFC-BA62-AC622954E4B3}"/>
              </a:ext>
            </a:extLst>
          </p:cNvPr>
          <p:cNvSpPr txBox="1"/>
          <p:nvPr/>
        </p:nvSpPr>
        <p:spPr>
          <a:xfrm>
            <a:off x="1219200" y="2544735"/>
            <a:ext cx="4028380" cy="350865"/>
          </a:xfrm>
          <a:prstGeom prst="rect">
            <a:avLst/>
          </a:prstGeom>
          <a:noFill/>
        </p:spPr>
        <p:txBody>
          <a:bodyPr wrap="square" lIns="0" tIns="36576" rIns="0" bIns="0" rtlCol="0" anchor="ctr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ru-RU" sz="1200" i="1" dirty="0">
                <a:solidFill>
                  <a:schemeClr val="bg1"/>
                </a:solidFill>
                <a:latin typeface="+mj-lt"/>
              </a:rPr>
              <a:t>Оформление статистической формы учета перемещения товаров </a:t>
            </a:r>
            <a:endParaRPr lang="en-US" sz="1200" i="1" dirty="0" err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FBC7712-DE62-447D-9AFD-12B81849C743}"/>
              </a:ext>
            </a:extLst>
          </p:cNvPr>
          <p:cNvSpPr txBox="1"/>
          <p:nvPr/>
        </p:nvSpPr>
        <p:spPr>
          <a:xfrm>
            <a:off x="6400800" y="1707083"/>
            <a:ext cx="4114800" cy="193899"/>
          </a:xfrm>
          <a:prstGeom prst="rect">
            <a:avLst/>
          </a:prstGeom>
          <a:noFill/>
        </p:spPr>
        <p:txBody>
          <a:bodyPr wrap="square" lIns="0" tIns="36576" rIns="0" bIns="0" rtlCol="0" anchor="ctr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ru-RU" sz="1200" i="1" dirty="0">
                <a:solidFill>
                  <a:schemeClr val="bg1"/>
                </a:solidFill>
                <a:latin typeface="+mj-lt"/>
              </a:rPr>
              <a:t>Оформление декларации на товары (ДТ)</a:t>
            </a:r>
            <a:endParaRPr lang="en-US" sz="1200" i="1" dirty="0" err="1">
              <a:solidFill>
                <a:schemeClr val="bg1"/>
              </a:solidFill>
              <a:latin typeface="+mj-lt"/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D8FE3352-6936-4A1E-9E1A-D445CA6DF810}"/>
              </a:ext>
            </a:extLst>
          </p:cNvPr>
          <p:cNvCxnSpPr>
            <a:cxnSpLocks/>
          </p:cNvCxnSpPr>
          <p:nvPr/>
        </p:nvCxnSpPr>
        <p:spPr>
          <a:xfrm>
            <a:off x="623888" y="3124200"/>
            <a:ext cx="9715670" cy="0"/>
          </a:xfrm>
          <a:prstGeom prst="line">
            <a:avLst/>
          </a:prstGeom>
          <a:ln w="9525">
            <a:solidFill>
              <a:srgbClr val="4AA851"/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4B376468-ECC9-45E4-AC6C-962CA1F91441}"/>
              </a:ext>
            </a:extLst>
          </p:cNvPr>
          <p:cNvSpPr/>
          <p:nvPr/>
        </p:nvSpPr>
        <p:spPr>
          <a:xfrm>
            <a:off x="623152" y="3352800"/>
            <a:ext cx="2234881" cy="381000"/>
          </a:xfrm>
          <a:prstGeom prst="roundRect">
            <a:avLst/>
          </a:prstGeom>
          <a:solidFill>
            <a:srgbClr val="4AA851"/>
          </a:solidFill>
          <a:ln w="9525">
            <a:solidFill>
              <a:srgbClr val="4AA85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ru-RU" sz="1200" b="1" dirty="0">
                <a:solidFill>
                  <a:schemeClr val="tx1"/>
                </a:solidFill>
                <a:latin typeface="+mj-lt"/>
              </a:rPr>
              <a:t>ЕАЭС</a:t>
            </a:r>
            <a:endParaRPr lang="en-US" sz="1200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A5CAF32A-40AB-48E0-A297-724FBFE6D07C}"/>
              </a:ext>
            </a:extLst>
          </p:cNvPr>
          <p:cNvSpPr/>
          <p:nvPr/>
        </p:nvSpPr>
        <p:spPr>
          <a:xfrm>
            <a:off x="621179" y="3860716"/>
            <a:ext cx="2236855" cy="470954"/>
          </a:xfrm>
          <a:prstGeom prst="roundRect">
            <a:avLst/>
          </a:prstGeom>
          <a:noFill/>
          <a:ln w="12700">
            <a:solidFill>
              <a:srgbClr val="4AA85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Договор о ЕАЭС</a:t>
            </a: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DA8A3FD8-917E-4514-A73D-8366C96BF7B5}"/>
              </a:ext>
            </a:extLst>
          </p:cNvPr>
          <p:cNvSpPr/>
          <p:nvPr/>
        </p:nvSpPr>
        <p:spPr>
          <a:xfrm>
            <a:off x="623154" y="4419672"/>
            <a:ext cx="2234880" cy="674621"/>
          </a:xfrm>
          <a:prstGeom prst="roundRect">
            <a:avLst/>
          </a:prstGeom>
          <a:noFill/>
          <a:ln w="12700">
            <a:solidFill>
              <a:srgbClr val="4AA85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bg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Единая </a:t>
            </a:r>
            <a:r>
              <a:rPr lang="ru-RU" sz="1200" dirty="0">
                <a:solidFill>
                  <a:schemeClr val="bg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таможенная граница и таможенная территория</a:t>
            </a: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250238E6-8182-492D-9F82-9BCB0E461593}"/>
              </a:ext>
            </a:extLst>
          </p:cNvPr>
          <p:cNvSpPr/>
          <p:nvPr/>
        </p:nvSpPr>
        <p:spPr>
          <a:xfrm>
            <a:off x="623888" y="5182296"/>
            <a:ext cx="2234145" cy="996556"/>
          </a:xfrm>
          <a:prstGeom prst="roundRect">
            <a:avLst/>
          </a:prstGeom>
          <a:noFill/>
          <a:ln w="12700">
            <a:solidFill>
              <a:srgbClr val="4AA85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u="sng" dirty="0">
                <a:solidFill>
                  <a:schemeClr val="bg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Государства–члены: </a:t>
            </a:r>
          </a:p>
          <a:p>
            <a:pPr algn="ctr"/>
            <a:r>
              <a:rPr lang="ru-RU" sz="1200" dirty="0">
                <a:solidFill>
                  <a:schemeClr val="bg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Армения, Беларусь, </a:t>
            </a:r>
          </a:p>
          <a:p>
            <a:pPr algn="ctr"/>
            <a:r>
              <a:rPr lang="ru-RU" sz="1200" dirty="0">
                <a:solidFill>
                  <a:schemeClr val="bg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Казахстан, Кыргызстан, Россия</a:t>
            </a: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FA3061E8-13B2-48EA-96CA-4ABE41C938FB}"/>
              </a:ext>
            </a:extLst>
          </p:cNvPr>
          <p:cNvSpPr/>
          <p:nvPr/>
        </p:nvSpPr>
        <p:spPr>
          <a:xfrm>
            <a:off x="3063573" y="3344405"/>
            <a:ext cx="7275985" cy="389395"/>
          </a:xfrm>
          <a:prstGeom prst="roundRect">
            <a:avLst/>
          </a:prstGeom>
          <a:solidFill>
            <a:srgbClr val="4AA851"/>
          </a:solidFill>
          <a:ln w="9525">
            <a:solidFill>
              <a:srgbClr val="4AA85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ru-RU" sz="1200" b="1" dirty="0">
                <a:solidFill>
                  <a:schemeClr val="tx1"/>
                </a:solidFill>
                <a:latin typeface="+mj-lt"/>
              </a:rPr>
              <a:t>Зоны свободной торговли</a:t>
            </a:r>
            <a:endParaRPr lang="en-US" sz="1200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6CA4CEDC-6A27-4C4D-9950-3145CE526CC8}"/>
              </a:ext>
            </a:extLst>
          </p:cNvPr>
          <p:cNvSpPr/>
          <p:nvPr/>
        </p:nvSpPr>
        <p:spPr>
          <a:xfrm>
            <a:off x="8077200" y="3810000"/>
            <a:ext cx="2298090" cy="195004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Clr>
                <a:schemeClr val="tx2"/>
              </a:buClr>
              <a:buSzPct val="50000"/>
              <a:buFont typeface="Arial" panose="020B0604020202020204" pitchFamily="34" charset="0"/>
              <a:buChar char="►"/>
            </a:pPr>
            <a:r>
              <a:rPr lang="ru-RU" sz="1200" dirty="0">
                <a:solidFill>
                  <a:schemeClr val="bg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Свободное перемещение товаров </a:t>
            </a:r>
          </a:p>
          <a:p>
            <a:pPr marL="285750" indent="-285750">
              <a:buClr>
                <a:schemeClr val="tx2"/>
              </a:buClr>
              <a:buSzPct val="50000"/>
              <a:buFont typeface="Arial" panose="020B0604020202020204" pitchFamily="34" charset="0"/>
              <a:buChar char="►"/>
            </a:pPr>
            <a:r>
              <a:rPr lang="ru-RU" sz="1200" dirty="0">
                <a:solidFill>
                  <a:schemeClr val="bg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Отмена </a:t>
            </a:r>
            <a:r>
              <a:rPr lang="en-US" sz="1200" dirty="0">
                <a:solidFill>
                  <a:schemeClr val="bg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/ </a:t>
            </a:r>
            <a:r>
              <a:rPr lang="ru-RU" sz="1200" dirty="0">
                <a:solidFill>
                  <a:schemeClr val="bg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снижение ввозных </a:t>
            </a:r>
            <a:r>
              <a:rPr lang="en-US" sz="1200" dirty="0">
                <a:solidFill>
                  <a:schemeClr val="bg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/ </a:t>
            </a:r>
            <a:r>
              <a:rPr lang="ru-RU" sz="1200" dirty="0">
                <a:solidFill>
                  <a:schemeClr val="bg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вывозных пошлин</a:t>
            </a:r>
          </a:p>
          <a:p>
            <a:pPr marL="285750" indent="-285750">
              <a:buClr>
                <a:schemeClr val="tx2"/>
              </a:buClr>
              <a:buSzPct val="50000"/>
              <a:buFont typeface="Arial" panose="020B0604020202020204" pitchFamily="34" charset="0"/>
              <a:buChar char="►"/>
            </a:pPr>
            <a:r>
              <a:rPr lang="ru-RU" sz="1200" dirty="0">
                <a:solidFill>
                  <a:schemeClr val="bg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Отмена количественных ограничений</a:t>
            </a: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42D37215-56A7-4F35-B9BA-7E2C859FD4BE}"/>
              </a:ext>
            </a:extLst>
          </p:cNvPr>
          <p:cNvSpPr/>
          <p:nvPr/>
        </p:nvSpPr>
        <p:spPr>
          <a:xfrm>
            <a:off x="3097821" y="3860716"/>
            <a:ext cx="2845715" cy="1899930"/>
          </a:xfrm>
          <a:prstGeom prst="roundRect">
            <a:avLst>
              <a:gd name="adj" fmla="val 4508"/>
            </a:avLst>
          </a:prstGeom>
          <a:noFill/>
          <a:ln w="12700">
            <a:solidFill>
              <a:srgbClr val="4AA85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ru-RU" sz="1200" b="1" u="sng" dirty="0">
                <a:solidFill>
                  <a:schemeClr val="bg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Действующие соглашения</a:t>
            </a:r>
          </a:p>
          <a:p>
            <a:pPr marL="285750" indent="-285750">
              <a:buClr>
                <a:schemeClr val="tx2"/>
              </a:buClr>
              <a:buSzPct val="50000"/>
              <a:buFont typeface="Arial" panose="020B0604020202020204" pitchFamily="34" charset="0"/>
              <a:buChar char="►"/>
            </a:pPr>
            <a:r>
              <a:rPr lang="ru-RU" sz="1200" dirty="0">
                <a:solidFill>
                  <a:schemeClr val="bg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СНГ</a:t>
            </a:r>
            <a:r>
              <a:rPr lang="en-US" sz="1200" dirty="0">
                <a:solidFill>
                  <a:schemeClr val="bg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 (</a:t>
            </a:r>
            <a:r>
              <a:rPr lang="ru-RU" sz="1200" i="1" dirty="0">
                <a:solidFill>
                  <a:schemeClr val="bg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страны ЕАЭС, Молдавия, Таджикистан, Узбекистан</a:t>
            </a:r>
            <a:r>
              <a:rPr lang="ru-RU" sz="1200" dirty="0">
                <a:solidFill>
                  <a:schemeClr val="bg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)</a:t>
            </a:r>
          </a:p>
          <a:p>
            <a:pPr marL="285750" indent="-285750">
              <a:buClr>
                <a:schemeClr val="tx2"/>
              </a:buClr>
              <a:buSzPct val="50000"/>
              <a:buFont typeface="Arial" panose="020B0604020202020204" pitchFamily="34" charset="0"/>
              <a:buChar char="►"/>
            </a:pPr>
            <a:r>
              <a:rPr lang="ru-RU" sz="1200" dirty="0">
                <a:solidFill>
                  <a:schemeClr val="bg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Вьетнам</a:t>
            </a:r>
          </a:p>
          <a:p>
            <a:pPr marL="285750" indent="-285750">
              <a:buClr>
                <a:schemeClr val="tx2"/>
              </a:buClr>
              <a:buSzPct val="50000"/>
              <a:buFont typeface="Arial" panose="020B0604020202020204" pitchFamily="34" charset="0"/>
              <a:buChar char="►"/>
            </a:pPr>
            <a:r>
              <a:rPr lang="ru-RU" sz="1200" dirty="0">
                <a:solidFill>
                  <a:schemeClr val="bg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Иран</a:t>
            </a:r>
          </a:p>
          <a:p>
            <a:pPr marL="285750" indent="-285750">
              <a:buClr>
                <a:schemeClr val="tx2"/>
              </a:buClr>
              <a:buSzPct val="50000"/>
              <a:buFont typeface="Arial" panose="020B0604020202020204" pitchFamily="34" charset="0"/>
              <a:buChar char="►"/>
            </a:pPr>
            <a:r>
              <a:rPr lang="ru-RU" sz="1200" dirty="0">
                <a:solidFill>
                  <a:schemeClr val="bg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Сербия</a:t>
            </a: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5F1429AD-D8F0-434B-A052-3575238AE5BE}"/>
              </a:ext>
            </a:extLst>
          </p:cNvPr>
          <p:cNvSpPr/>
          <p:nvPr/>
        </p:nvSpPr>
        <p:spPr>
          <a:xfrm>
            <a:off x="6070974" y="3857566"/>
            <a:ext cx="1701426" cy="1899929"/>
          </a:xfrm>
          <a:prstGeom prst="roundRect">
            <a:avLst>
              <a:gd name="adj" fmla="val 3505"/>
            </a:avLst>
          </a:prstGeom>
          <a:noFill/>
          <a:ln w="12700">
            <a:solidFill>
              <a:srgbClr val="4AA85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ru-RU" sz="1200" b="1" u="sng" dirty="0">
                <a:solidFill>
                  <a:schemeClr val="bg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Ведутся переговоры</a:t>
            </a:r>
          </a:p>
          <a:p>
            <a:pPr marL="285750" indent="-285750">
              <a:buClr>
                <a:schemeClr val="tx2"/>
              </a:buClr>
              <a:buSzPct val="50000"/>
              <a:buFont typeface="Arial" panose="020B0604020202020204" pitchFamily="34" charset="0"/>
              <a:buChar char="►"/>
            </a:pPr>
            <a:r>
              <a:rPr lang="ru-RU" sz="1200" dirty="0">
                <a:solidFill>
                  <a:schemeClr val="bg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ОАЭ</a:t>
            </a:r>
          </a:p>
          <a:p>
            <a:pPr marL="285750" indent="-285750">
              <a:buClr>
                <a:schemeClr val="tx2"/>
              </a:buClr>
              <a:buSzPct val="50000"/>
              <a:buFont typeface="Arial" panose="020B0604020202020204" pitchFamily="34" charset="0"/>
              <a:buChar char="►"/>
            </a:pPr>
            <a:r>
              <a:rPr lang="ru-RU" sz="1200" dirty="0">
                <a:solidFill>
                  <a:schemeClr val="bg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Израиль</a:t>
            </a:r>
          </a:p>
          <a:p>
            <a:pPr marL="285750" indent="-285750">
              <a:buClr>
                <a:schemeClr val="tx2"/>
              </a:buClr>
              <a:buSzPct val="50000"/>
              <a:buFont typeface="Arial" panose="020B0604020202020204" pitchFamily="34" charset="0"/>
              <a:buChar char="►"/>
            </a:pPr>
            <a:r>
              <a:rPr lang="ru-RU" sz="1200" dirty="0">
                <a:solidFill>
                  <a:schemeClr val="bg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Египет</a:t>
            </a:r>
          </a:p>
          <a:p>
            <a:pPr marL="285750" indent="-285750">
              <a:buClr>
                <a:schemeClr val="tx2"/>
              </a:buClr>
              <a:buSzPct val="50000"/>
              <a:buFont typeface="Arial" panose="020B0604020202020204" pitchFamily="34" charset="0"/>
              <a:buChar char="►"/>
            </a:pPr>
            <a:r>
              <a:rPr lang="ru-RU" sz="1200" dirty="0">
                <a:solidFill>
                  <a:schemeClr val="bg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Индия</a:t>
            </a:r>
          </a:p>
          <a:p>
            <a:pPr marL="285750" indent="-285750">
              <a:buClr>
                <a:schemeClr val="tx2"/>
              </a:buClr>
              <a:buSzPct val="50000"/>
              <a:buFont typeface="Arial" panose="020B0604020202020204" pitchFamily="34" charset="0"/>
              <a:buChar char="►"/>
            </a:pPr>
            <a:r>
              <a:rPr lang="ru-RU" sz="1200" dirty="0">
                <a:solidFill>
                  <a:schemeClr val="bg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Турция</a:t>
            </a:r>
          </a:p>
          <a:p>
            <a:pPr marL="285750" indent="-285750">
              <a:buClr>
                <a:schemeClr val="tx2"/>
              </a:buClr>
              <a:buSzPct val="50000"/>
              <a:buFont typeface="Arial" panose="020B0604020202020204" pitchFamily="34" charset="0"/>
              <a:buChar char="►"/>
            </a:pPr>
            <a:r>
              <a:rPr lang="ru-RU" sz="1200" dirty="0" smtClean="0">
                <a:solidFill>
                  <a:schemeClr val="bg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Корея</a:t>
            </a:r>
          </a:p>
          <a:p>
            <a:pPr marL="285750" indent="-285750">
              <a:buClr>
                <a:schemeClr val="tx2"/>
              </a:buClr>
              <a:buSzPct val="50000"/>
              <a:buFont typeface="Arial" panose="020B0604020202020204" pitchFamily="34" charset="0"/>
              <a:buChar char="►"/>
            </a:pPr>
            <a:r>
              <a:rPr lang="ru-RU" sz="1200" dirty="0">
                <a:solidFill>
                  <a:schemeClr val="bg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И</a:t>
            </a:r>
            <a:r>
              <a:rPr lang="ru-RU" sz="1200" dirty="0" smtClean="0">
                <a:solidFill>
                  <a:schemeClr val="bg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ндонезия</a:t>
            </a:r>
            <a:endParaRPr lang="ru-RU" sz="1200" dirty="0">
              <a:solidFill>
                <a:schemeClr val="bg1"/>
              </a:solidFill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E4C55AD0-5911-48A1-942B-DAF366AFCF57}"/>
              </a:ext>
            </a:extLst>
          </p:cNvPr>
          <p:cNvSpPr/>
          <p:nvPr/>
        </p:nvSpPr>
        <p:spPr>
          <a:xfrm>
            <a:off x="3097821" y="5888057"/>
            <a:ext cx="7241737" cy="290796"/>
          </a:xfrm>
          <a:prstGeom prst="roundRect">
            <a:avLst/>
          </a:prstGeom>
          <a:noFill/>
          <a:ln w="6350">
            <a:solidFill>
              <a:schemeClr val="bg1">
                <a:lumMod val="60000"/>
                <a:lumOff val="4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Соглашение между ЕАЭС и Сингапуром подписано, но не вступило в силу. 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F4F55800-381A-4CA7-AF81-583090FF7B8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368" y="2115826"/>
            <a:ext cx="319143" cy="322574"/>
          </a:xfrm>
          <a:prstGeom prst="rect">
            <a:avLst/>
          </a:prstGeom>
        </p:spPr>
      </p:pic>
      <p:grpSp>
        <p:nvGrpSpPr>
          <p:cNvPr id="32" name="Group 114">
            <a:extLst>
              <a:ext uri="{FF2B5EF4-FFF2-40B4-BE49-F238E27FC236}">
                <a16:creationId xmlns:a16="http://schemas.microsoft.com/office/drawing/2014/main" id="{9BCFD7ED-4262-4BEA-9EC9-AE7A4BA0716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43070" y="2582518"/>
            <a:ext cx="298416" cy="296607"/>
            <a:chOff x="1891" y="2995"/>
            <a:chExt cx="660" cy="656"/>
          </a:xfrm>
        </p:grpSpPr>
        <p:sp>
          <p:nvSpPr>
            <p:cNvPr id="33" name="AutoShape 113">
              <a:extLst>
                <a:ext uri="{FF2B5EF4-FFF2-40B4-BE49-F238E27FC236}">
                  <a16:creationId xmlns:a16="http://schemas.microsoft.com/office/drawing/2014/main" id="{CB4A5791-0C02-48A0-82A5-B182EF70D31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891" y="2995"/>
              <a:ext cx="660" cy="6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4" name="Freeform 115">
              <a:extLst>
                <a:ext uri="{FF2B5EF4-FFF2-40B4-BE49-F238E27FC236}">
                  <a16:creationId xmlns:a16="http://schemas.microsoft.com/office/drawing/2014/main" id="{E14D4CF6-C8C8-45F4-A8B1-2DB1AA412F17}"/>
                </a:ext>
              </a:extLst>
            </p:cNvPr>
            <p:cNvSpPr>
              <a:spLocks/>
            </p:cNvSpPr>
            <p:nvPr/>
          </p:nvSpPr>
          <p:spPr bwMode="auto">
            <a:xfrm>
              <a:off x="2027" y="2995"/>
              <a:ext cx="132" cy="600"/>
            </a:xfrm>
            <a:custGeom>
              <a:avLst/>
              <a:gdLst>
                <a:gd name="T0" fmla="*/ 18 w 132"/>
                <a:gd name="T1" fmla="*/ 600 h 600"/>
                <a:gd name="T2" fmla="*/ 0 w 132"/>
                <a:gd name="T3" fmla="*/ 600 h 600"/>
                <a:gd name="T4" fmla="*/ 0 w 132"/>
                <a:gd name="T5" fmla="*/ 62 h 600"/>
                <a:gd name="T6" fmla="*/ 0 w 132"/>
                <a:gd name="T7" fmla="*/ 62 h 600"/>
                <a:gd name="T8" fmla="*/ 0 w 132"/>
                <a:gd name="T9" fmla="*/ 50 h 600"/>
                <a:gd name="T10" fmla="*/ 6 w 132"/>
                <a:gd name="T11" fmla="*/ 38 h 600"/>
                <a:gd name="T12" fmla="*/ 12 w 132"/>
                <a:gd name="T13" fmla="*/ 28 h 600"/>
                <a:gd name="T14" fmla="*/ 20 w 132"/>
                <a:gd name="T15" fmla="*/ 18 h 600"/>
                <a:gd name="T16" fmla="*/ 30 w 132"/>
                <a:gd name="T17" fmla="*/ 10 h 600"/>
                <a:gd name="T18" fmla="*/ 42 w 132"/>
                <a:gd name="T19" fmla="*/ 6 h 600"/>
                <a:gd name="T20" fmla="*/ 52 w 132"/>
                <a:gd name="T21" fmla="*/ 2 h 600"/>
                <a:gd name="T22" fmla="*/ 64 w 132"/>
                <a:gd name="T23" fmla="*/ 0 h 600"/>
                <a:gd name="T24" fmla="*/ 64 w 132"/>
                <a:gd name="T25" fmla="*/ 0 h 600"/>
                <a:gd name="T26" fmla="*/ 74 w 132"/>
                <a:gd name="T27" fmla="*/ 2 h 600"/>
                <a:gd name="T28" fmla="*/ 86 w 132"/>
                <a:gd name="T29" fmla="*/ 6 h 600"/>
                <a:gd name="T30" fmla="*/ 96 w 132"/>
                <a:gd name="T31" fmla="*/ 10 h 600"/>
                <a:gd name="T32" fmla="*/ 108 w 132"/>
                <a:gd name="T33" fmla="*/ 18 h 600"/>
                <a:gd name="T34" fmla="*/ 118 w 132"/>
                <a:gd name="T35" fmla="*/ 26 h 600"/>
                <a:gd name="T36" fmla="*/ 124 w 132"/>
                <a:gd name="T37" fmla="*/ 38 h 600"/>
                <a:gd name="T38" fmla="*/ 130 w 132"/>
                <a:gd name="T39" fmla="*/ 50 h 600"/>
                <a:gd name="T40" fmla="*/ 132 w 132"/>
                <a:gd name="T41" fmla="*/ 62 h 600"/>
                <a:gd name="T42" fmla="*/ 132 w 132"/>
                <a:gd name="T43" fmla="*/ 92 h 600"/>
                <a:gd name="T44" fmla="*/ 114 w 132"/>
                <a:gd name="T45" fmla="*/ 92 h 600"/>
                <a:gd name="T46" fmla="*/ 114 w 132"/>
                <a:gd name="T47" fmla="*/ 62 h 600"/>
                <a:gd name="T48" fmla="*/ 114 w 132"/>
                <a:gd name="T49" fmla="*/ 62 h 600"/>
                <a:gd name="T50" fmla="*/ 112 w 132"/>
                <a:gd name="T51" fmla="*/ 54 h 600"/>
                <a:gd name="T52" fmla="*/ 108 w 132"/>
                <a:gd name="T53" fmla="*/ 46 h 600"/>
                <a:gd name="T54" fmla="*/ 102 w 132"/>
                <a:gd name="T55" fmla="*/ 38 h 600"/>
                <a:gd name="T56" fmla="*/ 96 w 132"/>
                <a:gd name="T57" fmla="*/ 32 h 600"/>
                <a:gd name="T58" fmla="*/ 88 w 132"/>
                <a:gd name="T59" fmla="*/ 26 h 600"/>
                <a:gd name="T60" fmla="*/ 80 w 132"/>
                <a:gd name="T61" fmla="*/ 22 h 600"/>
                <a:gd name="T62" fmla="*/ 72 w 132"/>
                <a:gd name="T63" fmla="*/ 20 h 600"/>
                <a:gd name="T64" fmla="*/ 64 w 132"/>
                <a:gd name="T65" fmla="*/ 18 h 600"/>
                <a:gd name="T66" fmla="*/ 64 w 132"/>
                <a:gd name="T67" fmla="*/ 18 h 600"/>
                <a:gd name="T68" fmla="*/ 56 w 132"/>
                <a:gd name="T69" fmla="*/ 20 h 600"/>
                <a:gd name="T70" fmla="*/ 48 w 132"/>
                <a:gd name="T71" fmla="*/ 22 h 600"/>
                <a:gd name="T72" fmla="*/ 40 w 132"/>
                <a:gd name="T73" fmla="*/ 26 h 600"/>
                <a:gd name="T74" fmla="*/ 34 w 132"/>
                <a:gd name="T75" fmla="*/ 32 h 600"/>
                <a:gd name="T76" fmla="*/ 26 w 132"/>
                <a:gd name="T77" fmla="*/ 38 h 600"/>
                <a:gd name="T78" fmla="*/ 22 w 132"/>
                <a:gd name="T79" fmla="*/ 44 h 600"/>
                <a:gd name="T80" fmla="*/ 18 w 132"/>
                <a:gd name="T81" fmla="*/ 52 h 600"/>
                <a:gd name="T82" fmla="*/ 18 w 132"/>
                <a:gd name="T83" fmla="*/ 62 h 600"/>
                <a:gd name="T84" fmla="*/ 18 w 132"/>
                <a:gd name="T85" fmla="*/ 600 h 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32" h="600">
                  <a:moveTo>
                    <a:pt x="18" y="600"/>
                  </a:moveTo>
                  <a:lnTo>
                    <a:pt x="0" y="600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0" y="50"/>
                  </a:lnTo>
                  <a:lnTo>
                    <a:pt x="6" y="38"/>
                  </a:lnTo>
                  <a:lnTo>
                    <a:pt x="12" y="28"/>
                  </a:lnTo>
                  <a:lnTo>
                    <a:pt x="20" y="18"/>
                  </a:lnTo>
                  <a:lnTo>
                    <a:pt x="30" y="10"/>
                  </a:lnTo>
                  <a:lnTo>
                    <a:pt x="42" y="6"/>
                  </a:lnTo>
                  <a:lnTo>
                    <a:pt x="52" y="2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74" y="2"/>
                  </a:lnTo>
                  <a:lnTo>
                    <a:pt x="86" y="6"/>
                  </a:lnTo>
                  <a:lnTo>
                    <a:pt x="96" y="10"/>
                  </a:lnTo>
                  <a:lnTo>
                    <a:pt x="108" y="18"/>
                  </a:lnTo>
                  <a:lnTo>
                    <a:pt x="118" y="26"/>
                  </a:lnTo>
                  <a:lnTo>
                    <a:pt x="124" y="38"/>
                  </a:lnTo>
                  <a:lnTo>
                    <a:pt x="130" y="50"/>
                  </a:lnTo>
                  <a:lnTo>
                    <a:pt x="132" y="62"/>
                  </a:lnTo>
                  <a:lnTo>
                    <a:pt x="132" y="92"/>
                  </a:lnTo>
                  <a:lnTo>
                    <a:pt x="114" y="92"/>
                  </a:lnTo>
                  <a:lnTo>
                    <a:pt x="114" y="62"/>
                  </a:lnTo>
                  <a:lnTo>
                    <a:pt x="114" y="62"/>
                  </a:lnTo>
                  <a:lnTo>
                    <a:pt x="112" y="54"/>
                  </a:lnTo>
                  <a:lnTo>
                    <a:pt x="108" y="46"/>
                  </a:lnTo>
                  <a:lnTo>
                    <a:pt x="102" y="38"/>
                  </a:lnTo>
                  <a:lnTo>
                    <a:pt x="96" y="32"/>
                  </a:lnTo>
                  <a:lnTo>
                    <a:pt x="88" y="26"/>
                  </a:lnTo>
                  <a:lnTo>
                    <a:pt x="80" y="22"/>
                  </a:lnTo>
                  <a:lnTo>
                    <a:pt x="72" y="20"/>
                  </a:lnTo>
                  <a:lnTo>
                    <a:pt x="64" y="18"/>
                  </a:lnTo>
                  <a:lnTo>
                    <a:pt x="64" y="18"/>
                  </a:lnTo>
                  <a:lnTo>
                    <a:pt x="56" y="20"/>
                  </a:lnTo>
                  <a:lnTo>
                    <a:pt x="48" y="22"/>
                  </a:lnTo>
                  <a:lnTo>
                    <a:pt x="40" y="26"/>
                  </a:lnTo>
                  <a:lnTo>
                    <a:pt x="34" y="32"/>
                  </a:lnTo>
                  <a:lnTo>
                    <a:pt x="26" y="38"/>
                  </a:lnTo>
                  <a:lnTo>
                    <a:pt x="22" y="44"/>
                  </a:lnTo>
                  <a:lnTo>
                    <a:pt x="18" y="52"/>
                  </a:lnTo>
                  <a:lnTo>
                    <a:pt x="18" y="62"/>
                  </a:lnTo>
                  <a:lnTo>
                    <a:pt x="18" y="60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5" name="Freeform 116">
              <a:extLst>
                <a:ext uri="{FF2B5EF4-FFF2-40B4-BE49-F238E27FC236}">
                  <a16:creationId xmlns:a16="http://schemas.microsoft.com/office/drawing/2014/main" id="{C6DDEE53-430E-4634-8CB2-D6C506A26E22}"/>
                </a:ext>
              </a:extLst>
            </p:cNvPr>
            <p:cNvSpPr>
              <a:spLocks/>
            </p:cNvSpPr>
            <p:nvPr/>
          </p:nvSpPr>
          <p:spPr bwMode="auto">
            <a:xfrm>
              <a:off x="2083" y="2995"/>
              <a:ext cx="468" cy="100"/>
            </a:xfrm>
            <a:custGeom>
              <a:avLst/>
              <a:gdLst>
                <a:gd name="T0" fmla="*/ 468 w 468"/>
                <a:gd name="T1" fmla="*/ 100 h 100"/>
                <a:gd name="T2" fmla="*/ 66 w 468"/>
                <a:gd name="T3" fmla="*/ 100 h 100"/>
                <a:gd name="T4" fmla="*/ 66 w 468"/>
                <a:gd name="T5" fmla="*/ 100 h 100"/>
                <a:gd name="T6" fmla="*/ 64 w 468"/>
                <a:gd name="T7" fmla="*/ 100 h 100"/>
                <a:gd name="T8" fmla="*/ 60 w 468"/>
                <a:gd name="T9" fmla="*/ 98 h 100"/>
                <a:gd name="T10" fmla="*/ 58 w 468"/>
                <a:gd name="T11" fmla="*/ 96 h 100"/>
                <a:gd name="T12" fmla="*/ 58 w 468"/>
                <a:gd name="T13" fmla="*/ 92 h 100"/>
                <a:gd name="T14" fmla="*/ 58 w 468"/>
                <a:gd name="T15" fmla="*/ 92 h 100"/>
                <a:gd name="T16" fmla="*/ 58 w 468"/>
                <a:gd name="T17" fmla="*/ 88 h 100"/>
                <a:gd name="T18" fmla="*/ 60 w 468"/>
                <a:gd name="T19" fmla="*/ 86 h 100"/>
                <a:gd name="T20" fmla="*/ 64 w 468"/>
                <a:gd name="T21" fmla="*/ 84 h 100"/>
                <a:gd name="T22" fmla="*/ 66 w 468"/>
                <a:gd name="T23" fmla="*/ 82 h 100"/>
                <a:gd name="T24" fmla="*/ 450 w 468"/>
                <a:gd name="T25" fmla="*/ 82 h 100"/>
                <a:gd name="T26" fmla="*/ 450 w 468"/>
                <a:gd name="T27" fmla="*/ 72 h 100"/>
                <a:gd name="T28" fmla="*/ 450 w 468"/>
                <a:gd name="T29" fmla="*/ 72 h 100"/>
                <a:gd name="T30" fmla="*/ 448 w 468"/>
                <a:gd name="T31" fmla="*/ 60 h 100"/>
                <a:gd name="T32" fmla="*/ 446 w 468"/>
                <a:gd name="T33" fmla="*/ 50 h 100"/>
                <a:gd name="T34" fmla="*/ 442 w 468"/>
                <a:gd name="T35" fmla="*/ 42 h 100"/>
                <a:gd name="T36" fmla="*/ 436 w 468"/>
                <a:gd name="T37" fmla="*/ 34 h 100"/>
                <a:gd name="T38" fmla="*/ 428 w 468"/>
                <a:gd name="T39" fmla="*/ 28 h 100"/>
                <a:gd name="T40" fmla="*/ 420 w 468"/>
                <a:gd name="T41" fmla="*/ 22 h 100"/>
                <a:gd name="T42" fmla="*/ 410 w 468"/>
                <a:gd name="T43" fmla="*/ 20 h 100"/>
                <a:gd name="T44" fmla="*/ 400 w 468"/>
                <a:gd name="T45" fmla="*/ 18 h 100"/>
                <a:gd name="T46" fmla="*/ 10 w 468"/>
                <a:gd name="T47" fmla="*/ 18 h 100"/>
                <a:gd name="T48" fmla="*/ 10 w 468"/>
                <a:gd name="T49" fmla="*/ 18 h 100"/>
                <a:gd name="T50" fmla="*/ 6 w 468"/>
                <a:gd name="T51" fmla="*/ 18 h 100"/>
                <a:gd name="T52" fmla="*/ 4 w 468"/>
                <a:gd name="T53" fmla="*/ 16 h 100"/>
                <a:gd name="T54" fmla="*/ 2 w 468"/>
                <a:gd name="T55" fmla="*/ 12 h 100"/>
                <a:gd name="T56" fmla="*/ 0 w 468"/>
                <a:gd name="T57" fmla="*/ 10 h 100"/>
                <a:gd name="T58" fmla="*/ 0 w 468"/>
                <a:gd name="T59" fmla="*/ 10 h 100"/>
                <a:gd name="T60" fmla="*/ 2 w 468"/>
                <a:gd name="T61" fmla="*/ 6 h 100"/>
                <a:gd name="T62" fmla="*/ 4 w 468"/>
                <a:gd name="T63" fmla="*/ 4 h 100"/>
                <a:gd name="T64" fmla="*/ 6 w 468"/>
                <a:gd name="T65" fmla="*/ 2 h 100"/>
                <a:gd name="T66" fmla="*/ 10 w 468"/>
                <a:gd name="T67" fmla="*/ 0 h 100"/>
                <a:gd name="T68" fmla="*/ 400 w 468"/>
                <a:gd name="T69" fmla="*/ 0 h 100"/>
                <a:gd name="T70" fmla="*/ 400 w 468"/>
                <a:gd name="T71" fmla="*/ 0 h 100"/>
                <a:gd name="T72" fmla="*/ 414 w 468"/>
                <a:gd name="T73" fmla="*/ 2 h 100"/>
                <a:gd name="T74" fmla="*/ 426 w 468"/>
                <a:gd name="T75" fmla="*/ 6 h 100"/>
                <a:gd name="T76" fmla="*/ 438 w 468"/>
                <a:gd name="T77" fmla="*/ 12 h 100"/>
                <a:gd name="T78" fmla="*/ 448 w 468"/>
                <a:gd name="T79" fmla="*/ 22 h 100"/>
                <a:gd name="T80" fmla="*/ 456 w 468"/>
                <a:gd name="T81" fmla="*/ 32 h 100"/>
                <a:gd name="T82" fmla="*/ 462 w 468"/>
                <a:gd name="T83" fmla="*/ 44 h 100"/>
                <a:gd name="T84" fmla="*/ 466 w 468"/>
                <a:gd name="T85" fmla="*/ 56 h 100"/>
                <a:gd name="T86" fmla="*/ 468 w 468"/>
                <a:gd name="T87" fmla="*/ 72 h 100"/>
                <a:gd name="T88" fmla="*/ 468 w 468"/>
                <a:gd name="T89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68" h="100">
                  <a:moveTo>
                    <a:pt x="468" y="100"/>
                  </a:moveTo>
                  <a:lnTo>
                    <a:pt x="66" y="100"/>
                  </a:lnTo>
                  <a:lnTo>
                    <a:pt x="66" y="100"/>
                  </a:lnTo>
                  <a:lnTo>
                    <a:pt x="64" y="100"/>
                  </a:lnTo>
                  <a:lnTo>
                    <a:pt x="60" y="98"/>
                  </a:lnTo>
                  <a:lnTo>
                    <a:pt x="58" y="96"/>
                  </a:lnTo>
                  <a:lnTo>
                    <a:pt x="58" y="92"/>
                  </a:lnTo>
                  <a:lnTo>
                    <a:pt x="58" y="92"/>
                  </a:lnTo>
                  <a:lnTo>
                    <a:pt x="58" y="88"/>
                  </a:lnTo>
                  <a:lnTo>
                    <a:pt x="60" y="86"/>
                  </a:lnTo>
                  <a:lnTo>
                    <a:pt x="64" y="84"/>
                  </a:lnTo>
                  <a:lnTo>
                    <a:pt x="66" y="82"/>
                  </a:lnTo>
                  <a:lnTo>
                    <a:pt x="450" y="82"/>
                  </a:lnTo>
                  <a:lnTo>
                    <a:pt x="450" y="72"/>
                  </a:lnTo>
                  <a:lnTo>
                    <a:pt x="450" y="72"/>
                  </a:lnTo>
                  <a:lnTo>
                    <a:pt x="448" y="60"/>
                  </a:lnTo>
                  <a:lnTo>
                    <a:pt x="446" y="50"/>
                  </a:lnTo>
                  <a:lnTo>
                    <a:pt x="442" y="42"/>
                  </a:lnTo>
                  <a:lnTo>
                    <a:pt x="436" y="34"/>
                  </a:lnTo>
                  <a:lnTo>
                    <a:pt x="428" y="28"/>
                  </a:lnTo>
                  <a:lnTo>
                    <a:pt x="420" y="22"/>
                  </a:lnTo>
                  <a:lnTo>
                    <a:pt x="410" y="20"/>
                  </a:lnTo>
                  <a:lnTo>
                    <a:pt x="400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6" y="18"/>
                  </a:lnTo>
                  <a:lnTo>
                    <a:pt x="4" y="16"/>
                  </a:lnTo>
                  <a:lnTo>
                    <a:pt x="2" y="12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2" y="6"/>
                  </a:lnTo>
                  <a:lnTo>
                    <a:pt x="4" y="4"/>
                  </a:lnTo>
                  <a:lnTo>
                    <a:pt x="6" y="2"/>
                  </a:lnTo>
                  <a:lnTo>
                    <a:pt x="10" y="0"/>
                  </a:lnTo>
                  <a:lnTo>
                    <a:pt x="400" y="0"/>
                  </a:lnTo>
                  <a:lnTo>
                    <a:pt x="400" y="0"/>
                  </a:lnTo>
                  <a:lnTo>
                    <a:pt x="414" y="2"/>
                  </a:lnTo>
                  <a:lnTo>
                    <a:pt x="426" y="6"/>
                  </a:lnTo>
                  <a:lnTo>
                    <a:pt x="438" y="12"/>
                  </a:lnTo>
                  <a:lnTo>
                    <a:pt x="448" y="22"/>
                  </a:lnTo>
                  <a:lnTo>
                    <a:pt x="456" y="32"/>
                  </a:lnTo>
                  <a:lnTo>
                    <a:pt x="462" y="44"/>
                  </a:lnTo>
                  <a:lnTo>
                    <a:pt x="466" y="56"/>
                  </a:lnTo>
                  <a:lnTo>
                    <a:pt x="468" y="72"/>
                  </a:lnTo>
                  <a:lnTo>
                    <a:pt x="468" y="10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6" name="Freeform 117">
              <a:extLst>
                <a:ext uri="{FF2B5EF4-FFF2-40B4-BE49-F238E27FC236}">
                  <a16:creationId xmlns:a16="http://schemas.microsoft.com/office/drawing/2014/main" id="{5FA93E58-4033-44DF-869B-778148CA86F7}"/>
                </a:ext>
              </a:extLst>
            </p:cNvPr>
            <p:cNvSpPr>
              <a:spLocks/>
            </p:cNvSpPr>
            <p:nvPr/>
          </p:nvSpPr>
          <p:spPr bwMode="auto">
            <a:xfrm>
              <a:off x="1917" y="3563"/>
              <a:ext cx="128" cy="88"/>
            </a:xfrm>
            <a:custGeom>
              <a:avLst/>
              <a:gdLst>
                <a:gd name="T0" fmla="*/ 64 w 128"/>
                <a:gd name="T1" fmla="*/ 88 h 88"/>
                <a:gd name="T2" fmla="*/ 64 w 128"/>
                <a:gd name="T3" fmla="*/ 88 h 88"/>
                <a:gd name="T4" fmla="*/ 50 w 128"/>
                <a:gd name="T5" fmla="*/ 88 h 88"/>
                <a:gd name="T6" fmla="*/ 38 w 128"/>
                <a:gd name="T7" fmla="*/ 84 h 88"/>
                <a:gd name="T8" fmla="*/ 28 w 128"/>
                <a:gd name="T9" fmla="*/ 80 h 88"/>
                <a:gd name="T10" fmla="*/ 18 w 128"/>
                <a:gd name="T11" fmla="*/ 74 h 88"/>
                <a:gd name="T12" fmla="*/ 10 w 128"/>
                <a:gd name="T13" fmla="*/ 66 h 88"/>
                <a:gd name="T14" fmla="*/ 4 w 128"/>
                <a:gd name="T15" fmla="*/ 56 h 88"/>
                <a:gd name="T16" fmla="*/ 2 w 128"/>
                <a:gd name="T17" fmla="*/ 46 h 88"/>
                <a:gd name="T18" fmla="*/ 0 w 128"/>
                <a:gd name="T19" fmla="*/ 36 h 88"/>
                <a:gd name="T20" fmla="*/ 0 w 128"/>
                <a:gd name="T21" fmla="*/ 0 h 88"/>
                <a:gd name="T22" fmla="*/ 60 w 128"/>
                <a:gd name="T23" fmla="*/ 0 h 88"/>
                <a:gd name="T24" fmla="*/ 60 w 128"/>
                <a:gd name="T25" fmla="*/ 18 h 88"/>
                <a:gd name="T26" fmla="*/ 18 w 128"/>
                <a:gd name="T27" fmla="*/ 18 h 88"/>
                <a:gd name="T28" fmla="*/ 18 w 128"/>
                <a:gd name="T29" fmla="*/ 36 h 88"/>
                <a:gd name="T30" fmla="*/ 18 w 128"/>
                <a:gd name="T31" fmla="*/ 36 h 88"/>
                <a:gd name="T32" fmla="*/ 18 w 128"/>
                <a:gd name="T33" fmla="*/ 44 h 88"/>
                <a:gd name="T34" fmla="*/ 22 w 128"/>
                <a:gd name="T35" fmla="*/ 50 h 88"/>
                <a:gd name="T36" fmla="*/ 26 w 128"/>
                <a:gd name="T37" fmla="*/ 56 h 88"/>
                <a:gd name="T38" fmla="*/ 32 w 128"/>
                <a:gd name="T39" fmla="*/ 60 h 88"/>
                <a:gd name="T40" fmla="*/ 38 w 128"/>
                <a:gd name="T41" fmla="*/ 64 h 88"/>
                <a:gd name="T42" fmla="*/ 46 w 128"/>
                <a:gd name="T43" fmla="*/ 68 h 88"/>
                <a:gd name="T44" fmla="*/ 54 w 128"/>
                <a:gd name="T45" fmla="*/ 70 h 88"/>
                <a:gd name="T46" fmla="*/ 64 w 128"/>
                <a:gd name="T47" fmla="*/ 70 h 88"/>
                <a:gd name="T48" fmla="*/ 64 w 128"/>
                <a:gd name="T49" fmla="*/ 70 h 88"/>
                <a:gd name="T50" fmla="*/ 72 w 128"/>
                <a:gd name="T51" fmla="*/ 70 h 88"/>
                <a:gd name="T52" fmla="*/ 82 w 128"/>
                <a:gd name="T53" fmla="*/ 68 h 88"/>
                <a:gd name="T54" fmla="*/ 90 w 128"/>
                <a:gd name="T55" fmla="*/ 64 h 88"/>
                <a:gd name="T56" fmla="*/ 96 w 128"/>
                <a:gd name="T57" fmla="*/ 60 h 88"/>
                <a:gd name="T58" fmla="*/ 102 w 128"/>
                <a:gd name="T59" fmla="*/ 56 h 88"/>
                <a:gd name="T60" fmla="*/ 106 w 128"/>
                <a:gd name="T61" fmla="*/ 50 h 88"/>
                <a:gd name="T62" fmla="*/ 108 w 128"/>
                <a:gd name="T63" fmla="*/ 44 h 88"/>
                <a:gd name="T64" fmla="*/ 110 w 128"/>
                <a:gd name="T65" fmla="*/ 36 h 88"/>
                <a:gd name="T66" fmla="*/ 110 w 128"/>
                <a:gd name="T67" fmla="*/ 8 h 88"/>
                <a:gd name="T68" fmla="*/ 128 w 128"/>
                <a:gd name="T69" fmla="*/ 8 h 88"/>
                <a:gd name="T70" fmla="*/ 128 w 128"/>
                <a:gd name="T71" fmla="*/ 36 h 88"/>
                <a:gd name="T72" fmla="*/ 128 w 128"/>
                <a:gd name="T73" fmla="*/ 36 h 88"/>
                <a:gd name="T74" fmla="*/ 126 w 128"/>
                <a:gd name="T75" fmla="*/ 46 h 88"/>
                <a:gd name="T76" fmla="*/ 122 w 128"/>
                <a:gd name="T77" fmla="*/ 56 h 88"/>
                <a:gd name="T78" fmla="*/ 116 w 128"/>
                <a:gd name="T79" fmla="*/ 66 h 88"/>
                <a:gd name="T80" fmla="*/ 108 w 128"/>
                <a:gd name="T81" fmla="*/ 74 h 88"/>
                <a:gd name="T82" fmla="*/ 100 w 128"/>
                <a:gd name="T83" fmla="*/ 80 h 88"/>
                <a:gd name="T84" fmla="*/ 88 w 128"/>
                <a:gd name="T85" fmla="*/ 84 h 88"/>
                <a:gd name="T86" fmla="*/ 76 w 128"/>
                <a:gd name="T87" fmla="*/ 88 h 88"/>
                <a:gd name="T88" fmla="*/ 64 w 128"/>
                <a:gd name="T89" fmla="*/ 88 h 88"/>
                <a:gd name="T90" fmla="*/ 64 w 128"/>
                <a:gd name="T91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28" h="88">
                  <a:moveTo>
                    <a:pt x="64" y="88"/>
                  </a:moveTo>
                  <a:lnTo>
                    <a:pt x="64" y="88"/>
                  </a:lnTo>
                  <a:lnTo>
                    <a:pt x="50" y="88"/>
                  </a:lnTo>
                  <a:lnTo>
                    <a:pt x="38" y="84"/>
                  </a:lnTo>
                  <a:lnTo>
                    <a:pt x="28" y="80"/>
                  </a:lnTo>
                  <a:lnTo>
                    <a:pt x="18" y="74"/>
                  </a:lnTo>
                  <a:lnTo>
                    <a:pt x="10" y="66"/>
                  </a:lnTo>
                  <a:lnTo>
                    <a:pt x="4" y="56"/>
                  </a:lnTo>
                  <a:lnTo>
                    <a:pt x="2" y="46"/>
                  </a:lnTo>
                  <a:lnTo>
                    <a:pt x="0" y="36"/>
                  </a:lnTo>
                  <a:lnTo>
                    <a:pt x="0" y="0"/>
                  </a:lnTo>
                  <a:lnTo>
                    <a:pt x="60" y="0"/>
                  </a:lnTo>
                  <a:lnTo>
                    <a:pt x="60" y="18"/>
                  </a:lnTo>
                  <a:lnTo>
                    <a:pt x="18" y="18"/>
                  </a:lnTo>
                  <a:lnTo>
                    <a:pt x="18" y="36"/>
                  </a:lnTo>
                  <a:lnTo>
                    <a:pt x="18" y="36"/>
                  </a:lnTo>
                  <a:lnTo>
                    <a:pt x="18" y="44"/>
                  </a:lnTo>
                  <a:lnTo>
                    <a:pt x="22" y="50"/>
                  </a:lnTo>
                  <a:lnTo>
                    <a:pt x="26" y="56"/>
                  </a:lnTo>
                  <a:lnTo>
                    <a:pt x="32" y="60"/>
                  </a:lnTo>
                  <a:lnTo>
                    <a:pt x="38" y="64"/>
                  </a:lnTo>
                  <a:lnTo>
                    <a:pt x="46" y="68"/>
                  </a:lnTo>
                  <a:lnTo>
                    <a:pt x="54" y="70"/>
                  </a:lnTo>
                  <a:lnTo>
                    <a:pt x="64" y="70"/>
                  </a:lnTo>
                  <a:lnTo>
                    <a:pt x="64" y="70"/>
                  </a:lnTo>
                  <a:lnTo>
                    <a:pt x="72" y="70"/>
                  </a:lnTo>
                  <a:lnTo>
                    <a:pt x="82" y="68"/>
                  </a:lnTo>
                  <a:lnTo>
                    <a:pt x="90" y="64"/>
                  </a:lnTo>
                  <a:lnTo>
                    <a:pt x="96" y="60"/>
                  </a:lnTo>
                  <a:lnTo>
                    <a:pt x="102" y="56"/>
                  </a:lnTo>
                  <a:lnTo>
                    <a:pt x="106" y="50"/>
                  </a:lnTo>
                  <a:lnTo>
                    <a:pt x="108" y="44"/>
                  </a:lnTo>
                  <a:lnTo>
                    <a:pt x="110" y="36"/>
                  </a:lnTo>
                  <a:lnTo>
                    <a:pt x="110" y="8"/>
                  </a:lnTo>
                  <a:lnTo>
                    <a:pt x="128" y="8"/>
                  </a:lnTo>
                  <a:lnTo>
                    <a:pt x="128" y="36"/>
                  </a:lnTo>
                  <a:lnTo>
                    <a:pt x="128" y="36"/>
                  </a:lnTo>
                  <a:lnTo>
                    <a:pt x="126" y="46"/>
                  </a:lnTo>
                  <a:lnTo>
                    <a:pt x="122" y="56"/>
                  </a:lnTo>
                  <a:lnTo>
                    <a:pt x="116" y="66"/>
                  </a:lnTo>
                  <a:lnTo>
                    <a:pt x="108" y="74"/>
                  </a:lnTo>
                  <a:lnTo>
                    <a:pt x="100" y="80"/>
                  </a:lnTo>
                  <a:lnTo>
                    <a:pt x="88" y="84"/>
                  </a:lnTo>
                  <a:lnTo>
                    <a:pt x="76" y="88"/>
                  </a:lnTo>
                  <a:lnTo>
                    <a:pt x="64" y="88"/>
                  </a:lnTo>
                  <a:lnTo>
                    <a:pt x="64" y="88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7" name="Freeform 118">
              <a:extLst>
                <a:ext uri="{FF2B5EF4-FFF2-40B4-BE49-F238E27FC236}">
                  <a16:creationId xmlns:a16="http://schemas.microsoft.com/office/drawing/2014/main" id="{7EABE1EA-B794-4E85-B7A5-F1ACBFC8CD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1" y="3077"/>
              <a:ext cx="508" cy="574"/>
            </a:xfrm>
            <a:custGeom>
              <a:avLst/>
              <a:gdLst>
                <a:gd name="T0" fmla="*/ 414 w 508"/>
                <a:gd name="T1" fmla="*/ 574 h 574"/>
                <a:gd name="T2" fmla="*/ 10 w 508"/>
                <a:gd name="T3" fmla="*/ 574 h 574"/>
                <a:gd name="T4" fmla="*/ 10 w 508"/>
                <a:gd name="T5" fmla="*/ 574 h 574"/>
                <a:gd name="T6" fmla="*/ 6 w 508"/>
                <a:gd name="T7" fmla="*/ 574 h 574"/>
                <a:gd name="T8" fmla="*/ 4 w 508"/>
                <a:gd name="T9" fmla="*/ 572 h 574"/>
                <a:gd name="T10" fmla="*/ 2 w 508"/>
                <a:gd name="T11" fmla="*/ 570 h 574"/>
                <a:gd name="T12" fmla="*/ 0 w 508"/>
                <a:gd name="T13" fmla="*/ 566 h 574"/>
                <a:gd name="T14" fmla="*/ 0 w 508"/>
                <a:gd name="T15" fmla="*/ 566 h 574"/>
                <a:gd name="T16" fmla="*/ 2 w 508"/>
                <a:gd name="T17" fmla="*/ 562 h 574"/>
                <a:gd name="T18" fmla="*/ 4 w 508"/>
                <a:gd name="T19" fmla="*/ 560 h 574"/>
                <a:gd name="T20" fmla="*/ 6 w 508"/>
                <a:gd name="T21" fmla="*/ 558 h 574"/>
                <a:gd name="T22" fmla="*/ 10 w 508"/>
                <a:gd name="T23" fmla="*/ 556 h 574"/>
                <a:gd name="T24" fmla="*/ 414 w 508"/>
                <a:gd name="T25" fmla="*/ 556 h 574"/>
                <a:gd name="T26" fmla="*/ 414 w 508"/>
                <a:gd name="T27" fmla="*/ 556 h 574"/>
                <a:gd name="T28" fmla="*/ 430 w 508"/>
                <a:gd name="T29" fmla="*/ 556 h 574"/>
                <a:gd name="T30" fmla="*/ 444 w 508"/>
                <a:gd name="T31" fmla="*/ 550 h 574"/>
                <a:gd name="T32" fmla="*/ 456 w 508"/>
                <a:gd name="T33" fmla="*/ 544 h 574"/>
                <a:gd name="T34" fmla="*/ 468 w 508"/>
                <a:gd name="T35" fmla="*/ 534 h 574"/>
                <a:gd name="T36" fmla="*/ 478 w 508"/>
                <a:gd name="T37" fmla="*/ 524 h 574"/>
                <a:gd name="T38" fmla="*/ 484 w 508"/>
                <a:gd name="T39" fmla="*/ 510 h 574"/>
                <a:gd name="T40" fmla="*/ 488 w 508"/>
                <a:gd name="T41" fmla="*/ 496 h 574"/>
                <a:gd name="T42" fmla="*/ 490 w 508"/>
                <a:gd name="T43" fmla="*/ 482 h 574"/>
                <a:gd name="T44" fmla="*/ 490 w 508"/>
                <a:gd name="T45" fmla="*/ 10 h 574"/>
                <a:gd name="T46" fmla="*/ 490 w 508"/>
                <a:gd name="T47" fmla="*/ 10 h 574"/>
                <a:gd name="T48" fmla="*/ 490 w 508"/>
                <a:gd name="T49" fmla="*/ 6 h 574"/>
                <a:gd name="T50" fmla="*/ 492 w 508"/>
                <a:gd name="T51" fmla="*/ 4 h 574"/>
                <a:gd name="T52" fmla="*/ 496 w 508"/>
                <a:gd name="T53" fmla="*/ 2 h 574"/>
                <a:gd name="T54" fmla="*/ 500 w 508"/>
                <a:gd name="T55" fmla="*/ 0 h 574"/>
                <a:gd name="T56" fmla="*/ 500 w 508"/>
                <a:gd name="T57" fmla="*/ 0 h 574"/>
                <a:gd name="T58" fmla="*/ 502 w 508"/>
                <a:gd name="T59" fmla="*/ 2 h 574"/>
                <a:gd name="T60" fmla="*/ 506 w 508"/>
                <a:gd name="T61" fmla="*/ 4 h 574"/>
                <a:gd name="T62" fmla="*/ 508 w 508"/>
                <a:gd name="T63" fmla="*/ 6 h 574"/>
                <a:gd name="T64" fmla="*/ 508 w 508"/>
                <a:gd name="T65" fmla="*/ 10 h 574"/>
                <a:gd name="T66" fmla="*/ 508 w 508"/>
                <a:gd name="T67" fmla="*/ 482 h 574"/>
                <a:gd name="T68" fmla="*/ 508 w 508"/>
                <a:gd name="T69" fmla="*/ 482 h 574"/>
                <a:gd name="T70" fmla="*/ 506 w 508"/>
                <a:gd name="T71" fmla="*/ 500 h 574"/>
                <a:gd name="T72" fmla="*/ 500 w 508"/>
                <a:gd name="T73" fmla="*/ 518 h 574"/>
                <a:gd name="T74" fmla="*/ 492 w 508"/>
                <a:gd name="T75" fmla="*/ 534 h 574"/>
                <a:gd name="T76" fmla="*/ 480 w 508"/>
                <a:gd name="T77" fmla="*/ 548 h 574"/>
                <a:gd name="T78" fmla="*/ 466 w 508"/>
                <a:gd name="T79" fmla="*/ 558 h 574"/>
                <a:gd name="T80" fmla="*/ 452 w 508"/>
                <a:gd name="T81" fmla="*/ 568 h 574"/>
                <a:gd name="T82" fmla="*/ 434 w 508"/>
                <a:gd name="T83" fmla="*/ 572 h 574"/>
                <a:gd name="T84" fmla="*/ 414 w 508"/>
                <a:gd name="T85" fmla="*/ 574 h 574"/>
                <a:gd name="T86" fmla="*/ 414 w 508"/>
                <a:gd name="T87" fmla="*/ 574 h 5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08" h="574">
                  <a:moveTo>
                    <a:pt x="414" y="574"/>
                  </a:moveTo>
                  <a:lnTo>
                    <a:pt x="10" y="574"/>
                  </a:lnTo>
                  <a:lnTo>
                    <a:pt x="10" y="574"/>
                  </a:lnTo>
                  <a:lnTo>
                    <a:pt x="6" y="574"/>
                  </a:lnTo>
                  <a:lnTo>
                    <a:pt x="4" y="572"/>
                  </a:lnTo>
                  <a:lnTo>
                    <a:pt x="2" y="570"/>
                  </a:lnTo>
                  <a:lnTo>
                    <a:pt x="0" y="566"/>
                  </a:lnTo>
                  <a:lnTo>
                    <a:pt x="0" y="566"/>
                  </a:lnTo>
                  <a:lnTo>
                    <a:pt x="2" y="562"/>
                  </a:lnTo>
                  <a:lnTo>
                    <a:pt x="4" y="560"/>
                  </a:lnTo>
                  <a:lnTo>
                    <a:pt x="6" y="558"/>
                  </a:lnTo>
                  <a:lnTo>
                    <a:pt x="10" y="556"/>
                  </a:lnTo>
                  <a:lnTo>
                    <a:pt x="414" y="556"/>
                  </a:lnTo>
                  <a:lnTo>
                    <a:pt x="414" y="556"/>
                  </a:lnTo>
                  <a:lnTo>
                    <a:pt x="430" y="556"/>
                  </a:lnTo>
                  <a:lnTo>
                    <a:pt x="444" y="550"/>
                  </a:lnTo>
                  <a:lnTo>
                    <a:pt x="456" y="544"/>
                  </a:lnTo>
                  <a:lnTo>
                    <a:pt x="468" y="534"/>
                  </a:lnTo>
                  <a:lnTo>
                    <a:pt x="478" y="524"/>
                  </a:lnTo>
                  <a:lnTo>
                    <a:pt x="484" y="510"/>
                  </a:lnTo>
                  <a:lnTo>
                    <a:pt x="488" y="496"/>
                  </a:lnTo>
                  <a:lnTo>
                    <a:pt x="490" y="482"/>
                  </a:lnTo>
                  <a:lnTo>
                    <a:pt x="490" y="10"/>
                  </a:lnTo>
                  <a:lnTo>
                    <a:pt x="490" y="10"/>
                  </a:lnTo>
                  <a:lnTo>
                    <a:pt x="490" y="6"/>
                  </a:lnTo>
                  <a:lnTo>
                    <a:pt x="492" y="4"/>
                  </a:lnTo>
                  <a:lnTo>
                    <a:pt x="496" y="2"/>
                  </a:lnTo>
                  <a:lnTo>
                    <a:pt x="500" y="0"/>
                  </a:lnTo>
                  <a:lnTo>
                    <a:pt x="500" y="0"/>
                  </a:lnTo>
                  <a:lnTo>
                    <a:pt x="502" y="2"/>
                  </a:lnTo>
                  <a:lnTo>
                    <a:pt x="506" y="4"/>
                  </a:lnTo>
                  <a:lnTo>
                    <a:pt x="508" y="6"/>
                  </a:lnTo>
                  <a:lnTo>
                    <a:pt x="508" y="10"/>
                  </a:lnTo>
                  <a:lnTo>
                    <a:pt x="508" y="482"/>
                  </a:lnTo>
                  <a:lnTo>
                    <a:pt x="508" y="482"/>
                  </a:lnTo>
                  <a:lnTo>
                    <a:pt x="506" y="500"/>
                  </a:lnTo>
                  <a:lnTo>
                    <a:pt x="500" y="518"/>
                  </a:lnTo>
                  <a:lnTo>
                    <a:pt x="492" y="534"/>
                  </a:lnTo>
                  <a:lnTo>
                    <a:pt x="480" y="548"/>
                  </a:lnTo>
                  <a:lnTo>
                    <a:pt x="466" y="558"/>
                  </a:lnTo>
                  <a:lnTo>
                    <a:pt x="452" y="568"/>
                  </a:lnTo>
                  <a:lnTo>
                    <a:pt x="434" y="572"/>
                  </a:lnTo>
                  <a:lnTo>
                    <a:pt x="414" y="574"/>
                  </a:lnTo>
                  <a:lnTo>
                    <a:pt x="414" y="574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8" name="Rectangle 119">
              <a:extLst>
                <a:ext uri="{FF2B5EF4-FFF2-40B4-BE49-F238E27FC236}">
                  <a16:creationId xmlns:a16="http://schemas.microsoft.com/office/drawing/2014/main" id="{52C00567-C07B-4518-B56B-E0F7ADC5D7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69" y="3201"/>
              <a:ext cx="162" cy="18"/>
            </a:xfrm>
            <a:prstGeom prst="rect">
              <a:avLst/>
            </a:pr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9" name="Rectangle 120">
              <a:extLst>
                <a:ext uri="{FF2B5EF4-FFF2-40B4-BE49-F238E27FC236}">
                  <a16:creationId xmlns:a16="http://schemas.microsoft.com/office/drawing/2014/main" id="{D09C5C4B-DED3-48E3-96BC-A376A80FF9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97" y="3551"/>
              <a:ext cx="96" cy="18"/>
            </a:xfrm>
            <a:prstGeom prst="rect">
              <a:avLst/>
            </a:pr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0" name="Rectangle 121">
              <a:extLst>
                <a:ext uri="{FF2B5EF4-FFF2-40B4-BE49-F238E27FC236}">
                  <a16:creationId xmlns:a16="http://schemas.microsoft.com/office/drawing/2014/main" id="{32736B63-16FF-4D7F-B92D-353D00C663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17" y="3243"/>
              <a:ext cx="276" cy="18"/>
            </a:xfrm>
            <a:prstGeom prst="rect">
              <a:avLst/>
            </a:pr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1" name="Rectangle 122">
              <a:extLst>
                <a:ext uri="{FF2B5EF4-FFF2-40B4-BE49-F238E27FC236}">
                  <a16:creationId xmlns:a16="http://schemas.microsoft.com/office/drawing/2014/main" id="{E5F1A674-09EA-4916-9D58-9BFF414F3BD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17" y="3285"/>
              <a:ext cx="276" cy="18"/>
            </a:xfrm>
            <a:prstGeom prst="rect">
              <a:avLst/>
            </a:pr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2" name="Rectangle 123">
              <a:extLst>
                <a:ext uri="{FF2B5EF4-FFF2-40B4-BE49-F238E27FC236}">
                  <a16:creationId xmlns:a16="http://schemas.microsoft.com/office/drawing/2014/main" id="{125C524D-47C2-4BD4-81B1-931FE1ABB2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17" y="3327"/>
              <a:ext cx="276" cy="18"/>
            </a:xfrm>
            <a:prstGeom prst="rect">
              <a:avLst/>
            </a:pr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3" name="Rectangle 124">
              <a:extLst>
                <a:ext uri="{FF2B5EF4-FFF2-40B4-BE49-F238E27FC236}">
                  <a16:creationId xmlns:a16="http://schemas.microsoft.com/office/drawing/2014/main" id="{CB23C9C9-B6C1-4B7B-A305-8FF5A670A8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17" y="3369"/>
              <a:ext cx="276" cy="18"/>
            </a:xfrm>
            <a:prstGeom prst="rect">
              <a:avLst/>
            </a:pr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4" name="Rectangle 125">
              <a:extLst>
                <a:ext uri="{FF2B5EF4-FFF2-40B4-BE49-F238E27FC236}">
                  <a16:creationId xmlns:a16="http://schemas.microsoft.com/office/drawing/2014/main" id="{ABD2E15B-B8D0-4055-82B3-60660CC6F5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17" y="3411"/>
              <a:ext cx="276" cy="18"/>
            </a:xfrm>
            <a:prstGeom prst="rect">
              <a:avLst/>
            </a:pr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5" name="Rectangle 126">
              <a:extLst>
                <a:ext uri="{FF2B5EF4-FFF2-40B4-BE49-F238E27FC236}">
                  <a16:creationId xmlns:a16="http://schemas.microsoft.com/office/drawing/2014/main" id="{83FDB69D-44D3-4F0C-869C-A9A7B191C1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17" y="3453"/>
              <a:ext cx="276" cy="18"/>
            </a:xfrm>
            <a:prstGeom prst="rect">
              <a:avLst/>
            </a:pr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6" name="Rectangle 127">
              <a:extLst>
                <a:ext uri="{FF2B5EF4-FFF2-40B4-BE49-F238E27FC236}">
                  <a16:creationId xmlns:a16="http://schemas.microsoft.com/office/drawing/2014/main" id="{9E0C2A2E-12E4-4A97-94B9-E0D9595161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17" y="3495"/>
              <a:ext cx="276" cy="18"/>
            </a:xfrm>
            <a:prstGeom prst="rect">
              <a:avLst/>
            </a:pr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7" name="Freeform 128">
              <a:extLst>
                <a:ext uri="{FF2B5EF4-FFF2-40B4-BE49-F238E27FC236}">
                  <a16:creationId xmlns:a16="http://schemas.microsoft.com/office/drawing/2014/main" id="{DA0E4C07-D7E0-47BF-9A43-CE46D9DE5A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25" y="2995"/>
              <a:ext cx="64" cy="536"/>
            </a:xfrm>
            <a:custGeom>
              <a:avLst/>
              <a:gdLst>
                <a:gd name="T0" fmla="*/ 32 w 64"/>
                <a:gd name="T1" fmla="*/ 536 h 536"/>
                <a:gd name="T2" fmla="*/ 32 w 64"/>
                <a:gd name="T3" fmla="*/ 536 h 536"/>
                <a:gd name="T4" fmla="*/ 26 w 64"/>
                <a:gd name="T5" fmla="*/ 536 h 536"/>
                <a:gd name="T6" fmla="*/ 22 w 64"/>
                <a:gd name="T7" fmla="*/ 532 h 536"/>
                <a:gd name="T8" fmla="*/ 16 w 64"/>
                <a:gd name="T9" fmla="*/ 528 h 536"/>
                <a:gd name="T10" fmla="*/ 14 w 64"/>
                <a:gd name="T11" fmla="*/ 524 h 536"/>
                <a:gd name="T12" fmla="*/ 0 w 64"/>
                <a:gd name="T13" fmla="*/ 480 h 536"/>
                <a:gd name="T14" fmla="*/ 0 w 64"/>
                <a:gd name="T15" fmla="*/ 36 h 536"/>
                <a:gd name="T16" fmla="*/ 0 w 64"/>
                <a:gd name="T17" fmla="*/ 36 h 536"/>
                <a:gd name="T18" fmla="*/ 0 w 64"/>
                <a:gd name="T19" fmla="*/ 28 h 536"/>
                <a:gd name="T20" fmla="*/ 2 w 64"/>
                <a:gd name="T21" fmla="*/ 22 h 536"/>
                <a:gd name="T22" fmla="*/ 6 w 64"/>
                <a:gd name="T23" fmla="*/ 16 h 536"/>
                <a:gd name="T24" fmla="*/ 10 w 64"/>
                <a:gd name="T25" fmla="*/ 10 h 536"/>
                <a:gd name="T26" fmla="*/ 14 w 64"/>
                <a:gd name="T27" fmla="*/ 6 h 536"/>
                <a:gd name="T28" fmla="*/ 20 w 64"/>
                <a:gd name="T29" fmla="*/ 4 h 536"/>
                <a:gd name="T30" fmla="*/ 26 w 64"/>
                <a:gd name="T31" fmla="*/ 2 h 536"/>
                <a:gd name="T32" fmla="*/ 32 w 64"/>
                <a:gd name="T33" fmla="*/ 0 h 536"/>
                <a:gd name="T34" fmla="*/ 32 w 64"/>
                <a:gd name="T35" fmla="*/ 0 h 536"/>
                <a:gd name="T36" fmla="*/ 38 w 64"/>
                <a:gd name="T37" fmla="*/ 2 h 536"/>
                <a:gd name="T38" fmla="*/ 44 w 64"/>
                <a:gd name="T39" fmla="*/ 4 h 536"/>
                <a:gd name="T40" fmla="*/ 50 w 64"/>
                <a:gd name="T41" fmla="*/ 6 h 536"/>
                <a:gd name="T42" fmla="*/ 54 w 64"/>
                <a:gd name="T43" fmla="*/ 10 h 536"/>
                <a:gd name="T44" fmla="*/ 58 w 64"/>
                <a:gd name="T45" fmla="*/ 16 h 536"/>
                <a:gd name="T46" fmla="*/ 62 w 64"/>
                <a:gd name="T47" fmla="*/ 22 h 536"/>
                <a:gd name="T48" fmla="*/ 64 w 64"/>
                <a:gd name="T49" fmla="*/ 28 h 536"/>
                <a:gd name="T50" fmla="*/ 64 w 64"/>
                <a:gd name="T51" fmla="*/ 36 h 536"/>
                <a:gd name="T52" fmla="*/ 64 w 64"/>
                <a:gd name="T53" fmla="*/ 484 h 536"/>
                <a:gd name="T54" fmla="*/ 50 w 64"/>
                <a:gd name="T55" fmla="*/ 524 h 536"/>
                <a:gd name="T56" fmla="*/ 50 w 64"/>
                <a:gd name="T57" fmla="*/ 524 h 536"/>
                <a:gd name="T58" fmla="*/ 48 w 64"/>
                <a:gd name="T59" fmla="*/ 528 h 536"/>
                <a:gd name="T60" fmla="*/ 42 w 64"/>
                <a:gd name="T61" fmla="*/ 532 h 536"/>
                <a:gd name="T62" fmla="*/ 38 w 64"/>
                <a:gd name="T63" fmla="*/ 536 h 536"/>
                <a:gd name="T64" fmla="*/ 32 w 64"/>
                <a:gd name="T65" fmla="*/ 536 h 536"/>
                <a:gd name="T66" fmla="*/ 32 w 64"/>
                <a:gd name="T67" fmla="*/ 536 h 536"/>
                <a:gd name="T68" fmla="*/ 18 w 64"/>
                <a:gd name="T69" fmla="*/ 480 h 536"/>
                <a:gd name="T70" fmla="*/ 32 w 64"/>
                <a:gd name="T71" fmla="*/ 518 h 536"/>
                <a:gd name="T72" fmla="*/ 46 w 64"/>
                <a:gd name="T73" fmla="*/ 478 h 536"/>
                <a:gd name="T74" fmla="*/ 46 w 64"/>
                <a:gd name="T75" fmla="*/ 36 h 536"/>
                <a:gd name="T76" fmla="*/ 46 w 64"/>
                <a:gd name="T77" fmla="*/ 36 h 536"/>
                <a:gd name="T78" fmla="*/ 46 w 64"/>
                <a:gd name="T79" fmla="*/ 28 h 536"/>
                <a:gd name="T80" fmla="*/ 42 w 64"/>
                <a:gd name="T81" fmla="*/ 24 h 536"/>
                <a:gd name="T82" fmla="*/ 38 w 64"/>
                <a:gd name="T83" fmla="*/ 20 h 536"/>
                <a:gd name="T84" fmla="*/ 32 w 64"/>
                <a:gd name="T85" fmla="*/ 18 h 536"/>
                <a:gd name="T86" fmla="*/ 32 w 64"/>
                <a:gd name="T87" fmla="*/ 18 h 536"/>
                <a:gd name="T88" fmla="*/ 26 w 64"/>
                <a:gd name="T89" fmla="*/ 20 h 536"/>
                <a:gd name="T90" fmla="*/ 22 w 64"/>
                <a:gd name="T91" fmla="*/ 24 h 536"/>
                <a:gd name="T92" fmla="*/ 18 w 64"/>
                <a:gd name="T93" fmla="*/ 28 h 536"/>
                <a:gd name="T94" fmla="*/ 18 w 64"/>
                <a:gd name="T95" fmla="*/ 36 h 536"/>
                <a:gd name="T96" fmla="*/ 18 w 64"/>
                <a:gd name="T97" fmla="*/ 480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4" h="536">
                  <a:moveTo>
                    <a:pt x="32" y="536"/>
                  </a:moveTo>
                  <a:lnTo>
                    <a:pt x="32" y="536"/>
                  </a:lnTo>
                  <a:lnTo>
                    <a:pt x="26" y="536"/>
                  </a:lnTo>
                  <a:lnTo>
                    <a:pt x="22" y="532"/>
                  </a:lnTo>
                  <a:lnTo>
                    <a:pt x="16" y="528"/>
                  </a:lnTo>
                  <a:lnTo>
                    <a:pt x="14" y="524"/>
                  </a:lnTo>
                  <a:lnTo>
                    <a:pt x="0" y="480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28"/>
                  </a:lnTo>
                  <a:lnTo>
                    <a:pt x="2" y="22"/>
                  </a:lnTo>
                  <a:lnTo>
                    <a:pt x="6" y="16"/>
                  </a:lnTo>
                  <a:lnTo>
                    <a:pt x="10" y="10"/>
                  </a:lnTo>
                  <a:lnTo>
                    <a:pt x="14" y="6"/>
                  </a:lnTo>
                  <a:lnTo>
                    <a:pt x="20" y="4"/>
                  </a:lnTo>
                  <a:lnTo>
                    <a:pt x="26" y="2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8" y="2"/>
                  </a:lnTo>
                  <a:lnTo>
                    <a:pt x="44" y="4"/>
                  </a:lnTo>
                  <a:lnTo>
                    <a:pt x="50" y="6"/>
                  </a:lnTo>
                  <a:lnTo>
                    <a:pt x="54" y="10"/>
                  </a:lnTo>
                  <a:lnTo>
                    <a:pt x="58" y="16"/>
                  </a:lnTo>
                  <a:lnTo>
                    <a:pt x="62" y="22"/>
                  </a:lnTo>
                  <a:lnTo>
                    <a:pt x="64" y="28"/>
                  </a:lnTo>
                  <a:lnTo>
                    <a:pt x="64" y="36"/>
                  </a:lnTo>
                  <a:lnTo>
                    <a:pt x="64" y="484"/>
                  </a:lnTo>
                  <a:lnTo>
                    <a:pt x="50" y="524"/>
                  </a:lnTo>
                  <a:lnTo>
                    <a:pt x="50" y="524"/>
                  </a:lnTo>
                  <a:lnTo>
                    <a:pt x="48" y="528"/>
                  </a:lnTo>
                  <a:lnTo>
                    <a:pt x="42" y="532"/>
                  </a:lnTo>
                  <a:lnTo>
                    <a:pt x="38" y="536"/>
                  </a:lnTo>
                  <a:lnTo>
                    <a:pt x="32" y="536"/>
                  </a:lnTo>
                  <a:lnTo>
                    <a:pt x="32" y="536"/>
                  </a:lnTo>
                  <a:close/>
                  <a:moveTo>
                    <a:pt x="18" y="480"/>
                  </a:moveTo>
                  <a:lnTo>
                    <a:pt x="32" y="518"/>
                  </a:lnTo>
                  <a:lnTo>
                    <a:pt x="46" y="478"/>
                  </a:lnTo>
                  <a:lnTo>
                    <a:pt x="46" y="36"/>
                  </a:lnTo>
                  <a:lnTo>
                    <a:pt x="46" y="36"/>
                  </a:lnTo>
                  <a:lnTo>
                    <a:pt x="46" y="28"/>
                  </a:lnTo>
                  <a:lnTo>
                    <a:pt x="42" y="24"/>
                  </a:lnTo>
                  <a:lnTo>
                    <a:pt x="38" y="20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26" y="20"/>
                  </a:lnTo>
                  <a:lnTo>
                    <a:pt x="22" y="24"/>
                  </a:lnTo>
                  <a:lnTo>
                    <a:pt x="18" y="28"/>
                  </a:lnTo>
                  <a:lnTo>
                    <a:pt x="18" y="36"/>
                  </a:lnTo>
                  <a:lnTo>
                    <a:pt x="18" y="48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8" name="Freeform 129">
              <a:extLst>
                <a:ext uri="{FF2B5EF4-FFF2-40B4-BE49-F238E27FC236}">
                  <a16:creationId xmlns:a16="http://schemas.microsoft.com/office/drawing/2014/main" id="{21B43A1C-C607-4793-8335-1CDADD5552F6}"/>
                </a:ext>
              </a:extLst>
            </p:cNvPr>
            <p:cNvSpPr>
              <a:spLocks/>
            </p:cNvSpPr>
            <p:nvPr/>
          </p:nvSpPr>
          <p:spPr bwMode="auto">
            <a:xfrm>
              <a:off x="1891" y="3053"/>
              <a:ext cx="90" cy="136"/>
            </a:xfrm>
            <a:custGeom>
              <a:avLst/>
              <a:gdLst>
                <a:gd name="T0" fmla="*/ 18 w 90"/>
                <a:gd name="T1" fmla="*/ 136 h 136"/>
                <a:gd name="T2" fmla="*/ 0 w 90"/>
                <a:gd name="T3" fmla="*/ 136 h 136"/>
                <a:gd name="T4" fmla="*/ 0 w 90"/>
                <a:gd name="T5" fmla="*/ 0 h 136"/>
                <a:gd name="T6" fmla="*/ 90 w 90"/>
                <a:gd name="T7" fmla="*/ 0 h 136"/>
                <a:gd name="T8" fmla="*/ 90 w 90"/>
                <a:gd name="T9" fmla="*/ 18 h 136"/>
                <a:gd name="T10" fmla="*/ 18 w 90"/>
                <a:gd name="T11" fmla="*/ 18 h 136"/>
                <a:gd name="T12" fmla="*/ 18 w 90"/>
                <a:gd name="T13" fmla="*/ 136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0" h="136">
                  <a:moveTo>
                    <a:pt x="18" y="136"/>
                  </a:moveTo>
                  <a:lnTo>
                    <a:pt x="0" y="136"/>
                  </a:lnTo>
                  <a:lnTo>
                    <a:pt x="0" y="0"/>
                  </a:lnTo>
                  <a:lnTo>
                    <a:pt x="90" y="0"/>
                  </a:lnTo>
                  <a:lnTo>
                    <a:pt x="90" y="18"/>
                  </a:lnTo>
                  <a:lnTo>
                    <a:pt x="18" y="18"/>
                  </a:lnTo>
                  <a:lnTo>
                    <a:pt x="18" y="136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9" name="Freeform 130">
              <a:extLst>
                <a:ext uri="{FF2B5EF4-FFF2-40B4-BE49-F238E27FC236}">
                  <a16:creationId xmlns:a16="http://schemas.microsoft.com/office/drawing/2014/main" id="{AE19DD53-11EF-4616-8CBD-2B98DEB4207A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7" y="3513"/>
              <a:ext cx="18" cy="48"/>
            </a:xfrm>
            <a:custGeom>
              <a:avLst/>
              <a:gdLst>
                <a:gd name="T0" fmla="*/ 10 w 18"/>
                <a:gd name="T1" fmla="*/ 48 h 48"/>
                <a:gd name="T2" fmla="*/ 10 w 18"/>
                <a:gd name="T3" fmla="*/ 48 h 48"/>
                <a:gd name="T4" fmla="*/ 6 w 18"/>
                <a:gd name="T5" fmla="*/ 46 h 48"/>
                <a:gd name="T6" fmla="*/ 4 w 18"/>
                <a:gd name="T7" fmla="*/ 44 h 48"/>
                <a:gd name="T8" fmla="*/ 2 w 18"/>
                <a:gd name="T9" fmla="*/ 42 h 48"/>
                <a:gd name="T10" fmla="*/ 0 w 18"/>
                <a:gd name="T11" fmla="*/ 38 h 48"/>
                <a:gd name="T12" fmla="*/ 0 w 18"/>
                <a:gd name="T13" fmla="*/ 10 h 48"/>
                <a:gd name="T14" fmla="*/ 0 w 18"/>
                <a:gd name="T15" fmla="*/ 10 h 48"/>
                <a:gd name="T16" fmla="*/ 2 w 18"/>
                <a:gd name="T17" fmla="*/ 6 h 48"/>
                <a:gd name="T18" fmla="*/ 4 w 18"/>
                <a:gd name="T19" fmla="*/ 2 h 48"/>
                <a:gd name="T20" fmla="*/ 6 w 18"/>
                <a:gd name="T21" fmla="*/ 0 h 48"/>
                <a:gd name="T22" fmla="*/ 10 w 18"/>
                <a:gd name="T23" fmla="*/ 0 h 48"/>
                <a:gd name="T24" fmla="*/ 10 w 18"/>
                <a:gd name="T25" fmla="*/ 0 h 48"/>
                <a:gd name="T26" fmla="*/ 14 w 18"/>
                <a:gd name="T27" fmla="*/ 0 h 48"/>
                <a:gd name="T28" fmla="*/ 16 w 18"/>
                <a:gd name="T29" fmla="*/ 2 h 48"/>
                <a:gd name="T30" fmla="*/ 18 w 18"/>
                <a:gd name="T31" fmla="*/ 6 h 48"/>
                <a:gd name="T32" fmla="*/ 18 w 18"/>
                <a:gd name="T33" fmla="*/ 10 h 48"/>
                <a:gd name="T34" fmla="*/ 18 w 18"/>
                <a:gd name="T35" fmla="*/ 38 h 48"/>
                <a:gd name="T36" fmla="*/ 18 w 18"/>
                <a:gd name="T37" fmla="*/ 38 h 48"/>
                <a:gd name="T38" fmla="*/ 18 w 18"/>
                <a:gd name="T39" fmla="*/ 42 h 48"/>
                <a:gd name="T40" fmla="*/ 16 w 18"/>
                <a:gd name="T41" fmla="*/ 44 h 48"/>
                <a:gd name="T42" fmla="*/ 14 w 18"/>
                <a:gd name="T43" fmla="*/ 46 h 48"/>
                <a:gd name="T44" fmla="*/ 10 w 18"/>
                <a:gd name="T45" fmla="*/ 48 h 48"/>
                <a:gd name="T46" fmla="*/ 10 w 18"/>
                <a:gd name="T47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8" h="48">
                  <a:moveTo>
                    <a:pt x="10" y="48"/>
                  </a:moveTo>
                  <a:lnTo>
                    <a:pt x="10" y="48"/>
                  </a:lnTo>
                  <a:lnTo>
                    <a:pt x="6" y="46"/>
                  </a:lnTo>
                  <a:lnTo>
                    <a:pt x="4" y="44"/>
                  </a:lnTo>
                  <a:lnTo>
                    <a:pt x="2" y="42"/>
                  </a:lnTo>
                  <a:lnTo>
                    <a:pt x="0" y="38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2" y="6"/>
                  </a:lnTo>
                  <a:lnTo>
                    <a:pt x="4" y="2"/>
                  </a:lnTo>
                  <a:lnTo>
                    <a:pt x="6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4" y="0"/>
                  </a:lnTo>
                  <a:lnTo>
                    <a:pt x="16" y="2"/>
                  </a:lnTo>
                  <a:lnTo>
                    <a:pt x="18" y="6"/>
                  </a:lnTo>
                  <a:lnTo>
                    <a:pt x="18" y="10"/>
                  </a:lnTo>
                  <a:lnTo>
                    <a:pt x="18" y="38"/>
                  </a:lnTo>
                  <a:lnTo>
                    <a:pt x="18" y="38"/>
                  </a:lnTo>
                  <a:lnTo>
                    <a:pt x="18" y="42"/>
                  </a:lnTo>
                  <a:lnTo>
                    <a:pt x="16" y="44"/>
                  </a:lnTo>
                  <a:lnTo>
                    <a:pt x="14" y="46"/>
                  </a:lnTo>
                  <a:lnTo>
                    <a:pt x="10" y="48"/>
                  </a:lnTo>
                  <a:lnTo>
                    <a:pt x="10" y="48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</p:grpSp>
      <p:grpSp>
        <p:nvGrpSpPr>
          <p:cNvPr id="68" name="Group 78">
            <a:extLst>
              <a:ext uri="{FF2B5EF4-FFF2-40B4-BE49-F238E27FC236}">
                <a16:creationId xmlns:a16="http://schemas.microsoft.com/office/drawing/2014/main" id="{EEFE3A14-2AD2-4FEA-932A-003EDFF77AA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26395" y="1656474"/>
            <a:ext cx="323727" cy="324726"/>
            <a:chOff x="4475" y="1958"/>
            <a:chExt cx="648" cy="650"/>
          </a:xfrm>
        </p:grpSpPr>
        <p:sp>
          <p:nvSpPr>
            <p:cNvPr id="69" name="AutoShape 77">
              <a:extLst>
                <a:ext uri="{FF2B5EF4-FFF2-40B4-BE49-F238E27FC236}">
                  <a16:creationId xmlns:a16="http://schemas.microsoft.com/office/drawing/2014/main" id="{5324E428-5494-4F95-91DA-7FF0E1E84FC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475" y="1958"/>
              <a:ext cx="648" cy="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70" name="Freeform 79">
              <a:extLst>
                <a:ext uri="{FF2B5EF4-FFF2-40B4-BE49-F238E27FC236}">
                  <a16:creationId xmlns:a16="http://schemas.microsoft.com/office/drawing/2014/main" id="{2434B747-8473-49E6-A692-4B65BD87E8B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19" y="2128"/>
              <a:ext cx="360" cy="306"/>
            </a:xfrm>
            <a:custGeom>
              <a:avLst/>
              <a:gdLst>
                <a:gd name="T0" fmla="*/ 124 w 360"/>
                <a:gd name="T1" fmla="*/ 306 h 306"/>
                <a:gd name="T2" fmla="*/ 118 w 360"/>
                <a:gd name="T3" fmla="*/ 302 h 306"/>
                <a:gd name="T4" fmla="*/ 0 w 360"/>
                <a:gd name="T5" fmla="*/ 184 h 306"/>
                <a:gd name="T6" fmla="*/ 72 w 360"/>
                <a:gd name="T7" fmla="*/ 112 h 306"/>
                <a:gd name="T8" fmla="*/ 124 w 360"/>
                <a:gd name="T9" fmla="*/ 166 h 306"/>
                <a:gd name="T10" fmla="*/ 288 w 360"/>
                <a:gd name="T11" fmla="*/ 0 h 306"/>
                <a:gd name="T12" fmla="*/ 360 w 360"/>
                <a:gd name="T13" fmla="*/ 72 h 306"/>
                <a:gd name="T14" fmla="*/ 130 w 360"/>
                <a:gd name="T15" fmla="*/ 302 h 306"/>
                <a:gd name="T16" fmla="*/ 124 w 360"/>
                <a:gd name="T17" fmla="*/ 306 h 306"/>
                <a:gd name="T18" fmla="*/ 24 w 360"/>
                <a:gd name="T19" fmla="*/ 184 h 306"/>
                <a:gd name="T20" fmla="*/ 124 w 360"/>
                <a:gd name="T21" fmla="*/ 284 h 306"/>
                <a:gd name="T22" fmla="*/ 336 w 360"/>
                <a:gd name="T23" fmla="*/ 72 h 306"/>
                <a:gd name="T24" fmla="*/ 288 w 360"/>
                <a:gd name="T25" fmla="*/ 26 h 306"/>
                <a:gd name="T26" fmla="*/ 124 w 360"/>
                <a:gd name="T27" fmla="*/ 190 h 306"/>
                <a:gd name="T28" fmla="*/ 72 w 360"/>
                <a:gd name="T29" fmla="*/ 138 h 306"/>
                <a:gd name="T30" fmla="*/ 24 w 360"/>
                <a:gd name="T31" fmla="*/ 184 h 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60" h="306">
                  <a:moveTo>
                    <a:pt x="124" y="306"/>
                  </a:moveTo>
                  <a:lnTo>
                    <a:pt x="118" y="302"/>
                  </a:lnTo>
                  <a:lnTo>
                    <a:pt x="0" y="184"/>
                  </a:lnTo>
                  <a:lnTo>
                    <a:pt x="72" y="112"/>
                  </a:lnTo>
                  <a:lnTo>
                    <a:pt x="124" y="166"/>
                  </a:lnTo>
                  <a:lnTo>
                    <a:pt x="288" y="0"/>
                  </a:lnTo>
                  <a:lnTo>
                    <a:pt x="360" y="72"/>
                  </a:lnTo>
                  <a:lnTo>
                    <a:pt x="130" y="302"/>
                  </a:lnTo>
                  <a:lnTo>
                    <a:pt x="124" y="306"/>
                  </a:lnTo>
                  <a:close/>
                  <a:moveTo>
                    <a:pt x="24" y="184"/>
                  </a:moveTo>
                  <a:lnTo>
                    <a:pt x="124" y="284"/>
                  </a:lnTo>
                  <a:lnTo>
                    <a:pt x="336" y="72"/>
                  </a:lnTo>
                  <a:lnTo>
                    <a:pt x="288" y="26"/>
                  </a:lnTo>
                  <a:lnTo>
                    <a:pt x="124" y="190"/>
                  </a:lnTo>
                  <a:lnTo>
                    <a:pt x="72" y="138"/>
                  </a:lnTo>
                  <a:lnTo>
                    <a:pt x="24" y="184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71" name="Freeform 80">
              <a:extLst>
                <a:ext uri="{FF2B5EF4-FFF2-40B4-BE49-F238E27FC236}">
                  <a16:creationId xmlns:a16="http://schemas.microsoft.com/office/drawing/2014/main" id="{671605F2-CFBA-46AD-B5AE-D5C697E77EC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75" y="1958"/>
              <a:ext cx="648" cy="650"/>
            </a:xfrm>
            <a:custGeom>
              <a:avLst/>
              <a:gdLst>
                <a:gd name="T0" fmla="*/ 290 w 648"/>
                <a:gd name="T1" fmla="*/ 648 h 650"/>
                <a:gd name="T2" fmla="*/ 198 w 648"/>
                <a:gd name="T3" fmla="*/ 624 h 650"/>
                <a:gd name="T4" fmla="*/ 118 w 648"/>
                <a:gd name="T5" fmla="*/ 574 h 650"/>
                <a:gd name="T6" fmla="*/ 54 w 648"/>
                <a:gd name="T7" fmla="*/ 506 h 650"/>
                <a:gd name="T8" fmla="*/ 14 w 648"/>
                <a:gd name="T9" fmla="*/ 420 h 650"/>
                <a:gd name="T10" fmla="*/ 0 w 648"/>
                <a:gd name="T11" fmla="*/ 324 h 650"/>
                <a:gd name="T12" fmla="*/ 6 w 648"/>
                <a:gd name="T13" fmla="*/ 260 h 650"/>
                <a:gd name="T14" fmla="*/ 38 w 648"/>
                <a:gd name="T15" fmla="*/ 170 h 650"/>
                <a:gd name="T16" fmla="*/ 94 w 648"/>
                <a:gd name="T17" fmla="*/ 96 h 650"/>
                <a:gd name="T18" fmla="*/ 170 w 648"/>
                <a:gd name="T19" fmla="*/ 40 h 650"/>
                <a:gd name="T20" fmla="*/ 258 w 648"/>
                <a:gd name="T21" fmla="*/ 6 h 650"/>
                <a:gd name="T22" fmla="*/ 324 w 648"/>
                <a:gd name="T23" fmla="*/ 0 h 650"/>
                <a:gd name="T24" fmla="*/ 420 w 648"/>
                <a:gd name="T25" fmla="*/ 14 h 650"/>
                <a:gd name="T26" fmla="*/ 506 w 648"/>
                <a:gd name="T27" fmla="*/ 56 h 650"/>
                <a:gd name="T28" fmla="*/ 574 w 648"/>
                <a:gd name="T29" fmla="*/ 118 h 650"/>
                <a:gd name="T30" fmla="*/ 624 w 648"/>
                <a:gd name="T31" fmla="*/ 198 h 650"/>
                <a:gd name="T32" fmla="*/ 646 w 648"/>
                <a:gd name="T33" fmla="*/ 292 h 650"/>
                <a:gd name="T34" fmla="*/ 646 w 648"/>
                <a:gd name="T35" fmla="*/ 358 h 650"/>
                <a:gd name="T36" fmla="*/ 624 w 648"/>
                <a:gd name="T37" fmla="*/ 450 h 650"/>
                <a:gd name="T38" fmla="*/ 574 w 648"/>
                <a:gd name="T39" fmla="*/ 530 h 650"/>
                <a:gd name="T40" fmla="*/ 506 w 648"/>
                <a:gd name="T41" fmla="*/ 594 h 650"/>
                <a:gd name="T42" fmla="*/ 420 w 648"/>
                <a:gd name="T43" fmla="*/ 634 h 650"/>
                <a:gd name="T44" fmla="*/ 324 w 648"/>
                <a:gd name="T45" fmla="*/ 650 h 650"/>
                <a:gd name="T46" fmla="*/ 324 w 648"/>
                <a:gd name="T47" fmla="*/ 18 h 650"/>
                <a:gd name="T48" fmla="*/ 232 w 648"/>
                <a:gd name="T49" fmla="*/ 32 h 650"/>
                <a:gd name="T50" fmla="*/ 152 w 648"/>
                <a:gd name="T51" fmla="*/ 70 h 650"/>
                <a:gd name="T52" fmla="*/ 88 w 648"/>
                <a:gd name="T53" fmla="*/ 130 h 650"/>
                <a:gd name="T54" fmla="*/ 42 w 648"/>
                <a:gd name="T55" fmla="*/ 206 h 650"/>
                <a:gd name="T56" fmla="*/ 18 w 648"/>
                <a:gd name="T57" fmla="*/ 294 h 650"/>
                <a:gd name="T58" fmla="*/ 18 w 648"/>
                <a:gd name="T59" fmla="*/ 356 h 650"/>
                <a:gd name="T60" fmla="*/ 42 w 648"/>
                <a:gd name="T61" fmla="*/ 444 h 650"/>
                <a:gd name="T62" fmla="*/ 88 w 648"/>
                <a:gd name="T63" fmla="*/ 520 h 650"/>
                <a:gd name="T64" fmla="*/ 152 w 648"/>
                <a:gd name="T65" fmla="*/ 578 h 650"/>
                <a:gd name="T66" fmla="*/ 232 w 648"/>
                <a:gd name="T67" fmla="*/ 618 h 650"/>
                <a:gd name="T68" fmla="*/ 324 w 648"/>
                <a:gd name="T69" fmla="*/ 632 h 650"/>
                <a:gd name="T70" fmla="*/ 386 w 648"/>
                <a:gd name="T71" fmla="*/ 624 h 650"/>
                <a:gd name="T72" fmla="*/ 470 w 648"/>
                <a:gd name="T73" fmla="*/ 594 h 650"/>
                <a:gd name="T74" fmla="*/ 540 w 648"/>
                <a:gd name="T75" fmla="*/ 542 h 650"/>
                <a:gd name="T76" fmla="*/ 594 w 648"/>
                <a:gd name="T77" fmla="*/ 470 h 650"/>
                <a:gd name="T78" fmla="*/ 624 w 648"/>
                <a:gd name="T79" fmla="*/ 386 h 650"/>
                <a:gd name="T80" fmla="*/ 630 w 648"/>
                <a:gd name="T81" fmla="*/ 324 h 650"/>
                <a:gd name="T82" fmla="*/ 616 w 648"/>
                <a:gd name="T83" fmla="*/ 234 h 650"/>
                <a:gd name="T84" fmla="*/ 578 w 648"/>
                <a:gd name="T85" fmla="*/ 154 h 650"/>
                <a:gd name="T86" fmla="*/ 518 w 648"/>
                <a:gd name="T87" fmla="*/ 88 h 650"/>
                <a:gd name="T88" fmla="*/ 444 w 648"/>
                <a:gd name="T89" fmla="*/ 42 h 650"/>
                <a:gd name="T90" fmla="*/ 356 w 648"/>
                <a:gd name="T91" fmla="*/ 20 h 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648" h="650">
                  <a:moveTo>
                    <a:pt x="324" y="650"/>
                  </a:moveTo>
                  <a:lnTo>
                    <a:pt x="324" y="650"/>
                  </a:lnTo>
                  <a:lnTo>
                    <a:pt x="290" y="648"/>
                  </a:lnTo>
                  <a:lnTo>
                    <a:pt x="258" y="642"/>
                  </a:lnTo>
                  <a:lnTo>
                    <a:pt x="228" y="634"/>
                  </a:lnTo>
                  <a:lnTo>
                    <a:pt x="198" y="624"/>
                  </a:lnTo>
                  <a:lnTo>
                    <a:pt x="170" y="610"/>
                  </a:lnTo>
                  <a:lnTo>
                    <a:pt x="142" y="594"/>
                  </a:lnTo>
                  <a:lnTo>
                    <a:pt x="118" y="574"/>
                  </a:lnTo>
                  <a:lnTo>
                    <a:pt x="94" y="554"/>
                  </a:lnTo>
                  <a:lnTo>
                    <a:pt x="74" y="530"/>
                  </a:lnTo>
                  <a:lnTo>
                    <a:pt x="54" y="506"/>
                  </a:lnTo>
                  <a:lnTo>
                    <a:pt x="38" y="480"/>
                  </a:lnTo>
                  <a:lnTo>
                    <a:pt x="24" y="450"/>
                  </a:lnTo>
                  <a:lnTo>
                    <a:pt x="14" y="420"/>
                  </a:lnTo>
                  <a:lnTo>
                    <a:pt x="6" y="390"/>
                  </a:lnTo>
                  <a:lnTo>
                    <a:pt x="0" y="358"/>
                  </a:lnTo>
                  <a:lnTo>
                    <a:pt x="0" y="324"/>
                  </a:lnTo>
                  <a:lnTo>
                    <a:pt x="0" y="324"/>
                  </a:lnTo>
                  <a:lnTo>
                    <a:pt x="0" y="292"/>
                  </a:lnTo>
                  <a:lnTo>
                    <a:pt x="6" y="260"/>
                  </a:lnTo>
                  <a:lnTo>
                    <a:pt x="14" y="228"/>
                  </a:lnTo>
                  <a:lnTo>
                    <a:pt x="24" y="198"/>
                  </a:lnTo>
                  <a:lnTo>
                    <a:pt x="38" y="170"/>
                  </a:lnTo>
                  <a:lnTo>
                    <a:pt x="54" y="144"/>
                  </a:lnTo>
                  <a:lnTo>
                    <a:pt x="74" y="118"/>
                  </a:lnTo>
                  <a:lnTo>
                    <a:pt x="94" y="96"/>
                  </a:lnTo>
                  <a:lnTo>
                    <a:pt x="118" y="74"/>
                  </a:lnTo>
                  <a:lnTo>
                    <a:pt x="142" y="56"/>
                  </a:lnTo>
                  <a:lnTo>
                    <a:pt x="170" y="40"/>
                  </a:lnTo>
                  <a:lnTo>
                    <a:pt x="198" y="26"/>
                  </a:lnTo>
                  <a:lnTo>
                    <a:pt x="228" y="14"/>
                  </a:lnTo>
                  <a:lnTo>
                    <a:pt x="258" y="6"/>
                  </a:lnTo>
                  <a:lnTo>
                    <a:pt x="290" y="2"/>
                  </a:lnTo>
                  <a:lnTo>
                    <a:pt x="324" y="0"/>
                  </a:lnTo>
                  <a:lnTo>
                    <a:pt x="324" y="0"/>
                  </a:lnTo>
                  <a:lnTo>
                    <a:pt x="358" y="2"/>
                  </a:lnTo>
                  <a:lnTo>
                    <a:pt x="390" y="6"/>
                  </a:lnTo>
                  <a:lnTo>
                    <a:pt x="420" y="14"/>
                  </a:lnTo>
                  <a:lnTo>
                    <a:pt x="450" y="26"/>
                  </a:lnTo>
                  <a:lnTo>
                    <a:pt x="478" y="40"/>
                  </a:lnTo>
                  <a:lnTo>
                    <a:pt x="506" y="56"/>
                  </a:lnTo>
                  <a:lnTo>
                    <a:pt x="530" y="74"/>
                  </a:lnTo>
                  <a:lnTo>
                    <a:pt x="554" y="96"/>
                  </a:lnTo>
                  <a:lnTo>
                    <a:pt x="574" y="118"/>
                  </a:lnTo>
                  <a:lnTo>
                    <a:pt x="594" y="144"/>
                  </a:lnTo>
                  <a:lnTo>
                    <a:pt x="610" y="170"/>
                  </a:lnTo>
                  <a:lnTo>
                    <a:pt x="624" y="198"/>
                  </a:lnTo>
                  <a:lnTo>
                    <a:pt x="634" y="228"/>
                  </a:lnTo>
                  <a:lnTo>
                    <a:pt x="642" y="260"/>
                  </a:lnTo>
                  <a:lnTo>
                    <a:pt x="646" y="292"/>
                  </a:lnTo>
                  <a:lnTo>
                    <a:pt x="648" y="324"/>
                  </a:lnTo>
                  <a:lnTo>
                    <a:pt x="648" y="324"/>
                  </a:lnTo>
                  <a:lnTo>
                    <a:pt x="646" y="358"/>
                  </a:lnTo>
                  <a:lnTo>
                    <a:pt x="642" y="390"/>
                  </a:lnTo>
                  <a:lnTo>
                    <a:pt x="634" y="420"/>
                  </a:lnTo>
                  <a:lnTo>
                    <a:pt x="624" y="450"/>
                  </a:lnTo>
                  <a:lnTo>
                    <a:pt x="610" y="480"/>
                  </a:lnTo>
                  <a:lnTo>
                    <a:pt x="594" y="506"/>
                  </a:lnTo>
                  <a:lnTo>
                    <a:pt x="574" y="530"/>
                  </a:lnTo>
                  <a:lnTo>
                    <a:pt x="554" y="554"/>
                  </a:lnTo>
                  <a:lnTo>
                    <a:pt x="530" y="574"/>
                  </a:lnTo>
                  <a:lnTo>
                    <a:pt x="506" y="594"/>
                  </a:lnTo>
                  <a:lnTo>
                    <a:pt x="478" y="610"/>
                  </a:lnTo>
                  <a:lnTo>
                    <a:pt x="450" y="624"/>
                  </a:lnTo>
                  <a:lnTo>
                    <a:pt x="420" y="634"/>
                  </a:lnTo>
                  <a:lnTo>
                    <a:pt x="390" y="642"/>
                  </a:lnTo>
                  <a:lnTo>
                    <a:pt x="358" y="648"/>
                  </a:lnTo>
                  <a:lnTo>
                    <a:pt x="324" y="650"/>
                  </a:lnTo>
                  <a:lnTo>
                    <a:pt x="324" y="650"/>
                  </a:lnTo>
                  <a:close/>
                  <a:moveTo>
                    <a:pt x="324" y="18"/>
                  </a:moveTo>
                  <a:lnTo>
                    <a:pt x="324" y="18"/>
                  </a:lnTo>
                  <a:lnTo>
                    <a:pt x="292" y="20"/>
                  </a:lnTo>
                  <a:lnTo>
                    <a:pt x="262" y="24"/>
                  </a:lnTo>
                  <a:lnTo>
                    <a:pt x="232" y="32"/>
                  </a:lnTo>
                  <a:lnTo>
                    <a:pt x="204" y="42"/>
                  </a:lnTo>
                  <a:lnTo>
                    <a:pt x="178" y="54"/>
                  </a:lnTo>
                  <a:lnTo>
                    <a:pt x="152" y="70"/>
                  </a:lnTo>
                  <a:lnTo>
                    <a:pt x="128" y="88"/>
                  </a:lnTo>
                  <a:lnTo>
                    <a:pt x="108" y="108"/>
                  </a:lnTo>
                  <a:lnTo>
                    <a:pt x="88" y="130"/>
                  </a:lnTo>
                  <a:lnTo>
                    <a:pt x="70" y="154"/>
                  </a:lnTo>
                  <a:lnTo>
                    <a:pt x="54" y="178"/>
                  </a:lnTo>
                  <a:lnTo>
                    <a:pt x="42" y="206"/>
                  </a:lnTo>
                  <a:lnTo>
                    <a:pt x="32" y="234"/>
                  </a:lnTo>
                  <a:lnTo>
                    <a:pt x="24" y="262"/>
                  </a:lnTo>
                  <a:lnTo>
                    <a:pt x="18" y="294"/>
                  </a:lnTo>
                  <a:lnTo>
                    <a:pt x="18" y="324"/>
                  </a:lnTo>
                  <a:lnTo>
                    <a:pt x="18" y="324"/>
                  </a:lnTo>
                  <a:lnTo>
                    <a:pt x="18" y="356"/>
                  </a:lnTo>
                  <a:lnTo>
                    <a:pt x="24" y="386"/>
                  </a:lnTo>
                  <a:lnTo>
                    <a:pt x="32" y="416"/>
                  </a:lnTo>
                  <a:lnTo>
                    <a:pt x="42" y="444"/>
                  </a:lnTo>
                  <a:lnTo>
                    <a:pt x="54" y="470"/>
                  </a:lnTo>
                  <a:lnTo>
                    <a:pt x="70" y="496"/>
                  </a:lnTo>
                  <a:lnTo>
                    <a:pt x="88" y="520"/>
                  </a:lnTo>
                  <a:lnTo>
                    <a:pt x="108" y="542"/>
                  </a:lnTo>
                  <a:lnTo>
                    <a:pt x="128" y="562"/>
                  </a:lnTo>
                  <a:lnTo>
                    <a:pt x="152" y="578"/>
                  </a:lnTo>
                  <a:lnTo>
                    <a:pt x="178" y="594"/>
                  </a:lnTo>
                  <a:lnTo>
                    <a:pt x="204" y="608"/>
                  </a:lnTo>
                  <a:lnTo>
                    <a:pt x="232" y="618"/>
                  </a:lnTo>
                  <a:lnTo>
                    <a:pt x="262" y="624"/>
                  </a:lnTo>
                  <a:lnTo>
                    <a:pt x="292" y="630"/>
                  </a:lnTo>
                  <a:lnTo>
                    <a:pt x="324" y="632"/>
                  </a:lnTo>
                  <a:lnTo>
                    <a:pt x="324" y="632"/>
                  </a:lnTo>
                  <a:lnTo>
                    <a:pt x="356" y="630"/>
                  </a:lnTo>
                  <a:lnTo>
                    <a:pt x="386" y="624"/>
                  </a:lnTo>
                  <a:lnTo>
                    <a:pt x="416" y="618"/>
                  </a:lnTo>
                  <a:lnTo>
                    <a:pt x="444" y="608"/>
                  </a:lnTo>
                  <a:lnTo>
                    <a:pt x="470" y="594"/>
                  </a:lnTo>
                  <a:lnTo>
                    <a:pt x="496" y="578"/>
                  </a:lnTo>
                  <a:lnTo>
                    <a:pt x="518" y="562"/>
                  </a:lnTo>
                  <a:lnTo>
                    <a:pt x="540" y="542"/>
                  </a:lnTo>
                  <a:lnTo>
                    <a:pt x="560" y="520"/>
                  </a:lnTo>
                  <a:lnTo>
                    <a:pt x="578" y="496"/>
                  </a:lnTo>
                  <a:lnTo>
                    <a:pt x="594" y="470"/>
                  </a:lnTo>
                  <a:lnTo>
                    <a:pt x="606" y="444"/>
                  </a:lnTo>
                  <a:lnTo>
                    <a:pt x="616" y="416"/>
                  </a:lnTo>
                  <a:lnTo>
                    <a:pt x="624" y="386"/>
                  </a:lnTo>
                  <a:lnTo>
                    <a:pt x="630" y="356"/>
                  </a:lnTo>
                  <a:lnTo>
                    <a:pt x="630" y="324"/>
                  </a:lnTo>
                  <a:lnTo>
                    <a:pt x="630" y="324"/>
                  </a:lnTo>
                  <a:lnTo>
                    <a:pt x="630" y="294"/>
                  </a:lnTo>
                  <a:lnTo>
                    <a:pt x="624" y="262"/>
                  </a:lnTo>
                  <a:lnTo>
                    <a:pt x="616" y="234"/>
                  </a:lnTo>
                  <a:lnTo>
                    <a:pt x="606" y="206"/>
                  </a:lnTo>
                  <a:lnTo>
                    <a:pt x="594" y="178"/>
                  </a:lnTo>
                  <a:lnTo>
                    <a:pt x="578" y="154"/>
                  </a:lnTo>
                  <a:lnTo>
                    <a:pt x="560" y="130"/>
                  </a:lnTo>
                  <a:lnTo>
                    <a:pt x="540" y="108"/>
                  </a:lnTo>
                  <a:lnTo>
                    <a:pt x="518" y="88"/>
                  </a:lnTo>
                  <a:lnTo>
                    <a:pt x="496" y="70"/>
                  </a:lnTo>
                  <a:lnTo>
                    <a:pt x="470" y="54"/>
                  </a:lnTo>
                  <a:lnTo>
                    <a:pt x="444" y="42"/>
                  </a:lnTo>
                  <a:lnTo>
                    <a:pt x="416" y="32"/>
                  </a:lnTo>
                  <a:lnTo>
                    <a:pt x="386" y="24"/>
                  </a:lnTo>
                  <a:lnTo>
                    <a:pt x="356" y="20"/>
                  </a:lnTo>
                  <a:lnTo>
                    <a:pt x="324" y="18"/>
                  </a:lnTo>
                  <a:lnTo>
                    <a:pt x="324" y="18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</p:grpSp>
      <p:sp>
        <p:nvSpPr>
          <p:cNvPr id="72" name="TextBox 71">
            <a:extLst>
              <a:ext uri="{FF2B5EF4-FFF2-40B4-BE49-F238E27FC236}">
                <a16:creationId xmlns:a16="http://schemas.microsoft.com/office/drawing/2014/main" id="{09161C9F-3383-4B75-AF0B-464AFA5EF548}"/>
              </a:ext>
            </a:extLst>
          </p:cNvPr>
          <p:cNvSpPr txBox="1"/>
          <p:nvPr/>
        </p:nvSpPr>
        <p:spPr>
          <a:xfrm>
            <a:off x="1219200" y="1707083"/>
            <a:ext cx="4114800" cy="193899"/>
          </a:xfrm>
          <a:prstGeom prst="rect">
            <a:avLst/>
          </a:prstGeom>
          <a:noFill/>
        </p:spPr>
        <p:txBody>
          <a:bodyPr wrap="square" lIns="0" tIns="36576" rIns="0" bIns="0" rtlCol="0" anchor="ctr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ru-RU" sz="1200" i="1" dirty="0">
                <a:solidFill>
                  <a:schemeClr val="bg1"/>
                </a:solidFill>
                <a:latin typeface="+mj-lt"/>
              </a:rPr>
              <a:t>Не требуется таможенное декларирование</a:t>
            </a:r>
            <a:endParaRPr lang="en-US" sz="1200" i="1" dirty="0" err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73" name="Right Brace 72">
            <a:extLst>
              <a:ext uri="{FF2B5EF4-FFF2-40B4-BE49-F238E27FC236}">
                <a16:creationId xmlns:a16="http://schemas.microsoft.com/office/drawing/2014/main" id="{ACEBE63A-3597-4F1E-8F7D-FB490082D3C3}"/>
              </a:ext>
            </a:extLst>
          </p:cNvPr>
          <p:cNvSpPr/>
          <p:nvPr/>
        </p:nvSpPr>
        <p:spPr>
          <a:xfrm>
            <a:off x="7866535" y="3846046"/>
            <a:ext cx="191727" cy="1914600"/>
          </a:xfrm>
          <a:prstGeom prst="rightBrace">
            <a:avLst>
              <a:gd name="adj1" fmla="val 39538"/>
              <a:gd name="adj2" fmla="val 48390"/>
            </a:avLst>
          </a:prstGeom>
          <a:ln w="9525">
            <a:solidFill>
              <a:srgbClr val="47B05E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grpSp>
        <p:nvGrpSpPr>
          <p:cNvPr id="87" name="Group 4">
            <a:extLst>
              <a:ext uri="{FF2B5EF4-FFF2-40B4-BE49-F238E27FC236}">
                <a16:creationId xmlns:a16="http://schemas.microsoft.com/office/drawing/2014/main" id="{3ABE4FF8-8071-4BC8-821C-6ECDE7EF3C6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1289455" y="6325052"/>
            <a:ext cx="326172" cy="301752"/>
            <a:chOff x="6956" y="3983"/>
            <a:chExt cx="187" cy="173"/>
          </a:xfrm>
        </p:grpSpPr>
        <p:sp>
          <p:nvSpPr>
            <p:cNvPr id="88" name="AutoShape 3">
              <a:extLst>
                <a:ext uri="{FF2B5EF4-FFF2-40B4-BE49-F238E27FC236}">
                  <a16:creationId xmlns:a16="http://schemas.microsoft.com/office/drawing/2014/main" id="{6E01BFB2-48C5-409F-B5F6-390E45440494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6956" y="3983"/>
              <a:ext cx="187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5">
              <a:extLst>
                <a:ext uri="{FF2B5EF4-FFF2-40B4-BE49-F238E27FC236}">
                  <a16:creationId xmlns:a16="http://schemas.microsoft.com/office/drawing/2014/main" id="{D47FE504-6956-4D8F-A8C5-B4140F566A9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6" y="3983"/>
              <a:ext cx="187" cy="173"/>
            </a:xfrm>
            <a:custGeom>
              <a:avLst/>
              <a:gdLst>
                <a:gd name="T0" fmla="*/ 1683 w 1683"/>
                <a:gd name="T1" fmla="*/ 0 h 1557"/>
                <a:gd name="T2" fmla="*/ 1683 w 1683"/>
                <a:gd name="T3" fmla="*/ 1557 h 1557"/>
                <a:gd name="T4" fmla="*/ 0 w 1683"/>
                <a:gd name="T5" fmla="*/ 1557 h 1557"/>
                <a:gd name="T6" fmla="*/ 1683 w 1683"/>
                <a:gd name="T7" fmla="*/ 0 h 15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83" h="1557">
                  <a:moveTo>
                    <a:pt x="1683" y="0"/>
                  </a:moveTo>
                  <a:lnTo>
                    <a:pt x="1683" y="1557"/>
                  </a:lnTo>
                  <a:lnTo>
                    <a:pt x="0" y="1557"/>
                  </a:lnTo>
                  <a:lnTo>
                    <a:pt x="1683" y="0"/>
                  </a:lnTo>
                  <a:close/>
                </a:path>
              </a:pathLst>
            </a:custGeom>
            <a:solidFill>
              <a:srgbClr val="46AC4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6">
              <a:extLst>
                <a:ext uri="{FF2B5EF4-FFF2-40B4-BE49-F238E27FC236}">
                  <a16:creationId xmlns:a16="http://schemas.microsoft.com/office/drawing/2014/main" id="{707F1D62-CB98-467F-8389-5D17B411EB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03" y="3983"/>
              <a:ext cx="40" cy="173"/>
            </a:xfrm>
            <a:custGeom>
              <a:avLst/>
              <a:gdLst>
                <a:gd name="T0" fmla="*/ 360 w 360"/>
                <a:gd name="T1" fmla="*/ 0 h 1557"/>
                <a:gd name="T2" fmla="*/ 360 w 360"/>
                <a:gd name="T3" fmla="*/ 1557 h 1557"/>
                <a:gd name="T4" fmla="*/ 0 w 360"/>
                <a:gd name="T5" fmla="*/ 1557 h 1557"/>
                <a:gd name="T6" fmla="*/ 0 w 360"/>
                <a:gd name="T7" fmla="*/ 333 h 1557"/>
                <a:gd name="T8" fmla="*/ 360 w 360"/>
                <a:gd name="T9" fmla="*/ 0 h 15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0" h="1557">
                  <a:moveTo>
                    <a:pt x="360" y="0"/>
                  </a:moveTo>
                  <a:lnTo>
                    <a:pt x="360" y="1557"/>
                  </a:lnTo>
                  <a:lnTo>
                    <a:pt x="0" y="1557"/>
                  </a:lnTo>
                  <a:lnTo>
                    <a:pt x="0" y="333"/>
                  </a:lnTo>
                  <a:lnTo>
                    <a:pt x="360" y="0"/>
                  </a:lnTo>
                  <a:close/>
                </a:path>
              </a:pathLst>
            </a:custGeom>
            <a:solidFill>
              <a:srgbClr val="4440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7">
              <a:extLst>
                <a:ext uri="{FF2B5EF4-FFF2-40B4-BE49-F238E27FC236}">
                  <a16:creationId xmlns:a16="http://schemas.microsoft.com/office/drawing/2014/main" id="{2B833516-336B-4895-86B6-469A988DECE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956" y="3987"/>
              <a:ext cx="126" cy="169"/>
            </a:xfrm>
            <a:custGeom>
              <a:avLst/>
              <a:gdLst>
                <a:gd name="T0" fmla="*/ 617 w 1134"/>
                <a:gd name="T1" fmla="*/ 553 h 1524"/>
                <a:gd name="T2" fmla="*/ 642 w 1134"/>
                <a:gd name="T3" fmla="*/ 553 h 1524"/>
                <a:gd name="T4" fmla="*/ 692 w 1134"/>
                <a:gd name="T5" fmla="*/ 556 h 1524"/>
                <a:gd name="T6" fmla="*/ 742 w 1134"/>
                <a:gd name="T7" fmla="*/ 561 h 1524"/>
                <a:gd name="T8" fmla="*/ 791 w 1134"/>
                <a:gd name="T9" fmla="*/ 571 h 1524"/>
                <a:gd name="T10" fmla="*/ 815 w 1134"/>
                <a:gd name="T11" fmla="*/ 576 h 1524"/>
                <a:gd name="T12" fmla="*/ 858 w 1134"/>
                <a:gd name="T13" fmla="*/ 590 h 1524"/>
                <a:gd name="T14" fmla="*/ 900 w 1134"/>
                <a:gd name="T15" fmla="*/ 608 h 1524"/>
                <a:gd name="T16" fmla="*/ 940 w 1134"/>
                <a:gd name="T17" fmla="*/ 629 h 1524"/>
                <a:gd name="T18" fmla="*/ 978 w 1134"/>
                <a:gd name="T19" fmla="*/ 654 h 1524"/>
                <a:gd name="T20" fmla="*/ 997 w 1134"/>
                <a:gd name="T21" fmla="*/ 669 h 1524"/>
                <a:gd name="T22" fmla="*/ 1031 w 1134"/>
                <a:gd name="T23" fmla="*/ 703 h 1524"/>
                <a:gd name="T24" fmla="*/ 1061 w 1134"/>
                <a:gd name="T25" fmla="*/ 741 h 1524"/>
                <a:gd name="T26" fmla="*/ 1084 w 1134"/>
                <a:gd name="T27" fmla="*/ 783 h 1524"/>
                <a:gd name="T28" fmla="*/ 1093 w 1134"/>
                <a:gd name="T29" fmla="*/ 806 h 1524"/>
                <a:gd name="T30" fmla="*/ 1111 w 1134"/>
                <a:gd name="T31" fmla="*/ 857 h 1524"/>
                <a:gd name="T32" fmla="*/ 1123 w 1134"/>
                <a:gd name="T33" fmla="*/ 913 h 1524"/>
                <a:gd name="T34" fmla="*/ 1132 w 1134"/>
                <a:gd name="T35" fmla="*/ 974 h 1524"/>
                <a:gd name="T36" fmla="*/ 1134 w 1134"/>
                <a:gd name="T37" fmla="*/ 1039 h 1524"/>
                <a:gd name="T38" fmla="*/ 1134 w 1134"/>
                <a:gd name="T39" fmla="*/ 1072 h 1524"/>
                <a:gd name="T40" fmla="*/ 1129 w 1134"/>
                <a:gd name="T41" fmla="*/ 1135 h 1524"/>
                <a:gd name="T42" fmla="*/ 1118 w 1134"/>
                <a:gd name="T43" fmla="*/ 1193 h 1524"/>
                <a:gd name="T44" fmla="*/ 1102 w 1134"/>
                <a:gd name="T45" fmla="*/ 1246 h 1524"/>
                <a:gd name="T46" fmla="*/ 1093 w 1134"/>
                <a:gd name="T47" fmla="*/ 1271 h 1524"/>
                <a:gd name="T48" fmla="*/ 1072 w 1134"/>
                <a:gd name="T49" fmla="*/ 1315 h 1524"/>
                <a:gd name="T50" fmla="*/ 1046 w 1134"/>
                <a:gd name="T51" fmla="*/ 1355 h 1524"/>
                <a:gd name="T52" fmla="*/ 1015 w 1134"/>
                <a:gd name="T53" fmla="*/ 1392 h 1524"/>
                <a:gd name="T54" fmla="*/ 978 w 1134"/>
                <a:gd name="T55" fmla="*/ 1423 h 1524"/>
                <a:gd name="T56" fmla="*/ 959 w 1134"/>
                <a:gd name="T57" fmla="*/ 1436 h 1524"/>
                <a:gd name="T58" fmla="*/ 920 w 1134"/>
                <a:gd name="T59" fmla="*/ 1459 h 1524"/>
                <a:gd name="T60" fmla="*/ 879 w 1134"/>
                <a:gd name="T61" fmla="*/ 1479 h 1524"/>
                <a:gd name="T62" fmla="*/ 836 w 1134"/>
                <a:gd name="T63" fmla="*/ 1494 h 1524"/>
                <a:gd name="T64" fmla="*/ 815 w 1134"/>
                <a:gd name="T65" fmla="*/ 1500 h 1524"/>
                <a:gd name="T66" fmla="*/ 766 w 1134"/>
                <a:gd name="T67" fmla="*/ 1511 h 1524"/>
                <a:gd name="T68" fmla="*/ 717 w 1134"/>
                <a:gd name="T69" fmla="*/ 1519 h 1524"/>
                <a:gd name="T70" fmla="*/ 667 w 1134"/>
                <a:gd name="T71" fmla="*/ 1523 h 1524"/>
                <a:gd name="T72" fmla="*/ 617 w 1134"/>
                <a:gd name="T73" fmla="*/ 1524 h 1524"/>
                <a:gd name="T74" fmla="*/ 0 w 1134"/>
                <a:gd name="T75" fmla="*/ 0 h 1524"/>
                <a:gd name="T76" fmla="*/ 1020 w 1134"/>
                <a:gd name="T77" fmla="*/ 342 h 1524"/>
                <a:gd name="T78" fmla="*/ 342 w 1134"/>
                <a:gd name="T79" fmla="*/ 553 h 1524"/>
                <a:gd name="T80" fmla="*/ 616 w 1134"/>
                <a:gd name="T81" fmla="*/ 1207 h 1524"/>
                <a:gd name="T82" fmla="*/ 636 w 1134"/>
                <a:gd name="T83" fmla="*/ 1207 h 1524"/>
                <a:gd name="T84" fmla="*/ 670 w 1134"/>
                <a:gd name="T85" fmla="*/ 1202 h 1524"/>
                <a:gd name="T86" fmla="*/ 701 w 1134"/>
                <a:gd name="T87" fmla="*/ 1193 h 1524"/>
                <a:gd name="T88" fmla="*/ 726 w 1134"/>
                <a:gd name="T89" fmla="*/ 1178 h 1524"/>
                <a:gd name="T90" fmla="*/ 746 w 1134"/>
                <a:gd name="T91" fmla="*/ 1158 h 1524"/>
                <a:gd name="T92" fmla="*/ 760 w 1134"/>
                <a:gd name="T93" fmla="*/ 1134 h 1524"/>
                <a:gd name="T94" fmla="*/ 770 w 1134"/>
                <a:gd name="T95" fmla="*/ 1106 h 1524"/>
                <a:gd name="T96" fmla="*/ 775 w 1134"/>
                <a:gd name="T97" fmla="*/ 1071 h 1524"/>
                <a:gd name="T98" fmla="*/ 776 w 1134"/>
                <a:gd name="T99" fmla="*/ 1052 h 1524"/>
                <a:gd name="T100" fmla="*/ 773 w 1134"/>
                <a:gd name="T101" fmla="*/ 1017 h 1524"/>
                <a:gd name="T102" fmla="*/ 766 w 1134"/>
                <a:gd name="T103" fmla="*/ 985 h 1524"/>
                <a:gd name="T104" fmla="*/ 753 w 1134"/>
                <a:gd name="T105" fmla="*/ 958 h 1524"/>
                <a:gd name="T106" fmla="*/ 736 w 1134"/>
                <a:gd name="T107" fmla="*/ 936 h 1524"/>
                <a:gd name="T108" fmla="*/ 713 w 1134"/>
                <a:gd name="T109" fmla="*/ 919 h 1524"/>
                <a:gd name="T110" fmla="*/ 686 w 1134"/>
                <a:gd name="T111" fmla="*/ 907 h 1524"/>
                <a:gd name="T112" fmla="*/ 654 w 1134"/>
                <a:gd name="T113" fmla="*/ 900 h 1524"/>
                <a:gd name="T114" fmla="*/ 616 w 1134"/>
                <a:gd name="T115" fmla="*/ 897 h 1524"/>
                <a:gd name="T116" fmla="*/ 342 w 1134"/>
                <a:gd name="T117" fmla="*/ 1207 h 1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134" h="1524">
                  <a:moveTo>
                    <a:pt x="342" y="553"/>
                  </a:moveTo>
                  <a:lnTo>
                    <a:pt x="617" y="553"/>
                  </a:lnTo>
                  <a:lnTo>
                    <a:pt x="617" y="553"/>
                  </a:lnTo>
                  <a:lnTo>
                    <a:pt x="642" y="553"/>
                  </a:lnTo>
                  <a:lnTo>
                    <a:pt x="667" y="554"/>
                  </a:lnTo>
                  <a:lnTo>
                    <a:pt x="692" y="556"/>
                  </a:lnTo>
                  <a:lnTo>
                    <a:pt x="717" y="558"/>
                  </a:lnTo>
                  <a:lnTo>
                    <a:pt x="742" y="561"/>
                  </a:lnTo>
                  <a:lnTo>
                    <a:pt x="766" y="566"/>
                  </a:lnTo>
                  <a:lnTo>
                    <a:pt x="791" y="571"/>
                  </a:lnTo>
                  <a:lnTo>
                    <a:pt x="815" y="576"/>
                  </a:lnTo>
                  <a:lnTo>
                    <a:pt x="815" y="576"/>
                  </a:lnTo>
                  <a:lnTo>
                    <a:pt x="837" y="582"/>
                  </a:lnTo>
                  <a:lnTo>
                    <a:pt x="858" y="590"/>
                  </a:lnTo>
                  <a:lnTo>
                    <a:pt x="880" y="598"/>
                  </a:lnTo>
                  <a:lnTo>
                    <a:pt x="900" y="608"/>
                  </a:lnTo>
                  <a:lnTo>
                    <a:pt x="920" y="618"/>
                  </a:lnTo>
                  <a:lnTo>
                    <a:pt x="940" y="629"/>
                  </a:lnTo>
                  <a:lnTo>
                    <a:pt x="959" y="641"/>
                  </a:lnTo>
                  <a:lnTo>
                    <a:pt x="978" y="654"/>
                  </a:lnTo>
                  <a:lnTo>
                    <a:pt x="978" y="654"/>
                  </a:lnTo>
                  <a:lnTo>
                    <a:pt x="997" y="669"/>
                  </a:lnTo>
                  <a:lnTo>
                    <a:pt x="1015" y="685"/>
                  </a:lnTo>
                  <a:lnTo>
                    <a:pt x="1031" y="703"/>
                  </a:lnTo>
                  <a:lnTo>
                    <a:pt x="1047" y="722"/>
                  </a:lnTo>
                  <a:lnTo>
                    <a:pt x="1061" y="741"/>
                  </a:lnTo>
                  <a:lnTo>
                    <a:pt x="1073" y="762"/>
                  </a:lnTo>
                  <a:lnTo>
                    <a:pt x="1084" y="783"/>
                  </a:lnTo>
                  <a:lnTo>
                    <a:pt x="1093" y="806"/>
                  </a:lnTo>
                  <a:lnTo>
                    <a:pt x="1093" y="806"/>
                  </a:lnTo>
                  <a:lnTo>
                    <a:pt x="1102" y="831"/>
                  </a:lnTo>
                  <a:lnTo>
                    <a:pt x="1111" y="857"/>
                  </a:lnTo>
                  <a:lnTo>
                    <a:pt x="1118" y="884"/>
                  </a:lnTo>
                  <a:lnTo>
                    <a:pt x="1123" y="913"/>
                  </a:lnTo>
                  <a:lnTo>
                    <a:pt x="1129" y="942"/>
                  </a:lnTo>
                  <a:lnTo>
                    <a:pt x="1132" y="974"/>
                  </a:lnTo>
                  <a:lnTo>
                    <a:pt x="1134" y="1005"/>
                  </a:lnTo>
                  <a:lnTo>
                    <a:pt x="1134" y="1039"/>
                  </a:lnTo>
                  <a:lnTo>
                    <a:pt x="1134" y="1039"/>
                  </a:lnTo>
                  <a:lnTo>
                    <a:pt x="1134" y="1072"/>
                  </a:lnTo>
                  <a:lnTo>
                    <a:pt x="1132" y="1104"/>
                  </a:lnTo>
                  <a:lnTo>
                    <a:pt x="1129" y="1135"/>
                  </a:lnTo>
                  <a:lnTo>
                    <a:pt x="1123" y="1164"/>
                  </a:lnTo>
                  <a:lnTo>
                    <a:pt x="1118" y="1193"/>
                  </a:lnTo>
                  <a:lnTo>
                    <a:pt x="1111" y="1220"/>
                  </a:lnTo>
                  <a:lnTo>
                    <a:pt x="1102" y="1246"/>
                  </a:lnTo>
                  <a:lnTo>
                    <a:pt x="1093" y="1271"/>
                  </a:lnTo>
                  <a:lnTo>
                    <a:pt x="1093" y="1271"/>
                  </a:lnTo>
                  <a:lnTo>
                    <a:pt x="1084" y="1293"/>
                  </a:lnTo>
                  <a:lnTo>
                    <a:pt x="1072" y="1315"/>
                  </a:lnTo>
                  <a:lnTo>
                    <a:pt x="1061" y="1335"/>
                  </a:lnTo>
                  <a:lnTo>
                    <a:pt x="1046" y="1355"/>
                  </a:lnTo>
                  <a:lnTo>
                    <a:pt x="1031" y="1374"/>
                  </a:lnTo>
                  <a:lnTo>
                    <a:pt x="1015" y="1392"/>
                  </a:lnTo>
                  <a:lnTo>
                    <a:pt x="997" y="1408"/>
                  </a:lnTo>
                  <a:lnTo>
                    <a:pt x="978" y="1423"/>
                  </a:lnTo>
                  <a:lnTo>
                    <a:pt x="978" y="1423"/>
                  </a:lnTo>
                  <a:lnTo>
                    <a:pt x="959" y="1436"/>
                  </a:lnTo>
                  <a:lnTo>
                    <a:pt x="940" y="1447"/>
                  </a:lnTo>
                  <a:lnTo>
                    <a:pt x="920" y="1459"/>
                  </a:lnTo>
                  <a:lnTo>
                    <a:pt x="900" y="1469"/>
                  </a:lnTo>
                  <a:lnTo>
                    <a:pt x="879" y="1479"/>
                  </a:lnTo>
                  <a:lnTo>
                    <a:pt x="858" y="1486"/>
                  </a:lnTo>
                  <a:lnTo>
                    <a:pt x="836" y="1494"/>
                  </a:lnTo>
                  <a:lnTo>
                    <a:pt x="815" y="1500"/>
                  </a:lnTo>
                  <a:lnTo>
                    <a:pt x="815" y="1500"/>
                  </a:lnTo>
                  <a:lnTo>
                    <a:pt x="790" y="1506"/>
                  </a:lnTo>
                  <a:lnTo>
                    <a:pt x="766" y="1511"/>
                  </a:lnTo>
                  <a:lnTo>
                    <a:pt x="742" y="1516"/>
                  </a:lnTo>
                  <a:lnTo>
                    <a:pt x="717" y="1519"/>
                  </a:lnTo>
                  <a:lnTo>
                    <a:pt x="691" y="1521"/>
                  </a:lnTo>
                  <a:lnTo>
                    <a:pt x="667" y="1523"/>
                  </a:lnTo>
                  <a:lnTo>
                    <a:pt x="642" y="1524"/>
                  </a:lnTo>
                  <a:lnTo>
                    <a:pt x="617" y="1524"/>
                  </a:lnTo>
                  <a:lnTo>
                    <a:pt x="0" y="1524"/>
                  </a:lnTo>
                  <a:lnTo>
                    <a:pt x="0" y="0"/>
                  </a:lnTo>
                  <a:lnTo>
                    <a:pt x="1020" y="0"/>
                  </a:lnTo>
                  <a:lnTo>
                    <a:pt x="1020" y="342"/>
                  </a:lnTo>
                  <a:lnTo>
                    <a:pt x="342" y="342"/>
                  </a:lnTo>
                  <a:lnTo>
                    <a:pt x="342" y="553"/>
                  </a:lnTo>
                  <a:close/>
                  <a:moveTo>
                    <a:pt x="342" y="1207"/>
                  </a:moveTo>
                  <a:lnTo>
                    <a:pt x="616" y="1207"/>
                  </a:lnTo>
                  <a:lnTo>
                    <a:pt x="616" y="1207"/>
                  </a:lnTo>
                  <a:lnTo>
                    <a:pt x="636" y="1207"/>
                  </a:lnTo>
                  <a:lnTo>
                    <a:pt x="654" y="1205"/>
                  </a:lnTo>
                  <a:lnTo>
                    <a:pt x="670" y="1202"/>
                  </a:lnTo>
                  <a:lnTo>
                    <a:pt x="686" y="1198"/>
                  </a:lnTo>
                  <a:lnTo>
                    <a:pt x="701" y="1193"/>
                  </a:lnTo>
                  <a:lnTo>
                    <a:pt x="713" y="1185"/>
                  </a:lnTo>
                  <a:lnTo>
                    <a:pt x="726" y="1178"/>
                  </a:lnTo>
                  <a:lnTo>
                    <a:pt x="736" y="1169"/>
                  </a:lnTo>
                  <a:lnTo>
                    <a:pt x="746" y="1158"/>
                  </a:lnTo>
                  <a:lnTo>
                    <a:pt x="753" y="1147"/>
                  </a:lnTo>
                  <a:lnTo>
                    <a:pt x="760" y="1134"/>
                  </a:lnTo>
                  <a:lnTo>
                    <a:pt x="766" y="1120"/>
                  </a:lnTo>
                  <a:lnTo>
                    <a:pt x="770" y="1106"/>
                  </a:lnTo>
                  <a:lnTo>
                    <a:pt x="773" y="1089"/>
                  </a:lnTo>
                  <a:lnTo>
                    <a:pt x="775" y="1071"/>
                  </a:lnTo>
                  <a:lnTo>
                    <a:pt x="776" y="1052"/>
                  </a:lnTo>
                  <a:lnTo>
                    <a:pt x="776" y="1052"/>
                  </a:lnTo>
                  <a:lnTo>
                    <a:pt x="775" y="1033"/>
                  </a:lnTo>
                  <a:lnTo>
                    <a:pt x="773" y="1017"/>
                  </a:lnTo>
                  <a:lnTo>
                    <a:pt x="770" y="1000"/>
                  </a:lnTo>
                  <a:lnTo>
                    <a:pt x="766" y="985"/>
                  </a:lnTo>
                  <a:lnTo>
                    <a:pt x="760" y="970"/>
                  </a:lnTo>
                  <a:lnTo>
                    <a:pt x="753" y="958"/>
                  </a:lnTo>
                  <a:lnTo>
                    <a:pt x="746" y="946"/>
                  </a:lnTo>
                  <a:lnTo>
                    <a:pt x="736" y="936"/>
                  </a:lnTo>
                  <a:lnTo>
                    <a:pt x="726" y="927"/>
                  </a:lnTo>
                  <a:lnTo>
                    <a:pt x="713" y="919"/>
                  </a:lnTo>
                  <a:lnTo>
                    <a:pt x="701" y="913"/>
                  </a:lnTo>
                  <a:lnTo>
                    <a:pt x="686" y="907"/>
                  </a:lnTo>
                  <a:lnTo>
                    <a:pt x="670" y="903"/>
                  </a:lnTo>
                  <a:lnTo>
                    <a:pt x="654" y="900"/>
                  </a:lnTo>
                  <a:lnTo>
                    <a:pt x="636" y="898"/>
                  </a:lnTo>
                  <a:lnTo>
                    <a:pt x="616" y="897"/>
                  </a:lnTo>
                  <a:lnTo>
                    <a:pt x="342" y="897"/>
                  </a:lnTo>
                  <a:lnTo>
                    <a:pt x="342" y="1207"/>
                  </a:lnTo>
                  <a:close/>
                </a:path>
              </a:pathLst>
            </a:custGeom>
            <a:solidFill>
              <a:srgbClr val="4440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92" name="Group 114">
            <a:extLst>
              <a:ext uri="{FF2B5EF4-FFF2-40B4-BE49-F238E27FC236}">
                <a16:creationId xmlns:a16="http://schemas.microsoft.com/office/drawing/2014/main" id="{C2A533D5-6BE3-4BB5-9CF0-9EB82F67424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805427" y="1676400"/>
            <a:ext cx="298416" cy="296607"/>
            <a:chOff x="1891" y="2995"/>
            <a:chExt cx="660" cy="656"/>
          </a:xfrm>
        </p:grpSpPr>
        <p:sp>
          <p:nvSpPr>
            <p:cNvPr id="93" name="AutoShape 113">
              <a:extLst>
                <a:ext uri="{FF2B5EF4-FFF2-40B4-BE49-F238E27FC236}">
                  <a16:creationId xmlns:a16="http://schemas.microsoft.com/office/drawing/2014/main" id="{F4BB62E5-6F5C-4F02-936B-6C54E7D8355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891" y="2995"/>
              <a:ext cx="660" cy="6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94" name="Freeform 115">
              <a:extLst>
                <a:ext uri="{FF2B5EF4-FFF2-40B4-BE49-F238E27FC236}">
                  <a16:creationId xmlns:a16="http://schemas.microsoft.com/office/drawing/2014/main" id="{519A3361-BC1F-4B1F-85E5-666F11D1671C}"/>
                </a:ext>
              </a:extLst>
            </p:cNvPr>
            <p:cNvSpPr>
              <a:spLocks/>
            </p:cNvSpPr>
            <p:nvPr/>
          </p:nvSpPr>
          <p:spPr bwMode="auto">
            <a:xfrm>
              <a:off x="2027" y="2995"/>
              <a:ext cx="132" cy="600"/>
            </a:xfrm>
            <a:custGeom>
              <a:avLst/>
              <a:gdLst>
                <a:gd name="T0" fmla="*/ 18 w 132"/>
                <a:gd name="T1" fmla="*/ 600 h 600"/>
                <a:gd name="T2" fmla="*/ 0 w 132"/>
                <a:gd name="T3" fmla="*/ 600 h 600"/>
                <a:gd name="T4" fmla="*/ 0 w 132"/>
                <a:gd name="T5" fmla="*/ 62 h 600"/>
                <a:gd name="T6" fmla="*/ 0 w 132"/>
                <a:gd name="T7" fmla="*/ 62 h 600"/>
                <a:gd name="T8" fmla="*/ 0 w 132"/>
                <a:gd name="T9" fmla="*/ 50 h 600"/>
                <a:gd name="T10" fmla="*/ 6 w 132"/>
                <a:gd name="T11" fmla="*/ 38 h 600"/>
                <a:gd name="T12" fmla="*/ 12 w 132"/>
                <a:gd name="T13" fmla="*/ 28 h 600"/>
                <a:gd name="T14" fmla="*/ 20 w 132"/>
                <a:gd name="T15" fmla="*/ 18 h 600"/>
                <a:gd name="T16" fmla="*/ 30 w 132"/>
                <a:gd name="T17" fmla="*/ 10 h 600"/>
                <a:gd name="T18" fmla="*/ 42 w 132"/>
                <a:gd name="T19" fmla="*/ 6 h 600"/>
                <a:gd name="T20" fmla="*/ 52 w 132"/>
                <a:gd name="T21" fmla="*/ 2 h 600"/>
                <a:gd name="T22" fmla="*/ 64 w 132"/>
                <a:gd name="T23" fmla="*/ 0 h 600"/>
                <a:gd name="T24" fmla="*/ 64 w 132"/>
                <a:gd name="T25" fmla="*/ 0 h 600"/>
                <a:gd name="T26" fmla="*/ 74 w 132"/>
                <a:gd name="T27" fmla="*/ 2 h 600"/>
                <a:gd name="T28" fmla="*/ 86 w 132"/>
                <a:gd name="T29" fmla="*/ 6 h 600"/>
                <a:gd name="T30" fmla="*/ 96 w 132"/>
                <a:gd name="T31" fmla="*/ 10 h 600"/>
                <a:gd name="T32" fmla="*/ 108 w 132"/>
                <a:gd name="T33" fmla="*/ 18 h 600"/>
                <a:gd name="T34" fmla="*/ 118 w 132"/>
                <a:gd name="T35" fmla="*/ 26 h 600"/>
                <a:gd name="T36" fmla="*/ 124 w 132"/>
                <a:gd name="T37" fmla="*/ 38 h 600"/>
                <a:gd name="T38" fmla="*/ 130 w 132"/>
                <a:gd name="T39" fmla="*/ 50 h 600"/>
                <a:gd name="T40" fmla="*/ 132 w 132"/>
                <a:gd name="T41" fmla="*/ 62 h 600"/>
                <a:gd name="T42" fmla="*/ 132 w 132"/>
                <a:gd name="T43" fmla="*/ 92 h 600"/>
                <a:gd name="T44" fmla="*/ 114 w 132"/>
                <a:gd name="T45" fmla="*/ 92 h 600"/>
                <a:gd name="T46" fmla="*/ 114 w 132"/>
                <a:gd name="T47" fmla="*/ 62 h 600"/>
                <a:gd name="T48" fmla="*/ 114 w 132"/>
                <a:gd name="T49" fmla="*/ 62 h 600"/>
                <a:gd name="T50" fmla="*/ 112 w 132"/>
                <a:gd name="T51" fmla="*/ 54 h 600"/>
                <a:gd name="T52" fmla="*/ 108 w 132"/>
                <a:gd name="T53" fmla="*/ 46 h 600"/>
                <a:gd name="T54" fmla="*/ 102 w 132"/>
                <a:gd name="T55" fmla="*/ 38 h 600"/>
                <a:gd name="T56" fmla="*/ 96 w 132"/>
                <a:gd name="T57" fmla="*/ 32 h 600"/>
                <a:gd name="T58" fmla="*/ 88 w 132"/>
                <a:gd name="T59" fmla="*/ 26 h 600"/>
                <a:gd name="T60" fmla="*/ 80 w 132"/>
                <a:gd name="T61" fmla="*/ 22 h 600"/>
                <a:gd name="T62" fmla="*/ 72 w 132"/>
                <a:gd name="T63" fmla="*/ 20 h 600"/>
                <a:gd name="T64" fmla="*/ 64 w 132"/>
                <a:gd name="T65" fmla="*/ 18 h 600"/>
                <a:gd name="T66" fmla="*/ 64 w 132"/>
                <a:gd name="T67" fmla="*/ 18 h 600"/>
                <a:gd name="T68" fmla="*/ 56 w 132"/>
                <a:gd name="T69" fmla="*/ 20 h 600"/>
                <a:gd name="T70" fmla="*/ 48 w 132"/>
                <a:gd name="T71" fmla="*/ 22 h 600"/>
                <a:gd name="T72" fmla="*/ 40 w 132"/>
                <a:gd name="T73" fmla="*/ 26 h 600"/>
                <a:gd name="T74" fmla="*/ 34 w 132"/>
                <a:gd name="T75" fmla="*/ 32 h 600"/>
                <a:gd name="T76" fmla="*/ 26 w 132"/>
                <a:gd name="T77" fmla="*/ 38 h 600"/>
                <a:gd name="T78" fmla="*/ 22 w 132"/>
                <a:gd name="T79" fmla="*/ 44 h 600"/>
                <a:gd name="T80" fmla="*/ 18 w 132"/>
                <a:gd name="T81" fmla="*/ 52 h 600"/>
                <a:gd name="T82" fmla="*/ 18 w 132"/>
                <a:gd name="T83" fmla="*/ 62 h 600"/>
                <a:gd name="T84" fmla="*/ 18 w 132"/>
                <a:gd name="T85" fmla="*/ 600 h 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32" h="600">
                  <a:moveTo>
                    <a:pt x="18" y="600"/>
                  </a:moveTo>
                  <a:lnTo>
                    <a:pt x="0" y="600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0" y="50"/>
                  </a:lnTo>
                  <a:lnTo>
                    <a:pt x="6" y="38"/>
                  </a:lnTo>
                  <a:lnTo>
                    <a:pt x="12" y="28"/>
                  </a:lnTo>
                  <a:lnTo>
                    <a:pt x="20" y="18"/>
                  </a:lnTo>
                  <a:lnTo>
                    <a:pt x="30" y="10"/>
                  </a:lnTo>
                  <a:lnTo>
                    <a:pt x="42" y="6"/>
                  </a:lnTo>
                  <a:lnTo>
                    <a:pt x="52" y="2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74" y="2"/>
                  </a:lnTo>
                  <a:lnTo>
                    <a:pt x="86" y="6"/>
                  </a:lnTo>
                  <a:lnTo>
                    <a:pt x="96" y="10"/>
                  </a:lnTo>
                  <a:lnTo>
                    <a:pt x="108" y="18"/>
                  </a:lnTo>
                  <a:lnTo>
                    <a:pt x="118" y="26"/>
                  </a:lnTo>
                  <a:lnTo>
                    <a:pt x="124" y="38"/>
                  </a:lnTo>
                  <a:lnTo>
                    <a:pt x="130" y="50"/>
                  </a:lnTo>
                  <a:lnTo>
                    <a:pt x="132" y="62"/>
                  </a:lnTo>
                  <a:lnTo>
                    <a:pt x="132" y="92"/>
                  </a:lnTo>
                  <a:lnTo>
                    <a:pt x="114" y="92"/>
                  </a:lnTo>
                  <a:lnTo>
                    <a:pt x="114" y="62"/>
                  </a:lnTo>
                  <a:lnTo>
                    <a:pt x="114" y="62"/>
                  </a:lnTo>
                  <a:lnTo>
                    <a:pt x="112" y="54"/>
                  </a:lnTo>
                  <a:lnTo>
                    <a:pt x="108" y="46"/>
                  </a:lnTo>
                  <a:lnTo>
                    <a:pt x="102" y="38"/>
                  </a:lnTo>
                  <a:lnTo>
                    <a:pt x="96" y="32"/>
                  </a:lnTo>
                  <a:lnTo>
                    <a:pt x="88" y="26"/>
                  </a:lnTo>
                  <a:lnTo>
                    <a:pt x="80" y="22"/>
                  </a:lnTo>
                  <a:lnTo>
                    <a:pt x="72" y="20"/>
                  </a:lnTo>
                  <a:lnTo>
                    <a:pt x="64" y="18"/>
                  </a:lnTo>
                  <a:lnTo>
                    <a:pt x="64" y="18"/>
                  </a:lnTo>
                  <a:lnTo>
                    <a:pt x="56" y="20"/>
                  </a:lnTo>
                  <a:lnTo>
                    <a:pt x="48" y="22"/>
                  </a:lnTo>
                  <a:lnTo>
                    <a:pt x="40" y="26"/>
                  </a:lnTo>
                  <a:lnTo>
                    <a:pt x="34" y="32"/>
                  </a:lnTo>
                  <a:lnTo>
                    <a:pt x="26" y="38"/>
                  </a:lnTo>
                  <a:lnTo>
                    <a:pt x="22" y="44"/>
                  </a:lnTo>
                  <a:lnTo>
                    <a:pt x="18" y="52"/>
                  </a:lnTo>
                  <a:lnTo>
                    <a:pt x="18" y="62"/>
                  </a:lnTo>
                  <a:lnTo>
                    <a:pt x="18" y="60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95" name="Freeform 116">
              <a:extLst>
                <a:ext uri="{FF2B5EF4-FFF2-40B4-BE49-F238E27FC236}">
                  <a16:creationId xmlns:a16="http://schemas.microsoft.com/office/drawing/2014/main" id="{63B44703-28FC-46E9-BE45-0D799DD7F2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083" y="2995"/>
              <a:ext cx="468" cy="100"/>
            </a:xfrm>
            <a:custGeom>
              <a:avLst/>
              <a:gdLst>
                <a:gd name="T0" fmla="*/ 468 w 468"/>
                <a:gd name="T1" fmla="*/ 100 h 100"/>
                <a:gd name="T2" fmla="*/ 66 w 468"/>
                <a:gd name="T3" fmla="*/ 100 h 100"/>
                <a:gd name="T4" fmla="*/ 66 w 468"/>
                <a:gd name="T5" fmla="*/ 100 h 100"/>
                <a:gd name="T6" fmla="*/ 64 w 468"/>
                <a:gd name="T7" fmla="*/ 100 h 100"/>
                <a:gd name="T8" fmla="*/ 60 w 468"/>
                <a:gd name="T9" fmla="*/ 98 h 100"/>
                <a:gd name="T10" fmla="*/ 58 w 468"/>
                <a:gd name="T11" fmla="*/ 96 h 100"/>
                <a:gd name="T12" fmla="*/ 58 w 468"/>
                <a:gd name="T13" fmla="*/ 92 h 100"/>
                <a:gd name="T14" fmla="*/ 58 w 468"/>
                <a:gd name="T15" fmla="*/ 92 h 100"/>
                <a:gd name="T16" fmla="*/ 58 w 468"/>
                <a:gd name="T17" fmla="*/ 88 h 100"/>
                <a:gd name="T18" fmla="*/ 60 w 468"/>
                <a:gd name="T19" fmla="*/ 86 h 100"/>
                <a:gd name="T20" fmla="*/ 64 w 468"/>
                <a:gd name="T21" fmla="*/ 84 h 100"/>
                <a:gd name="T22" fmla="*/ 66 w 468"/>
                <a:gd name="T23" fmla="*/ 82 h 100"/>
                <a:gd name="T24" fmla="*/ 450 w 468"/>
                <a:gd name="T25" fmla="*/ 82 h 100"/>
                <a:gd name="T26" fmla="*/ 450 w 468"/>
                <a:gd name="T27" fmla="*/ 72 h 100"/>
                <a:gd name="T28" fmla="*/ 450 w 468"/>
                <a:gd name="T29" fmla="*/ 72 h 100"/>
                <a:gd name="T30" fmla="*/ 448 w 468"/>
                <a:gd name="T31" fmla="*/ 60 h 100"/>
                <a:gd name="T32" fmla="*/ 446 w 468"/>
                <a:gd name="T33" fmla="*/ 50 h 100"/>
                <a:gd name="T34" fmla="*/ 442 w 468"/>
                <a:gd name="T35" fmla="*/ 42 h 100"/>
                <a:gd name="T36" fmla="*/ 436 w 468"/>
                <a:gd name="T37" fmla="*/ 34 h 100"/>
                <a:gd name="T38" fmla="*/ 428 w 468"/>
                <a:gd name="T39" fmla="*/ 28 h 100"/>
                <a:gd name="T40" fmla="*/ 420 w 468"/>
                <a:gd name="T41" fmla="*/ 22 h 100"/>
                <a:gd name="T42" fmla="*/ 410 w 468"/>
                <a:gd name="T43" fmla="*/ 20 h 100"/>
                <a:gd name="T44" fmla="*/ 400 w 468"/>
                <a:gd name="T45" fmla="*/ 18 h 100"/>
                <a:gd name="T46" fmla="*/ 10 w 468"/>
                <a:gd name="T47" fmla="*/ 18 h 100"/>
                <a:gd name="T48" fmla="*/ 10 w 468"/>
                <a:gd name="T49" fmla="*/ 18 h 100"/>
                <a:gd name="T50" fmla="*/ 6 w 468"/>
                <a:gd name="T51" fmla="*/ 18 h 100"/>
                <a:gd name="T52" fmla="*/ 4 w 468"/>
                <a:gd name="T53" fmla="*/ 16 h 100"/>
                <a:gd name="T54" fmla="*/ 2 w 468"/>
                <a:gd name="T55" fmla="*/ 12 h 100"/>
                <a:gd name="T56" fmla="*/ 0 w 468"/>
                <a:gd name="T57" fmla="*/ 10 h 100"/>
                <a:gd name="T58" fmla="*/ 0 w 468"/>
                <a:gd name="T59" fmla="*/ 10 h 100"/>
                <a:gd name="T60" fmla="*/ 2 w 468"/>
                <a:gd name="T61" fmla="*/ 6 h 100"/>
                <a:gd name="T62" fmla="*/ 4 w 468"/>
                <a:gd name="T63" fmla="*/ 4 h 100"/>
                <a:gd name="T64" fmla="*/ 6 w 468"/>
                <a:gd name="T65" fmla="*/ 2 h 100"/>
                <a:gd name="T66" fmla="*/ 10 w 468"/>
                <a:gd name="T67" fmla="*/ 0 h 100"/>
                <a:gd name="T68" fmla="*/ 400 w 468"/>
                <a:gd name="T69" fmla="*/ 0 h 100"/>
                <a:gd name="T70" fmla="*/ 400 w 468"/>
                <a:gd name="T71" fmla="*/ 0 h 100"/>
                <a:gd name="T72" fmla="*/ 414 w 468"/>
                <a:gd name="T73" fmla="*/ 2 h 100"/>
                <a:gd name="T74" fmla="*/ 426 w 468"/>
                <a:gd name="T75" fmla="*/ 6 h 100"/>
                <a:gd name="T76" fmla="*/ 438 w 468"/>
                <a:gd name="T77" fmla="*/ 12 h 100"/>
                <a:gd name="T78" fmla="*/ 448 w 468"/>
                <a:gd name="T79" fmla="*/ 22 h 100"/>
                <a:gd name="T80" fmla="*/ 456 w 468"/>
                <a:gd name="T81" fmla="*/ 32 h 100"/>
                <a:gd name="T82" fmla="*/ 462 w 468"/>
                <a:gd name="T83" fmla="*/ 44 h 100"/>
                <a:gd name="T84" fmla="*/ 466 w 468"/>
                <a:gd name="T85" fmla="*/ 56 h 100"/>
                <a:gd name="T86" fmla="*/ 468 w 468"/>
                <a:gd name="T87" fmla="*/ 72 h 100"/>
                <a:gd name="T88" fmla="*/ 468 w 468"/>
                <a:gd name="T89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68" h="100">
                  <a:moveTo>
                    <a:pt x="468" y="100"/>
                  </a:moveTo>
                  <a:lnTo>
                    <a:pt x="66" y="100"/>
                  </a:lnTo>
                  <a:lnTo>
                    <a:pt x="66" y="100"/>
                  </a:lnTo>
                  <a:lnTo>
                    <a:pt x="64" y="100"/>
                  </a:lnTo>
                  <a:lnTo>
                    <a:pt x="60" y="98"/>
                  </a:lnTo>
                  <a:lnTo>
                    <a:pt x="58" y="96"/>
                  </a:lnTo>
                  <a:lnTo>
                    <a:pt x="58" y="92"/>
                  </a:lnTo>
                  <a:lnTo>
                    <a:pt x="58" y="92"/>
                  </a:lnTo>
                  <a:lnTo>
                    <a:pt x="58" y="88"/>
                  </a:lnTo>
                  <a:lnTo>
                    <a:pt x="60" y="86"/>
                  </a:lnTo>
                  <a:lnTo>
                    <a:pt x="64" y="84"/>
                  </a:lnTo>
                  <a:lnTo>
                    <a:pt x="66" y="82"/>
                  </a:lnTo>
                  <a:lnTo>
                    <a:pt x="450" y="82"/>
                  </a:lnTo>
                  <a:lnTo>
                    <a:pt x="450" y="72"/>
                  </a:lnTo>
                  <a:lnTo>
                    <a:pt x="450" y="72"/>
                  </a:lnTo>
                  <a:lnTo>
                    <a:pt x="448" y="60"/>
                  </a:lnTo>
                  <a:lnTo>
                    <a:pt x="446" y="50"/>
                  </a:lnTo>
                  <a:lnTo>
                    <a:pt x="442" y="42"/>
                  </a:lnTo>
                  <a:lnTo>
                    <a:pt x="436" y="34"/>
                  </a:lnTo>
                  <a:lnTo>
                    <a:pt x="428" y="28"/>
                  </a:lnTo>
                  <a:lnTo>
                    <a:pt x="420" y="22"/>
                  </a:lnTo>
                  <a:lnTo>
                    <a:pt x="410" y="20"/>
                  </a:lnTo>
                  <a:lnTo>
                    <a:pt x="400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6" y="18"/>
                  </a:lnTo>
                  <a:lnTo>
                    <a:pt x="4" y="16"/>
                  </a:lnTo>
                  <a:lnTo>
                    <a:pt x="2" y="12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2" y="6"/>
                  </a:lnTo>
                  <a:lnTo>
                    <a:pt x="4" y="4"/>
                  </a:lnTo>
                  <a:lnTo>
                    <a:pt x="6" y="2"/>
                  </a:lnTo>
                  <a:lnTo>
                    <a:pt x="10" y="0"/>
                  </a:lnTo>
                  <a:lnTo>
                    <a:pt x="400" y="0"/>
                  </a:lnTo>
                  <a:lnTo>
                    <a:pt x="400" y="0"/>
                  </a:lnTo>
                  <a:lnTo>
                    <a:pt x="414" y="2"/>
                  </a:lnTo>
                  <a:lnTo>
                    <a:pt x="426" y="6"/>
                  </a:lnTo>
                  <a:lnTo>
                    <a:pt x="438" y="12"/>
                  </a:lnTo>
                  <a:lnTo>
                    <a:pt x="448" y="22"/>
                  </a:lnTo>
                  <a:lnTo>
                    <a:pt x="456" y="32"/>
                  </a:lnTo>
                  <a:lnTo>
                    <a:pt x="462" y="44"/>
                  </a:lnTo>
                  <a:lnTo>
                    <a:pt x="466" y="56"/>
                  </a:lnTo>
                  <a:lnTo>
                    <a:pt x="468" y="72"/>
                  </a:lnTo>
                  <a:lnTo>
                    <a:pt x="468" y="10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96" name="Freeform 117">
              <a:extLst>
                <a:ext uri="{FF2B5EF4-FFF2-40B4-BE49-F238E27FC236}">
                  <a16:creationId xmlns:a16="http://schemas.microsoft.com/office/drawing/2014/main" id="{FE141FBE-145F-47F8-A742-78BBE622E8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917" y="3563"/>
              <a:ext cx="128" cy="88"/>
            </a:xfrm>
            <a:custGeom>
              <a:avLst/>
              <a:gdLst>
                <a:gd name="T0" fmla="*/ 64 w 128"/>
                <a:gd name="T1" fmla="*/ 88 h 88"/>
                <a:gd name="T2" fmla="*/ 64 w 128"/>
                <a:gd name="T3" fmla="*/ 88 h 88"/>
                <a:gd name="T4" fmla="*/ 50 w 128"/>
                <a:gd name="T5" fmla="*/ 88 h 88"/>
                <a:gd name="T6" fmla="*/ 38 w 128"/>
                <a:gd name="T7" fmla="*/ 84 h 88"/>
                <a:gd name="T8" fmla="*/ 28 w 128"/>
                <a:gd name="T9" fmla="*/ 80 h 88"/>
                <a:gd name="T10" fmla="*/ 18 w 128"/>
                <a:gd name="T11" fmla="*/ 74 h 88"/>
                <a:gd name="T12" fmla="*/ 10 w 128"/>
                <a:gd name="T13" fmla="*/ 66 h 88"/>
                <a:gd name="T14" fmla="*/ 4 w 128"/>
                <a:gd name="T15" fmla="*/ 56 h 88"/>
                <a:gd name="T16" fmla="*/ 2 w 128"/>
                <a:gd name="T17" fmla="*/ 46 h 88"/>
                <a:gd name="T18" fmla="*/ 0 w 128"/>
                <a:gd name="T19" fmla="*/ 36 h 88"/>
                <a:gd name="T20" fmla="*/ 0 w 128"/>
                <a:gd name="T21" fmla="*/ 0 h 88"/>
                <a:gd name="T22" fmla="*/ 60 w 128"/>
                <a:gd name="T23" fmla="*/ 0 h 88"/>
                <a:gd name="T24" fmla="*/ 60 w 128"/>
                <a:gd name="T25" fmla="*/ 18 h 88"/>
                <a:gd name="T26" fmla="*/ 18 w 128"/>
                <a:gd name="T27" fmla="*/ 18 h 88"/>
                <a:gd name="T28" fmla="*/ 18 w 128"/>
                <a:gd name="T29" fmla="*/ 36 h 88"/>
                <a:gd name="T30" fmla="*/ 18 w 128"/>
                <a:gd name="T31" fmla="*/ 36 h 88"/>
                <a:gd name="T32" fmla="*/ 18 w 128"/>
                <a:gd name="T33" fmla="*/ 44 h 88"/>
                <a:gd name="T34" fmla="*/ 22 w 128"/>
                <a:gd name="T35" fmla="*/ 50 h 88"/>
                <a:gd name="T36" fmla="*/ 26 w 128"/>
                <a:gd name="T37" fmla="*/ 56 h 88"/>
                <a:gd name="T38" fmla="*/ 32 w 128"/>
                <a:gd name="T39" fmla="*/ 60 h 88"/>
                <a:gd name="T40" fmla="*/ 38 w 128"/>
                <a:gd name="T41" fmla="*/ 64 h 88"/>
                <a:gd name="T42" fmla="*/ 46 w 128"/>
                <a:gd name="T43" fmla="*/ 68 h 88"/>
                <a:gd name="T44" fmla="*/ 54 w 128"/>
                <a:gd name="T45" fmla="*/ 70 h 88"/>
                <a:gd name="T46" fmla="*/ 64 w 128"/>
                <a:gd name="T47" fmla="*/ 70 h 88"/>
                <a:gd name="T48" fmla="*/ 64 w 128"/>
                <a:gd name="T49" fmla="*/ 70 h 88"/>
                <a:gd name="T50" fmla="*/ 72 w 128"/>
                <a:gd name="T51" fmla="*/ 70 h 88"/>
                <a:gd name="T52" fmla="*/ 82 w 128"/>
                <a:gd name="T53" fmla="*/ 68 h 88"/>
                <a:gd name="T54" fmla="*/ 90 w 128"/>
                <a:gd name="T55" fmla="*/ 64 h 88"/>
                <a:gd name="T56" fmla="*/ 96 w 128"/>
                <a:gd name="T57" fmla="*/ 60 h 88"/>
                <a:gd name="T58" fmla="*/ 102 w 128"/>
                <a:gd name="T59" fmla="*/ 56 h 88"/>
                <a:gd name="T60" fmla="*/ 106 w 128"/>
                <a:gd name="T61" fmla="*/ 50 h 88"/>
                <a:gd name="T62" fmla="*/ 108 w 128"/>
                <a:gd name="T63" fmla="*/ 44 h 88"/>
                <a:gd name="T64" fmla="*/ 110 w 128"/>
                <a:gd name="T65" fmla="*/ 36 h 88"/>
                <a:gd name="T66" fmla="*/ 110 w 128"/>
                <a:gd name="T67" fmla="*/ 8 h 88"/>
                <a:gd name="T68" fmla="*/ 128 w 128"/>
                <a:gd name="T69" fmla="*/ 8 h 88"/>
                <a:gd name="T70" fmla="*/ 128 w 128"/>
                <a:gd name="T71" fmla="*/ 36 h 88"/>
                <a:gd name="T72" fmla="*/ 128 w 128"/>
                <a:gd name="T73" fmla="*/ 36 h 88"/>
                <a:gd name="T74" fmla="*/ 126 w 128"/>
                <a:gd name="T75" fmla="*/ 46 h 88"/>
                <a:gd name="T76" fmla="*/ 122 w 128"/>
                <a:gd name="T77" fmla="*/ 56 h 88"/>
                <a:gd name="T78" fmla="*/ 116 w 128"/>
                <a:gd name="T79" fmla="*/ 66 h 88"/>
                <a:gd name="T80" fmla="*/ 108 w 128"/>
                <a:gd name="T81" fmla="*/ 74 h 88"/>
                <a:gd name="T82" fmla="*/ 100 w 128"/>
                <a:gd name="T83" fmla="*/ 80 h 88"/>
                <a:gd name="T84" fmla="*/ 88 w 128"/>
                <a:gd name="T85" fmla="*/ 84 h 88"/>
                <a:gd name="T86" fmla="*/ 76 w 128"/>
                <a:gd name="T87" fmla="*/ 88 h 88"/>
                <a:gd name="T88" fmla="*/ 64 w 128"/>
                <a:gd name="T89" fmla="*/ 88 h 88"/>
                <a:gd name="T90" fmla="*/ 64 w 128"/>
                <a:gd name="T91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28" h="88">
                  <a:moveTo>
                    <a:pt x="64" y="88"/>
                  </a:moveTo>
                  <a:lnTo>
                    <a:pt x="64" y="88"/>
                  </a:lnTo>
                  <a:lnTo>
                    <a:pt x="50" y="88"/>
                  </a:lnTo>
                  <a:lnTo>
                    <a:pt x="38" y="84"/>
                  </a:lnTo>
                  <a:lnTo>
                    <a:pt x="28" y="80"/>
                  </a:lnTo>
                  <a:lnTo>
                    <a:pt x="18" y="74"/>
                  </a:lnTo>
                  <a:lnTo>
                    <a:pt x="10" y="66"/>
                  </a:lnTo>
                  <a:lnTo>
                    <a:pt x="4" y="56"/>
                  </a:lnTo>
                  <a:lnTo>
                    <a:pt x="2" y="46"/>
                  </a:lnTo>
                  <a:lnTo>
                    <a:pt x="0" y="36"/>
                  </a:lnTo>
                  <a:lnTo>
                    <a:pt x="0" y="0"/>
                  </a:lnTo>
                  <a:lnTo>
                    <a:pt x="60" y="0"/>
                  </a:lnTo>
                  <a:lnTo>
                    <a:pt x="60" y="18"/>
                  </a:lnTo>
                  <a:lnTo>
                    <a:pt x="18" y="18"/>
                  </a:lnTo>
                  <a:lnTo>
                    <a:pt x="18" y="36"/>
                  </a:lnTo>
                  <a:lnTo>
                    <a:pt x="18" y="36"/>
                  </a:lnTo>
                  <a:lnTo>
                    <a:pt x="18" y="44"/>
                  </a:lnTo>
                  <a:lnTo>
                    <a:pt x="22" y="50"/>
                  </a:lnTo>
                  <a:lnTo>
                    <a:pt x="26" y="56"/>
                  </a:lnTo>
                  <a:lnTo>
                    <a:pt x="32" y="60"/>
                  </a:lnTo>
                  <a:lnTo>
                    <a:pt x="38" y="64"/>
                  </a:lnTo>
                  <a:lnTo>
                    <a:pt x="46" y="68"/>
                  </a:lnTo>
                  <a:lnTo>
                    <a:pt x="54" y="70"/>
                  </a:lnTo>
                  <a:lnTo>
                    <a:pt x="64" y="70"/>
                  </a:lnTo>
                  <a:lnTo>
                    <a:pt x="64" y="70"/>
                  </a:lnTo>
                  <a:lnTo>
                    <a:pt x="72" y="70"/>
                  </a:lnTo>
                  <a:lnTo>
                    <a:pt x="82" y="68"/>
                  </a:lnTo>
                  <a:lnTo>
                    <a:pt x="90" y="64"/>
                  </a:lnTo>
                  <a:lnTo>
                    <a:pt x="96" y="60"/>
                  </a:lnTo>
                  <a:lnTo>
                    <a:pt x="102" y="56"/>
                  </a:lnTo>
                  <a:lnTo>
                    <a:pt x="106" y="50"/>
                  </a:lnTo>
                  <a:lnTo>
                    <a:pt x="108" y="44"/>
                  </a:lnTo>
                  <a:lnTo>
                    <a:pt x="110" y="36"/>
                  </a:lnTo>
                  <a:lnTo>
                    <a:pt x="110" y="8"/>
                  </a:lnTo>
                  <a:lnTo>
                    <a:pt x="128" y="8"/>
                  </a:lnTo>
                  <a:lnTo>
                    <a:pt x="128" y="36"/>
                  </a:lnTo>
                  <a:lnTo>
                    <a:pt x="128" y="36"/>
                  </a:lnTo>
                  <a:lnTo>
                    <a:pt x="126" y="46"/>
                  </a:lnTo>
                  <a:lnTo>
                    <a:pt x="122" y="56"/>
                  </a:lnTo>
                  <a:lnTo>
                    <a:pt x="116" y="66"/>
                  </a:lnTo>
                  <a:lnTo>
                    <a:pt x="108" y="74"/>
                  </a:lnTo>
                  <a:lnTo>
                    <a:pt x="100" y="80"/>
                  </a:lnTo>
                  <a:lnTo>
                    <a:pt x="88" y="84"/>
                  </a:lnTo>
                  <a:lnTo>
                    <a:pt x="76" y="88"/>
                  </a:lnTo>
                  <a:lnTo>
                    <a:pt x="64" y="88"/>
                  </a:lnTo>
                  <a:lnTo>
                    <a:pt x="64" y="88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97" name="Freeform 118">
              <a:extLst>
                <a:ext uri="{FF2B5EF4-FFF2-40B4-BE49-F238E27FC236}">
                  <a16:creationId xmlns:a16="http://schemas.microsoft.com/office/drawing/2014/main" id="{EA0110E5-FBF3-48AA-8179-1AB2F78AFFC2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1" y="3077"/>
              <a:ext cx="508" cy="574"/>
            </a:xfrm>
            <a:custGeom>
              <a:avLst/>
              <a:gdLst>
                <a:gd name="T0" fmla="*/ 414 w 508"/>
                <a:gd name="T1" fmla="*/ 574 h 574"/>
                <a:gd name="T2" fmla="*/ 10 w 508"/>
                <a:gd name="T3" fmla="*/ 574 h 574"/>
                <a:gd name="T4" fmla="*/ 10 w 508"/>
                <a:gd name="T5" fmla="*/ 574 h 574"/>
                <a:gd name="T6" fmla="*/ 6 w 508"/>
                <a:gd name="T7" fmla="*/ 574 h 574"/>
                <a:gd name="T8" fmla="*/ 4 w 508"/>
                <a:gd name="T9" fmla="*/ 572 h 574"/>
                <a:gd name="T10" fmla="*/ 2 w 508"/>
                <a:gd name="T11" fmla="*/ 570 h 574"/>
                <a:gd name="T12" fmla="*/ 0 w 508"/>
                <a:gd name="T13" fmla="*/ 566 h 574"/>
                <a:gd name="T14" fmla="*/ 0 w 508"/>
                <a:gd name="T15" fmla="*/ 566 h 574"/>
                <a:gd name="T16" fmla="*/ 2 w 508"/>
                <a:gd name="T17" fmla="*/ 562 h 574"/>
                <a:gd name="T18" fmla="*/ 4 w 508"/>
                <a:gd name="T19" fmla="*/ 560 h 574"/>
                <a:gd name="T20" fmla="*/ 6 w 508"/>
                <a:gd name="T21" fmla="*/ 558 h 574"/>
                <a:gd name="T22" fmla="*/ 10 w 508"/>
                <a:gd name="T23" fmla="*/ 556 h 574"/>
                <a:gd name="T24" fmla="*/ 414 w 508"/>
                <a:gd name="T25" fmla="*/ 556 h 574"/>
                <a:gd name="T26" fmla="*/ 414 w 508"/>
                <a:gd name="T27" fmla="*/ 556 h 574"/>
                <a:gd name="T28" fmla="*/ 430 w 508"/>
                <a:gd name="T29" fmla="*/ 556 h 574"/>
                <a:gd name="T30" fmla="*/ 444 w 508"/>
                <a:gd name="T31" fmla="*/ 550 h 574"/>
                <a:gd name="T32" fmla="*/ 456 w 508"/>
                <a:gd name="T33" fmla="*/ 544 h 574"/>
                <a:gd name="T34" fmla="*/ 468 w 508"/>
                <a:gd name="T35" fmla="*/ 534 h 574"/>
                <a:gd name="T36" fmla="*/ 478 w 508"/>
                <a:gd name="T37" fmla="*/ 524 h 574"/>
                <a:gd name="T38" fmla="*/ 484 w 508"/>
                <a:gd name="T39" fmla="*/ 510 h 574"/>
                <a:gd name="T40" fmla="*/ 488 w 508"/>
                <a:gd name="T41" fmla="*/ 496 h 574"/>
                <a:gd name="T42" fmla="*/ 490 w 508"/>
                <a:gd name="T43" fmla="*/ 482 h 574"/>
                <a:gd name="T44" fmla="*/ 490 w 508"/>
                <a:gd name="T45" fmla="*/ 10 h 574"/>
                <a:gd name="T46" fmla="*/ 490 w 508"/>
                <a:gd name="T47" fmla="*/ 10 h 574"/>
                <a:gd name="T48" fmla="*/ 490 w 508"/>
                <a:gd name="T49" fmla="*/ 6 h 574"/>
                <a:gd name="T50" fmla="*/ 492 w 508"/>
                <a:gd name="T51" fmla="*/ 4 h 574"/>
                <a:gd name="T52" fmla="*/ 496 w 508"/>
                <a:gd name="T53" fmla="*/ 2 h 574"/>
                <a:gd name="T54" fmla="*/ 500 w 508"/>
                <a:gd name="T55" fmla="*/ 0 h 574"/>
                <a:gd name="T56" fmla="*/ 500 w 508"/>
                <a:gd name="T57" fmla="*/ 0 h 574"/>
                <a:gd name="T58" fmla="*/ 502 w 508"/>
                <a:gd name="T59" fmla="*/ 2 h 574"/>
                <a:gd name="T60" fmla="*/ 506 w 508"/>
                <a:gd name="T61" fmla="*/ 4 h 574"/>
                <a:gd name="T62" fmla="*/ 508 w 508"/>
                <a:gd name="T63" fmla="*/ 6 h 574"/>
                <a:gd name="T64" fmla="*/ 508 w 508"/>
                <a:gd name="T65" fmla="*/ 10 h 574"/>
                <a:gd name="T66" fmla="*/ 508 w 508"/>
                <a:gd name="T67" fmla="*/ 482 h 574"/>
                <a:gd name="T68" fmla="*/ 508 w 508"/>
                <a:gd name="T69" fmla="*/ 482 h 574"/>
                <a:gd name="T70" fmla="*/ 506 w 508"/>
                <a:gd name="T71" fmla="*/ 500 h 574"/>
                <a:gd name="T72" fmla="*/ 500 w 508"/>
                <a:gd name="T73" fmla="*/ 518 h 574"/>
                <a:gd name="T74" fmla="*/ 492 w 508"/>
                <a:gd name="T75" fmla="*/ 534 h 574"/>
                <a:gd name="T76" fmla="*/ 480 w 508"/>
                <a:gd name="T77" fmla="*/ 548 h 574"/>
                <a:gd name="T78" fmla="*/ 466 w 508"/>
                <a:gd name="T79" fmla="*/ 558 h 574"/>
                <a:gd name="T80" fmla="*/ 452 w 508"/>
                <a:gd name="T81" fmla="*/ 568 h 574"/>
                <a:gd name="T82" fmla="*/ 434 w 508"/>
                <a:gd name="T83" fmla="*/ 572 h 574"/>
                <a:gd name="T84" fmla="*/ 414 w 508"/>
                <a:gd name="T85" fmla="*/ 574 h 574"/>
                <a:gd name="T86" fmla="*/ 414 w 508"/>
                <a:gd name="T87" fmla="*/ 574 h 5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08" h="574">
                  <a:moveTo>
                    <a:pt x="414" y="574"/>
                  </a:moveTo>
                  <a:lnTo>
                    <a:pt x="10" y="574"/>
                  </a:lnTo>
                  <a:lnTo>
                    <a:pt x="10" y="574"/>
                  </a:lnTo>
                  <a:lnTo>
                    <a:pt x="6" y="574"/>
                  </a:lnTo>
                  <a:lnTo>
                    <a:pt x="4" y="572"/>
                  </a:lnTo>
                  <a:lnTo>
                    <a:pt x="2" y="570"/>
                  </a:lnTo>
                  <a:lnTo>
                    <a:pt x="0" y="566"/>
                  </a:lnTo>
                  <a:lnTo>
                    <a:pt x="0" y="566"/>
                  </a:lnTo>
                  <a:lnTo>
                    <a:pt x="2" y="562"/>
                  </a:lnTo>
                  <a:lnTo>
                    <a:pt x="4" y="560"/>
                  </a:lnTo>
                  <a:lnTo>
                    <a:pt x="6" y="558"/>
                  </a:lnTo>
                  <a:lnTo>
                    <a:pt x="10" y="556"/>
                  </a:lnTo>
                  <a:lnTo>
                    <a:pt x="414" y="556"/>
                  </a:lnTo>
                  <a:lnTo>
                    <a:pt x="414" y="556"/>
                  </a:lnTo>
                  <a:lnTo>
                    <a:pt x="430" y="556"/>
                  </a:lnTo>
                  <a:lnTo>
                    <a:pt x="444" y="550"/>
                  </a:lnTo>
                  <a:lnTo>
                    <a:pt x="456" y="544"/>
                  </a:lnTo>
                  <a:lnTo>
                    <a:pt x="468" y="534"/>
                  </a:lnTo>
                  <a:lnTo>
                    <a:pt x="478" y="524"/>
                  </a:lnTo>
                  <a:lnTo>
                    <a:pt x="484" y="510"/>
                  </a:lnTo>
                  <a:lnTo>
                    <a:pt x="488" y="496"/>
                  </a:lnTo>
                  <a:lnTo>
                    <a:pt x="490" y="482"/>
                  </a:lnTo>
                  <a:lnTo>
                    <a:pt x="490" y="10"/>
                  </a:lnTo>
                  <a:lnTo>
                    <a:pt x="490" y="10"/>
                  </a:lnTo>
                  <a:lnTo>
                    <a:pt x="490" y="6"/>
                  </a:lnTo>
                  <a:lnTo>
                    <a:pt x="492" y="4"/>
                  </a:lnTo>
                  <a:lnTo>
                    <a:pt x="496" y="2"/>
                  </a:lnTo>
                  <a:lnTo>
                    <a:pt x="500" y="0"/>
                  </a:lnTo>
                  <a:lnTo>
                    <a:pt x="500" y="0"/>
                  </a:lnTo>
                  <a:lnTo>
                    <a:pt x="502" y="2"/>
                  </a:lnTo>
                  <a:lnTo>
                    <a:pt x="506" y="4"/>
                  </a:lnTo>
                  <a:lnTo>
                    <a:pt x="508" y="6"/>
                  </a:lnTo>
                  <a:lnTo>
                    <a:pt x="508" y="10"/>
                  </a:lnTo>
                  <a:lnTo>
                    <a:pt x="508" y="482"/>
                  </a:lnTo>
                  <a:lnTo>
                    <a:pt x="508" y="482"/>
                  </a:lnTo>
                  <a:lnTo>
                    <a:pt x="506" y="500"/>
                  </a:lnTo>
                  <a:lnTo>
                    <a:pt x="500" y="518"/>
                  </a:lnTo>
                  <a:lnTo>
                    <a:pt x="492" y="534"/>
                  </a:lnTo>
                  <a:lnTo>
                    <a:pt x="480" y="548"/>
                  </a:lnTo>
                  <a:lnTo>
                    <a:pt x="466" y="558"/>
                  </a:lnTo>
                  <a:lnTo>
                    <a:pt x="452" y="568"/>
                  </a:lnTo>
                  <a:lnTo>
                    <a:pt x="434" y="572"/>
                  </a:lnTo>
                  <a:lnTo>
                    <a:pt x="414" y="574"/>
                  </a:lnTo>
                  <a:lnTo>
                    <a:pt x="414" y="574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98" name="Rectangle 119">
              <a:extLst>
                <a:ext uri="{FF2B5EF4-FFF2-40B4-BE49-F238E27FC236}">
                  <a16:creationId xmlns:a16="http://schemas.microsoft.com/office/drawing/2014/main" id="{A0184A14-07E8-46C4-A850-97112B6367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69" y="3201"/>
              <a:ext cx="162" cy="18"/>
            </a:xfrm>
            <a:prstGeom prst="rect">
              <a:avLst/>
            </a:pr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99" name="Rectangle 120">
              <a:extLst>
                <a:ext uri="{FF2B5EF4-FFF2-40B4-BE49-F238E27FC236}">
                  <a16:creationId xmlns:a16="http://schemas.microsoft.com/office/drawing/2014/main" id="{8E15C8E1-CBD7-417C-965D-578D0D6F1E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97" y="3551"/>
              <a:ext cx="96" cy="18"/>
            </a:xfrm>
            <a:prstGeom prst="rect">
              <a:avLst/>
            </a:pr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00" name="Rectangle 121">
              <a:extLst>
                <a:ext uri="{FF2B5EF4-FFF2-40B4-BE49-F238E27FC236}">
                  <a16:creationId xmlns:a16="http://schemas.microsoft.com/office/drawing/2014/main" id="{1538E38D-5993-4E07-B749-62463CBF2C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17" y="3243"/>
              <a:ext cx="276" cy="18"/>
            </a:xfrm>
            <a:prstGeom prst="rect">
              <a:avLst/>
            </a:pr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01" name="Rectangle 122">
              <a:extLst>
                <a:ext uri="{FF2B5EF4-FFF2-40B4-BE49-F238E27FC236}">
                  <a16:creationId xmlns:a16="http://schemas.microsoft.com/office/drawing/2014/main" id="{E11783F0-F051-414E-B56F-EBF6B553904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17" y="3285"/>
              <a:ext cx="276" cy="18"/>
            </a:xfrm>
            <a:prstGeom prst="rect">
              <a:avLst/>
            </a:pr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02" name="Rectangle 123">
              <a:extLst>
                <a:ext uri="{FF2B5EF4-FFF2-40B4-BE49-F238E27FC236}">
                  <a16:creationId xmlns:a16="http://schemas.microsoft.com/office/drawing/2014/main" id="{D8484640-31A7-46CA-9D9A-06F29588EC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17" y="3327"/>
              <a:ext cx="276" cy="18"/>
            </a:xfrm>
            <a:prstGeom prst="rect">
              <a:avLst/>
            </a:pr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03" name="Rectangle 124">
              <a:extLst>
                <a:ext uri="{FF2B5EF4-FFF2-40B4-BE49-F238E27FC236}">
                  <a16:creationId xmlns:a16="http://schemas.microsoft.com/office/drawing/2014/main" id="{0BF78743-C6D3-411B-A9D1-DF3E65241A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17" y="3369"/>
              <a:ext cx="276" cy="18"/>
            </a:xfrm>
            <a:prstGeom prst="rect">
              <a:avLst/>
            </a:pr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04" name="Rectangle 125">
              <a:extLst>
                <a:ext uri="{FF2B5EF4-FFF2-40B4-BE49-F238E27FC236}">
                  <a16:creationId xmlns:a16="http://schemas.microsoft.com/office/drawing/2014/main" id="{8CCFE1CE-1E65-44CF-80DC-58C83FC885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17" y="3411"/>
              <a:ext cx="276" cy="18"/>
            </a:xfrm>
            <a:prstGeom prst="rect">
              <a:avLst/>
            </a:pr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05" name="Rectangle 126">
              <a:extLst>
                <a:ext uri="{FF2B5EF4-FFF2-40B4-BE49-F238E27FC236}">
                  <a16:creationId xmlns:a16="http://schemas.microsoft.com/office/drawing/2014/main" id="{E948749A-BDBB-478C-8673-B5AEBF674D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17" y="3453"/>
              <a:ext cx="276" cy="18"/>
            </a:xfrm>
            <a:prstGeom prst="rect">
              <a:avLst/>
            </a:pr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06" name="Rectangle 127">
              <a:extLst>
                <a:ext uri="{FF2B5EF4-FFF2-40B4-BE49-F238E27FC236}">
                  <a16:creationId xmlns:a16="http://schemas.microsoft.com/office/drawing/2014/main" id="{EDCDF98D-CDDB-4584-90EB-45150989C5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17" y="3495"/>
              <a:ext cx="276" cy="18"/>
            </a:xfrm>
            <a:prstGeom prst="rect">
              <a:avLst/>
            </a:pr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07" name="Freeform 128">
              <a:extLst>
                <a:ext uri="{FF2B5EF4-FFF2-40B4-BE49-F238E27FC236}">
                  <a16:creationId xmlns:a16="http://schemas.microsoft.com/office/drawing/2014/main" id="{4810F899-3E09-426E-87E8-6F9BED15C4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25" y="2995"/>
              <a:ext cx="64" cy="536"/>
            </a:xfrm>
            <a:custGeom>
              <a:avLst/>
              <a:gdLst>
                <a:gd name="T0" fmla="*/ 32 w 64"/>
                <a:gd name="T1" fmla="*/ 536 h 536"/>
                <a:gd name="T2" fmla="*/ 32 w 64"/>
                <a:gd name="T3" fmla="*/ 536 h 536"/>
                <a:gd name="T4" fmla="*/ 26 w 64"/>
                <a:gd name="T5" fmla="*/ 536 h 536"/>
                <a:gd name="T6" fmla="*/ 22 w 64"/>
                <a:gd name="T7" fmla="*/ 532 h 536"/>
                <a:gd name="T8" fmla="*/ 16 w 64"/>
                <a:gd name="T9" fmla="*/ 528 h 536"/>
                <a:gd name="T10" fmla="*/ 14 w 64"/>
                <a:gd name="T11" fmla="*/ 524 h 536"/>
                <a:gd name="T12" fmla="*/ 0 w 64"/>
                <a:gd name="T13" fmla="*/ 480 h 536"/>
                <a:gd name="T14" fmla="*/ 0 w 64"/>
                <a:gd name="T15" fmla="*/ 36 h 536"/>
                <a:gd name="T16" fmla="*/ 0 w 64"/>
                <a:gd name="T17" fmla="*/ 36 h 536"/>
                <a:gd name="T18" fmla="*/ 0 w 64"/>
                <a:gd name="T19" fmla="*/ 28 h 536"/>
                <a:gd name="T20" fmla="*/ 2 w 64"/>
                <a:gd name="T21" fmla="*/ 22 h 536"/>
                <a:gd name="T22" fmla="*/ 6 w 64"/>
                <a:gd name="T23" fmla="*/ 16 h 536"/>
                <a:gd name="T24" fmla="*/ 10 w 64"/>
                <a:gd name="T25" fmla="*/ 10 h 536"/>
                <a:gd name="T26" fmla="*/ 14 w 64"/>
                <a:gd name="T27" fmla="*/ 6 h 536"/>
                <a:gd name="T28" fmla="*/ 20 w 64"/>
                <a:gd name="T29" fmla="*/ 4 h 536"/>
                <a:gd name="T30" fmla="*/ 26 w 64"/>
                <a:gd name="T31" fmla="*/ 2 h 536"/>
                <a:gd name="T32" fmla="*/ 32 w 64"/>
                <a:gd name="T33" fmla="*/ 0 h 536"/>
                <a:gd name="T34" fmla="*/ 32 w 64"/>
                <a:gd name="T35" fmla="*/ 0 h 536"/>
                <a:gd name="T36" fmla="*/ 38 w 64"/>
                <a:gd name="T37" fmla="*/ 2 h 536"/>
                <a:gd name="T38" fmla="*/ 44 w 64"/>
                <a:gd name="T39" fmla="*/ 4 h 536"/>
                <a:gd name="T40" fmla="*/ 50 w 64"/>
                <a:gd name="T41" fmla="*/ 6 h 536"/>
                <a:gd name="T42" fmla="*/ 54 w 64"/>
                <a:gd name="T43" fmla="*/ 10 h 536"/>
                <a:gd name="T44" fmla="*/ 58 w 64"/>
                <a:gd name="T45" fmla="*/ 16 h 536"/>
                <a:gd name="T46" fmla="*/ 62 w 64"/>
                <a:gd name="T47" fmla="*/ 22 h 536"/>
                <a:gd name="T48" fmla="*/ 64 w 64"/>
                <a:gd name="T49" fmla="*/ 28 h 536"/>
                <a:gd name="T50" fmla="*/ 64 w 64"/>
                <a:gd name="T51" fmla="*/ 36 h 536"/>
                <a:gd name="T52" fmla="*/ 64 w 64"/>
                <a:gd name="T53" fmla="*/ 484 h 536"/>
                <a:gd name="T54" fmla="*/ 50 w 64"/>
                <a:gd name="T55" fmla="*/ 524 h 536"/>
                <a:gd name="T56" fmla="*/ 50 w 64"/>
                <a:gd name="T57" fmla="*/ 524 h 536"/>
                <a:gd name="T58" fmla="*/ 48 w 64"/>
                <a:gd name="T59" fmla="*/ 528 h 536"/>
                <a:gd name="T60" fmla="*/ 42 w 64"/>
                <a:gd name="T61" fmla="*/ 532 h 536"/>
                <a:gd name="T62" fmla="*/ 38 w 64"/>
                <a:gd name="T63" fmla="*/ 536 h 536"/>
                <a:gd name="T64" fmla="*/ 32 w 64"/>
                <a:gd name="T65" fmla="*/ 536 h 536"/>
                <a:gd name="T66" fmla="*/ 32 w 64"/>
                <a:gd name="T67" fmla="*/ 536 h 536"/>
                <a:gd name="T68" fmla="*/ 18 w 64"/>
                <a:gd name="T69" fmla="*/ 480 h 536"/>
                <a:gd name="T70" fmla="*/ 32 w 64"/>
                <a:gd name="T71" fmla="*/ 518 h 536"/>
                <a:gd name="T72" fmla="*/ 46 w 64"/>
                <a:gd name="T73" fmla="*/ 478 h 536"/>
                <a:gd name="T74" fmla="*/ 46 w 64"/>
                <a:gd name="T75" fmla="*/ 36 h 536"/>
                <a:gd name="T76" fmla="*/ 46 w 64"/>
                <a:gd name="T77" fmla="*/ 36 h 536"/>
                <a:gd name="T78" fmla="*/ 46 w 64"/>
                <a:gd name="T79" fmla="*/ 28 h 536"/>
                <a:gd name="T80" fmla="*/ 42 w 64"/>
                <a:gd name="T81" fmla="*/ 24 h 536"/>
                <a:gd name="T82" fmla="*/ 38 w 64"/>
                <a:gd name="T83" fmla="*/ 20 h 536"/>
                <a:gd name="T84" fmla="*/ 32 w 64"/>
                <a:gd name="T85" fmla="*/ 18 h 536"/>
                <a:gd name="T86" fmla="*/ 32 w 64"/>
                <a:gd name="T87" fmla="*/ 18 h 536"/>
                <a:gd name="T88" fmla="*/ 26 w 64"/>
                <a:gd name="T89" fmla="*/ 20 h 536"/>
                <a:gd name="T90" fmla="*/ 22 w 64"/>
                <a:gd name="T91" fmla="*/ 24 h 536"/>
                <a:gd name="T92" fmla="*/ 18 w 64"/>
                <a:gd name="T93" fmla="*/ 28 h 536"/>
                <a:gd name="T94" fmla="*/ 18 w 64"/>
                <a:gd name="T95" fmla="*/ 36 h 536"/>
                <a:gd name="T96" fmla="*/ 18 w 64"/>
                <a:gd name="T97" fmla="*/ 480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4" h="536">
                  <a:moveTo>
                    <a:pt x="32" y="536"/>
                  </a:moveTo>
                  <a:lnTo>
                    <a:pt x="32" y="536"/>
                  </a:lnTo>
                  <a:lnTo>
                    <a:pt x="26" y="536"/>
                  </a:lnTo>
                  <a:lnTo>
                    <a:pt x="22" y="532"/>
                  </a:lnTo>
                  <a:lnTo>
                    <a:pt x="16" y="528"/>
                  </a:lnTo>
                  <a:lnTo>
                    <a:pt x="14" y="524"/>
                  </a:lnTo>
                  <a:lnTo>
                    <a:pt x="0" y="480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28"/>
                  </a:lnTo>
                  <a:lnTo>
                    <a:pt x="2" y="22"/>
                  </a:lnTo>
                  <a:lnTo>
                    <a:pt x="6" y="16"/>
                  </a:lnTo>
                  <a:lnTo>
                    <a:pt x="10" y="10"/>
                  </a:lnTo>
                  <a:lnTo>
                    <a:pt x="14" y="6"/>
                  </a:lnTo>
                  <a:lnTo>
                    <a:pt x="20" y="4"/>
                  </a:lnTo>
                  <a:lnTo>
                    <a:pt x="26" y="2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8" y="2"/>
                  </a:lnTo>
                  <a:lnTo>
                    <a:pt x="44" y="4"/>
                  </a:lnTo>
                  <a:lnTo>
                    <a:pt x="50" y="6"/>
                  </a:lnTo>
                  <a:lnTo>
                    <a:pt x="54" y="10"/>
                  </a:lnTo>
                  <a:lnTo>
                    <a:pt x="58" y="16"/>
                  </a:lnTo>
                  <a:lnTo>
                    <a:pt x="62" y="22"/>
                  </a:lnTo>
                  <a:lnTo>
                    <a:pt x="64" y="28"/>
                  </a:lnTo>
                  <a:lnTo>
                    <a:pt x="64" y="36"/>
                  </a:lnTo>
                  <a:lnTo>
                    <a:pt x="64" y="484"/>
                  </a:lnTo>
                  <a:lnTo>
                    <a:pt x="50" y="524"/>
                  </a:lnTo>
                  <a:lnTo>
                    <a:pt x="50" y="524"/>
                  </a:lnTo>
                  <a:lnTo>
                    <a:pt x="48" y="528"/>
                  </a:lnTo>
                  <a:lnTo>
                    <a:pt x="42" y="532"/>
                  </a:lnTo>
                  <a:lnTo>
                    <a:pt x="38" y="536"/>
                  </a:lnTo>
                  <a:lnTo>
                    <a:pt x="32" y="536"/>
                  </a:lnTo>
                  <a:lnTo>
                    <a:pt x="32" y="536"/>
                  </a:lnTo>
                  <a:close/>
                  <a:moveTo>
                    <a:pt x="18" y="480"/>
                  </a:moveTo>
                  <a:lnTo>
                    <a:pt x="32" y="518"/>
                  </a:lnTo>
                  <a:lnTo>
                    <a:pt x="46" y="478"/>
                  </a:lnTo>
                  <a:lnTo>
                    <a:pt x="46" y="36"/>
                  </a:lnTo>
                  <a:lnTo>
                    <a:pt x="46" y="36"/>
                  </a:lnTo>
                  <a:lnTo>
                    <a:pt x="46" y="28"/>
                  </a:lnTo>
                  <a:lnTo>
                    <a:pt x="42" y="24"/>
                  </a:lnTo>
                  <a:lnTo>
                    <a:pt x="38" y="20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26" y="20"/>
                  </a:lnTo>
                  <a:lnTo>
                    <a:pt x="22" y="24"/>
                  </a:lnTo>
                  <a:lnTo>
                    <a:pt x="18" y="28"/>
                  </a:lnTo>
                  <a:lnTo>
                    <a:pt x="18" y="36"/>
                  </a:lnTo>
                  <a:lnTo>
                    <a:pt x="18" y="48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08" name="Freeform 129">
              <a:extLst>
                <a:ext uri="{FF2B5EF4-FFF2-40B4-BE49-F238E27FC236}">
                  <a16:creationId xmlns:a16="http://schemas.microsoft.com/office/drawing/2014/main" id="{30733CEC-503B-4916-B60C-4DB484E086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891" y="3053"/>
              <a:ext cx="90" cy="136"/>
            </a:xfrm>
            <a:custGeom>
              <a:avLst/>
              <a:gdLst>
                <a:gd name="T0" fmla="*/ 18 w 90"/>
                <a:gd name="T1" fmla="*/ 136 h 136"/>
                <a:gd name="T2" fmla="*/ 0 w 90"/>
                <a:gd name="T3" fmla="*/ 136 h 136"/>
                <a:gd name="T4" fmla="*/ 0 w 90"/>
                <a:gd name="T5" fmla="*/ 0 h 136"/>
                <a:gd name="T6" fmla="*/ 90 w 90"/>
                <a:gd name="T7" fmla="*/ 0 h 136"/>
                <a:gd name="T8" fmla="*/ 90 w 90"/>
                <a:gd name="T9" fmla="*/ 18 h 136"/>
                <a:gd name="T10" fmla="*/ 18 w 90"/>
                <a:gd name="T11" fmla="*/ 18 h 136"/>
                <a:gd name="T12" fmla="*/ 18 w 90"/>
                <a:gd name="T13" fmla="*/ 136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0" h="136">
                  <a:moveTo>
                    <a:pt x="18" y="136"/>
                  </a:moveTo>
                  <a:lnTo>
                    <a:pt x="0" y="136"/>
                  </a:lnTo>
                  <a:lnTo>
                    <a:pt x="0" y="0"/>
                  </a:lnTo>
                  <a:lnTo>
                    <a:pt x="90" y="0"/>
                  </a:lnTo>
                  <a:lnTo>
                    <a:pt x="90" y="18"/>
                  </a:lnTo>
                  <a:lnTo>
                    <a:pt x="18" y="18"/>
                  </a:lnTo>
                  <a:lnTo>
                    <a:pt x="18" y="136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09" name="Freeform 130">
              <a:extLst>
                <a:ext uri="{FF2B5EF4-FFF2-40B4-BE49-F238E27FC236}">
                  <a16:creationId xmlns:a16="http://schemas.microsoft.com/office/drawing/2014/main" id="{03184A51-B23A-433D-A5E9-08D16ADFFEC8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7" y="3513"/>
              <a:ext cx="18" cy="48"/>
            </a:xfrm>
            <a:custGeom>
              <a:avLst/>
              <a:gdLst>
                <a:gd name="T0" fmla="*/ 10 w 18"/>
                <a:gd name="T1" fmla="*/ 48 h 48"/>
                <a:gd name="T2" fmla="*/ 10 w 18"/>
                <a:gd name="T3" fmla="*/ 48 h 48"/>
                <a:gd name="T4" fmla="*/ 6 w 18"/>
                <a:gd name="T5" fmla="*/ 46 h 48"/>
                <a:gd name="T6" fmla="*/ 4 w 18"/>
                <a:gd name="T7" fmla="*/ 44 h 48"/>
                <a:gd name="T8" fmla="*/ 2 w 18"/>
                <a:gd name="T9" fmla="*/ 42 h 48"/>
                <a:gd name="T10" fmla="*/ 0 w 18"/>
                <a:gd name="T11" fmla="*/ 38 h 48"/>
                <a:gd name="T12" fmla="*/ 0 w 18"/>
                <a:gd name="T13" fmla="*/ 10 h 48"/>
                <a:gd name="T14" fmla="*/ 0 w 18"/>
                <a:gd name="T15" fmla="*/ 10 h 48"/>
                <a:gd name="T16" fmla="*/ 2 w 18"/>
                <a:gd name="T17" fmla="*/ 6 h 48"/>
                <a:gd name="T18" fmla="*/ 4 w 18"/>
                <a:gd name="T19" fmla="*/ 2 h 48"/>
                <a:gd name="T20" fmla="*/ 6 w 18"/>
                <a:gd name="T21" fmla="*/ 0 h 48"/>
                <a:gd name="T22" fmla="*/ 10 w 18"/>
                <a:gd name="T23" fmla="*/ 0 h 48"/>
                <a:gd name="T24" fmla="*/ 10 w 18"/>
                <a:gd name="T25" fmla="*/ 0 h 48"/>
                <a:gd name="T26" fmla="*/ 14 w 18"/>
                <a:gd name="T27" fmla="*/ 0 h 48"/>
                <a:gd name="T28" fmla="*/ 16 w 18"/>
                <a:gd name="T29" fmla="*/ 2 h 48"/>
                <a:gd name="T30" fmla="*/ 18 w 18"/>
                <a:gd name="T31" fmla="*/ 6 h 48"/>
                <a:gd name="T32" fmla="*/ 18 w 18"/>
                <a:gd name="T33" fmla="*/ 10 h 48"/>
                <a:gd name="T34" fmla="*/ 18 w 18"/>
                <a:gd name="T35" fmla="*/ 38 h 48"/>
                <a:gd name="T36" fmla="*/ 18 w 18"/>
                <a:gd name="T37" fmla="*/ 38 h 48"/>
                <a:gd name="T38" fmla="*/ 18 w 18"/>
                <a:gd name="T39" fmla="*/ 42 h 48"/>
                <a:gd name="T40" fmla="*/ 16 w 18"/>
                <a:gd name="T41" fmla="*/ 44 h 48"/>
                <a:gd name="T42" fmla="*/ 14 w 18"/>
                <a:gd name="T43" fmla="*/ 46 h 48"/>
                <a:gd name="T44" fmla="*/ 10 w 18"/>
                <a:gd name="T45" fmla="*/ 48 h 48"/>
                <a:gd name="T46" fmla="*/ 10 w 18"/>
                <a:gd name="T47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8" h="48">
                  <a:moveTo>
                    <a:pt x="10" y="48"/>
                  </a:moveTo>
                  <a:lnTo>
                    <a:pt x="10" y="48"/>
                  </a:lnTo>
                  <a:lnTo>
                    <a:pt x="6" y="46"/>
                  </a:lnTo>
                  <a:lnTo>
                    <a:pt x="4" y="44"/>
                  </a:lnTo>
                  <a:lnTo>
                    <a:pt x="2" y="42"/>
                  </a:lnTo>
                  <a:lnTo>
                    <a:pt x="0" y="38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2" y="6"/>
                  </a:lnTo>
                  <a:lnTo>
                    <a:pt x="4" y="2"/>
                  </a:lnTo>
                  <a:lnTo>
                    <a:pt x="6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4" y="0"/>
                  </a:lnTo>
                  <a:lnTo>
                    <a:pt x="16" y="2"/>
                  </a:lnTo>
                  <a:lnTo>
                    <a:pt x="18" y="6"/>
                  </a:lnTo>
                  <a:lnTo>
                    <a:pt x="18" y="10"/>
                  </a:lnTo>
                  <a:lnTo>
                    <a:pt x="18" y="38"/>
                  </a:lnTo>
                  <a:lnTo>
                    <a:pt x="18" y="38"/>
                  </a:lnTo>
                  <a:lnTo>
                    <a:pt x="18" y="42"/>
                  </a:lnTo>
                  <a:lnTo>
                    <a:pt x="16" y="44"/>
                  </a:lnTo>
                  <a:lnTo>
                    <a:pt x="14" y="46"/>
                  </a:lnTo>
                  <a:lnTo>
                    <a:pt x="10" y="48"/>
                  </a:lnTo>
                  <a:lnTo>
                    <a:pt x="10" y="48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</p:grpSp>
      <p:pic>
        <p:nvPicPr>
          <p:cNvPr id="110" name="Picture 109">
            <a:extLst>
              <a:ext uri="{FF2B5EF4-FFF2-40B4-BE49-F238E27FC236}">
                <a16:creationId xmlns:a16="http://schemas.microsoft.com/office/drawing/2014/main" id="{879281D2-9E6C-45C9-AA98-8CCD085E20E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24695" y="2129706"/>
            <a:ext cx="319143" cy="322574"/>
          </a:xfrm>
          <a:prstGeom prst="rect">
            <a:avLst/>
          </a:prstGeom>
        </p:spPr>
      </p:pic>
      <p:sp>
        <p:nvSpPr>
          <p:cNvPr id="111" name="Arrow: Down 110">
            <a:extLst>
              <a:ext uri="{FF2B5EF4-FFF2-40B4-BE49-F238E27FC236}">
                <a16:creationId xmlns:a16="http://schemas.microsoft.com/office/drawing/2014/main" id="{D276CBF8-5C2B-48E2-98F3-5247F31E0E84}"/>
              </a:ext>
            </a:extLst>
          </p:cNvPr>
          <p:cNvSpPr/>
          <p:nvPr/>
        </p:nvSpPr>
        <p:spPr>
          <a:xfrm>
            <a:off x="7880272" y="1447800"/>
            <a:ext cx="381000" cy="226293"/>
          </a:xfrm>
          <a:prstGeom prst="downArrow">
            <a:avLst/>
          </a:prstGeom>
          <a:solidFill>
            <a:schemeClr val="bg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559324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4992F05-1919-456D-95EB-D7497941F4E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33317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00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4992F05-1919-456D-95EB-D7497941F4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4382E16-B1D4-4F55-8F5F-76A42A8BA0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Экспорт из РФ: </a:t>
            </a:r>
            <a:r>
              <a:rPr lang="ru-RU" dirty="0" err="1" smtClean="0"/>
              <a:t>контрсанкции</a:t>
            </a:r>
            <a:r>
              <a:rPr lang="ru-RU" dirty="0" smtClean="0"/>
              <a:t> 2022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56EE12-D078-4D3F-9AF0-C586A643238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1BC30E3-FFE5-4B91-AA19-87A149EBB9EE}" type="slidenum">
              <a:rPr smtClean="0"/>
              <a:pPr/>
              <a:t>3</a:t>
            </a:fld>
            <a:endParaRPr dirty="0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FBD3BF97-4FC6-4CC7-9C4E-ABE6DB344D64}"/>
              </a:ext>
            </a:extLst>
          </p:cNvPr>
          <p:cNvSpPr/>
          <p:nvPr/>
        </p:nvSpPr>
        <p:spPr>
          <a:xfrm>
            <a:off x="584699" y="1115764"/>
            <a:ext cx="5227950" cy="432581"/>
          </a:xfrm>
          <a:prstGeom prst="roundRect">
            <a:avLst/>
          </a:prstGeom>
          <a:solidFill>
            <a:schemeClr val="bg1">
              <a:lumMod val="20000"/>
              <a:lumOff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ru-RU" sz="1200" b="1" dirty="0">
                <a:solidFill>
                  <a:schemeClr val="bg2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Запрет на вывоз </a:t>
            </a:r>
            <a:r>
              <a:rPr lang="ru-RU" sz="1200" dirty="0">
                <a:solidFill>
                  <a:schemeClr val="bg2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из</a:t>
            </a:r>
            <a:r>
              <a:rPr lang="ru-RU" sz="1200" b="1" dirty="0">
                <a:solidFill>
                  <a:schemeClr val="bg2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>
                <a:solidFill>
                  <a:schemeClr val="bg2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РФ</a:t>
            </a:r>
            <a:r>
              <a:rPr lang="en-US" sz="1200" dirty="0">
                <a:solidFill>
                  <a:schemeClr val="bg2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>
                <a:solidFill>
                  <a:schemeClr val="bg2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в третьи страны (кроме ЕАЭС)</a:t>
            </a:r>
            <a:endParaRPr lang="en-US" sz="1200" dirty="0">
              <a:solidFill>
                <a:schemeClr val="bg2"/>
              </a:solidFill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81415641-FBF4-423B-8889-C132A93CAE6A}"/>
              </a:ext>
            </a:extLst>
          </p:cNvPr>
          <p:cNvSpPr/>
          <p:nvPr/>
        </p:nvSpPr>
        <p:spPr>
          <a:xfrm>
            <a:off x="5971398" y="1115764"/>
            <a:ext cx="5638802" cy="432581"/>
          </a:xfrm>
          <a:prstGeom prst="roundRect">
            <a:avLst/>
          </a:prstGeom>
          <a:solidFill>
            <a:schemeClr val="bg1">
              <a:lumMod val="20000"/>
              <a:lumOff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ru-RU" sz="1200" b="1" dirty="0">
                <a:solidFill>
                  <a:schemeClr val="bg2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Разрешительный порядок вывоза </a:t>
            </a:r>
            <a:r>
              <a:rPr lang="ru-RU" sz="1200" dirty="0">
                <a:solidFill>
                  <a:schemeClr val="bg2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из РФ в страны ЕАЭС </a:t>
            </a:r>
            <a:r>
              <a:rPr lang="ru-RU" sz="1200" dirty="0" smtClean="0">
                <a:solidFill>
                  <a:schemeClr val="bg2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/>
            </a:r>
            <a:br>
              <a:rPr lang="ru-RU" sz="1200" dirty="0" smtClean="0">
                <a:solidFill>
                  <a:schemeClr val="bg2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1200" dirty="0" smtClean="0">
                <a:solidFill>
                  <a:schemeClr val="bg2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(</a:t>
            </a:r>
            <a:r>
              <a:rPr lang="ru-RU" sz="1200" dirty="0">
                <a:solidFill>
                  <a:schemeClr val="bg2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кроме РБ)</a:t>
            </a:r>
            <a:endParaRPr lang="en-US" sz="1200" dirty="0">
              <a:solidFill>
                <a:schemeClr val="bg2"/>
              </a:solidFill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A67D0AC3-1FA4-4C27-B55A-BF60480DBEC1}"/>
              </a:ext>
            </a:extLst>
          </p:cNvPr>
          <p:cNvSpPr/>
          <p:nvPr/>
        </p:nvSpPr>
        <p:spPr>
          <a:xfrm>
            <a:off x="584698" y="1856870"/>
            <a:ext cx="5227951" cy="432580"/>
          </a:xfrm>
          <a:prstGeom prst="roundRect">
            <a:avLst/>
          </a:prstGeom>
          <a:solidFill>
            <a:schemeClr val="bg1">
              <a:lumMod val="20000"/>
              <a:lumOff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70866" marR="0" lvl="2" indent="0" algn="ctr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ПП РФ от 09.03.2022 № 311</a:t>
            </a:r>
            <a:endParaRPr kumimoji="0" lang="ru-RU" sz="1200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highlight>
                <a:srgbClr val="FF0000"/>
              </a:highlight>
              <a:uLnTx/>
              <a:uFillTx/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" name="Arrow: Down 9">
            <a:extLst>
              <a:ext uri="{FF2B5EF4-FFF2-40B4-BE49-F238E27FC236}">
                <a16:creationId xmlns:a16="http://schemas.microsoft.com/office/drawing/2014/main" id="{CBA43E4B-0BB1-44A3-B98D-9C45CEA7C312}"/>
              </a:ext>
            </a:extLst>
          </p:cNvPr>
          <p:cNvSpPr/>
          <p:nvPr/>
        </p:nvSpPr>
        <p:spPr>
          <a:xfrm>
            <a:off x="3080101" y="1543195"/>
            <a:ext cx="395893" cy="263324"/>
          </a:xfrm>
          <a:prstGeom prst="downArrow">
            <a:avLst/>
          </a:prstGeom>
          <a:solidFill>
            <a:schemeClr val="bg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D5752B3F-181C-4300-818A-2C67FBFF858F}"/>
              </a:ext>
            </a:extLst>
          </p:cNvPr>
          <p:cNvSpPr/>
          <p:nvPr/>
        </p:nvSpPr>
        <p:spPr>
          <a:xfrm>
            <a:off x="5971399" y="1856870"/>
            <a:ext cx="5638800" cy="432580"/>
          </a:xfrm>
          <a:prstGeom prst="roundRect">
            <a:avLst/>
          </a:prstGeom>
          <a:solidFill>
            <a:schemeClr val="bg1">
              <a:lumMod val="20000"/>
              <a:lumOff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70866" marR="0" lvl="2" indent="0" algn="ctr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ПП РФ от 09.03.2022 № 312</a:t>
            </a:r>
          </a:p>
        </p:txBody>
      </p:sp>
      <p:sp>
        <p:nvSpPr>
          <p:cNvPr id="12" name="Left Brace 11">
            <a:extLst>
              <a:ext uri="{FF2B5EF4-FFF2-40B4-BE49-F238E27FC236}">
                <a16:creationId xmlns:a16="http://schemas.microsoft.com/office/drawing/2014/main" id="{CC2326A3-C6AC-4E7C-8A99-7E6446818752}"/>
              </a:ext>
            </a:extLst>
          </p:cNvPr>
          <p:cNvSpPr/>
          <p:nvPr/>
        </p:nvSpPr>
        <p:spPr>
          <a:xfrm rot="5400000" flipH="1">
            <a:off x="5894961" y="-2790340"/>
            <a:ext cx="432580" cy="10997898"/>
          </a:xfrm>
          <a:prstGeom prst="leftBrace">
            <a:avLst>
              <a:gd name="adj1" fmla="val 122142"/>
              <a:gd name="adj2" fmla="val 49951"/>
            </a:avLst>
          </a:prstGeom>
          <a:ln w="1270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>
              <a:latin typeface="+mj-lt"/>
            </a:endParaRPr>
          </a:p>
        </p:txBody>
      </p:sp>
      <p:sp>
        <p:nvSpPr>
          <p:cNvPr id="17" name="Arrow: Down 16">
            <a:extLst>
              <a:ext uri="{FF2B5EF4-FFF2-40B4-BE49-F238E27FC236}">
                <a16:creationId xmlns:a16="http://schemas.microsoft.com/office/drawing/2014/main" id="{D25FAD58-1095-428A-8FB9-DF6DCAFFDC1E}"/>
              </a:ext>
            </a:extLst>
          </p:cNvPr>
          <p:cNvSpPr/>
          <p:nvPr/>
        </p:nvSpPr>
        <p:spPr>
          <a:xfrm>
            <a:off x="8718901" y="1543195"/>
            <a:ext cx="395893" cy="263324"/>
          </a:xfrm>
          <a:prstGeom prst="downArrow">
            <a:avLst/>
          </a:prstGeom>
          <a:solidFill>
            <a:schemeClr val="bg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4" name="Rectangle: Rounded Corners 40">
            <a:extLst>
              <a:ext uri="{FF2B5EF4-FFF2-40B4-BE49-F238E27FC236}">
                <a16:creationId xmlns:a16="http://schemas.microsoft.com/office/drawing/2014/main" id="{67441C27-DF0A-4AE6-A907-3100A6A97558}"/>
              </a:ext>
            </a:extLst>
          </p:cNvPr>
          <p:cNvSpPr/>
          <p:nvPr/>
        </p:nvSpPr>
        <p:spPr>
          <a:xfrm>
            <a:off x="4276476" y="3156544"/>
            <a:ext cx="6973896" cy="3324335"/>
          </a:xfrm>
          <a:prstGeom prst="roundRect">
            <a:avLst>
              <a:gd name="adj" fmla="val 2454"/>
            </a:avLst>
          </a:prstGeom>
          <a:noFill/>
          <a:ln w="25400" cap="flat" cmpd="sng" algn="ctr">
            <a:solidFill>
              <a:srgbClr val="00B050"/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российские товары, сопровождаемые сертификатом о происхождении СТ-1 или иным сертификатом либо заключением, подтвержденным </a:t>
            </a:r>
            <a:r>
              <a:rPr kumimoji="0" lang="ru-RU" sz="1200" b="0" i="0" u="none" strike="noStrike" kern="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Минпромторгом</a:t>
            </a: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 России;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ru-RU" sz="1200" kern="0" noProof="0" dirty="0" smtClean="0">
                <a:solidFill>
                  <a:prstClr val="black"/>
                </a:solidFill>
                <a:latin typeface="+mj-lt"/>
              </a:rPr>
              <a:t>товары, вывозимые в государства ЕАЭС;</a:t>
            </a:r>
            <a:endParaRPr kumimoji="0" lang="ru-RU" sz="12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</a:endParaRP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товары, перемещаемые в рамках транзитных перевозок;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товары, перемещаемые между частями РФ через иностранные государства;</a:t>
            </a: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</a:endParaRP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товары, вывозимые по лицензиям ФСТЭК, ФСВТС;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вывозимые в целях завершения таможенной процедуры переработки на ТТ;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происходящие из ЕАЭС, помещенные под процедуры, предусматривающие вывоз;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ТСМП, запасные части к ним, временно вывозимые с территории РФ;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товары, произведенные на территориях </a:t>
            </a:r>
            <a:r>
              <a:rPr lang="ru-RU" sz="1200" kern="0" dirty="0">
                <a:solidFill>
                  <a:prstClr val="black"/>
                </a:solidFill>
                <a:latin typeface="+mj-lt"/>
              </a:rPr>
              <a:t>ОЭЗ, СЭЗ, свободного склада;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ru-RU" sz="1200" kern="0" dirty="0">
                <a:solidFill>
                  <a:prstClr val="black"/>
                </a:solidFill>
                <a:latin typeface="+mj-lt"/>
              </a:rPr>
              <a:t>товары, вывозимые из РФ в качестве припасов;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ru-RU" sz="1200" kern="0" dirty="0">
                <a:solidFill>
                  <a:prstClr val="black"/>
                </a:solidFill>
                <a:latin typeface="+mj-lt"/>
              </a:rPr>
              <a:t>товары, вывозимые из РФ для обеспечения деятельности водных судов;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ru-RU" sz="1200" kern="0" dirty="0">
                <a:solidFill>
                  <a:prstClr val="black"/>
                </a:solidFill>
                <a:latin typeface="+mj-lt"/>
              </a:rPr>
              <a:t>многооборотная тара, помещаемая под таможенную процедуру реэкспорта;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ru-RU" sz="1200" kern="0" dirty="0">
                <a:solidFill>
                  <a:prstClr val="black"/>
                </a:solidFill>
                <a:latin typeface="+mj-lt"/>
              </a:rPr>
              <a:t>вывозимые из РФ товары, ранее ввезенные с применением </a:t>
            </a:r>
            <a:r>
              <a:rPr lang="ru-RU" sz="1200" kern="0" dirty="0" err="1">
                <a:solidFill>
                  <a:prstClr val="black"/>
                </a:solidFill>
                <a:latin typeface="+mj-lt"/>
              </a:rPr>
              <a:t>карнета</a:t>
            </a:r>
            <a:r>
              <a:rPr lang="ru-RU" sz="1200" kern="0" dirty="0">
                <a:solidFill>
                  <a:prstClr val="black"/>
                </a:solidFill>
                <a:latin typeface="+mj-lt"/>
              </a:rPr>
              <a:t> АТА;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ru-RU" sz="1200" kern="0" dirty="0">
                <a:solidFill>
                  <a:prstClr val="black"/>
                </a:solidFill>
                <a:latin typeface="+mj-lt"/>
              </a:rPr>
              <a:t>товары, перемещаемые физическими лицами для личного пользования и др.</a:t>
            </a:r>
          </a:p>
        </p:txBody>
      </p:sp>
      <p:sp>
        <p:nvSpPr>
          <p:cNvPr id="16" name="Rectangle: Rounded Corners 115">
            <a:extLst>
              <a:ext uri="{FF2B5EF4-FFF2-40B4-BE49-F238E27FC236}">
                <a16:creationId xmlns:a16="http://schemas.microsoft.com/office/drawing/2014/main" id="{2C52E68F-E88D-4DF9-8217-5BA517022D0E}"/>
              </a:ext>
            </a:extLst>
          </p:cNvPr>
          <p:cNvSpPr/>
          <p:nvPr/>
        </p:nvSpPr>
        <p:spPr>
          <a:xfrm>
            <a:off x="4275805" y="2920687"/>
            <a:ext cx="1762955" cy="235857"/>
          </a:xfrm>
          <a:prstGeom prst="roundRect">
            <a:avLst/>
          </a:prstGeom>
          <a:solidFill>
            <a:srgbClr val="00B050"/>
          </a:solidFill>
          <a:ln w="19050" cap="flat" cmpd="sng" algn="ctr">
            <a:solidFill>
              <a:srgbClr val="00B050"/>
            </a:solidFill>
            <a:prstDash val="solid"/>
            <a:miter lim="800000"/>
          </a:ln>
          <a:effectLst/>
        </p:spPr>
        <p:txBody>
          <a:bodyPr rtlCol="0" anchor="ctr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</a:rPr>
              <a:t>ИСКЛЮЧЕНИЯ: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</a:endParaRPr>
          </a:p>
        </p:txBody>
      </p:sp>
      <p:grpSp>
        <p:nvGrpSpPr>
          <p:cNvPr id="18" name="Group 33">
            <a:extLst>
              <a:ext uri="{FF2B5EF4-FFF2-40B4-BE49-F238E27FC236}">
                <a16:creationId xmlns:a16="http://schemas.microsoft.com/office/drawing/2014/main" id="{C6FA6F7A-0A42-4923-9258-926A25C68DF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45009" y="2978066"/>
            <a:ext cx="436652" cy="535891"/>
            <a:chOff x="3210" y="783"/>
            <a:chExt cx="660" cy="810"/>
          </a:xfrm>
        </p:grpSpPr>
        <p:sp>
          <p:nvSpPr>
            <p:cNvPr id="19" name="AutoShape 32">
              <a:extLst>
                <a:ext uri="{FF2B5EF4-FFF2-40B4-BE49-F238E27FC236}">
                  <a16:creationId xmlns:a16="http://schemas.microsoft.com/office/drawing/2014/main" id="{2D20F8DD-0C09-4042-80BC-3C826124FDA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210" y="783"/>
              <a:ext cx="660" cy="8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+mj-lt"/>
              </a:endParaRPr>
            </a:p>
          </p:txBody>
        </p:sp>
        <p:sp>
          <p:nvSpPr>
            <p:cNvPr id="20" name="Freeform 34">
              <a:extLst>
                <a:ext uri="{FF2B5EF4-FFF2-40B4-BE49-F238E27FC236}">
                  <a16:creationId xmlns:a16="http://schemas.microsoft.com/office/drawing/2014/main" id="{1A9BC9A2-1C21-41C2-B0D7-1BCBEDD7135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0" y="1091"/>
              <a:ext cx="524" cy="448"/>
            </a:xfrm>
            <a:custGeom>
              <a:avLst/>
              <a:gdLst>
                <a:gd name="T0" fmla="*/ 0 w 524"/>
                <a:gd name="T1" fmla="*/ 448 h 448"/>
                <a:gd name="T2" fmla="*/ 310 w 524"/>
                <a:gd name="T3" fmla="*/ 430 h 448"/>
                <a:gd name="T4" fmla="*/ 330 w 524"/>
                <a:gd name="T5" fmla="*/ 430 h 448"/>
                <a:gd name="T6" fmla="*/ 368 w 524"/>
                <a:gd name="T7" fmla="*/ 422 h 448"/>
                <a:gd name="T8" fmla="*/ 404 w 524"/>
                <a:gd name="T9" fmla="*/ 406 h 448"/>
                <a:gd name="T10" fmla="*/ 434 w 524"/>
                <a:gd name="T11" fmla="*/ 386 h 448"/>
                <a:gd name="T12" fmla="*/ 462 w 524"/>
                <a:gd name="T13" fmla="*/ 360 h 448"/>
                <a:gd name="T14" fmla="*/ 482 w 524"/>
                <a:gd name="T15" fmla="*/ 328 h 448"/>
                <a:gd name="T16" fmla="*/ 498 w 524"/>
                <a:gd name="T17" fmla="*/ 292 h 448"/>
                <a:gd name="T18" fmla="*/ 506 w 524"/>
                <a:gd name="T19" fmla="*/ 254 h 448"/>
                <a:gd name="T20" fmla="*/ 506 w 524"/>
                <a:gd name="T21" fmla="*/ 214 h 448"/>
                <a:gd name="T22" fmla="*/ 506 w 524"/>
                <a:gd name="T23" fmla="*/ 194 h 448"/>
                <a:gd name="T24" fmla="*/ 498 w 524"/>
                <a:gd name="T25" fmla="*/ 156 h 448"/>
                <a:gd name="T26" fmla="*/ 482 w 524"/>
                <a:gd name="T27" fmla="*/ 120 h 448"/>
                <a:gd name="T28" fmla="*/ 462 w 524"/>
                <a:gd name="T29" fmla="*/ 90 h 448"/>
                <a:gd name="T30" fmla="*/ 434 w 524"/>
                <a:gd name="T31" fmla="*/ 64 h 448"/>
                <a:gd name="T32" fmla="*/ 404 w 524"/>
                <a:gd name="T33" fmla="*/ 42 h 448"/>
                <a:gd name="T34" fmla="*/ 368 w 524"/>
                <a:gd name="T35" fmla="*/ 28 h 448"/>
                <a:gd name="T36" fmla="*/ 330 w 524"/>
                <a:gd name="T37" fmla="*/ 20 h 448"/>
                <a:gd name="T38" fmla="*/ 280 w 524"/>
                <a:gd name="T39" fmla="*/ 18 h 448"/>
                <a:gd name="T40" fmla="*/ 310 w 524"/>
                <a:gd name="T41" fmla="*/ 0 h 448"/>
                <a:gd name="T42" fmla="*/ 332 w 524"/>
                <a:gd name="T43" fmla="*/ 2 h 448"/>
                <a:gd name="T44" fmla="*/ 374 w 524"/>
                <a:gd name="T45" fmla="*/ 10 h 448"/>
                <a:gd name="T46" fmla="*/ 412 w 524"/>
                <a:gd name="T47" fmla="*/ 26 h 448"/>
                <a:gd name="T48" fmla="*/ 446 w 524"/>
                <a:gd name="T49" fmla="*/ 50 h 448"/>
                <a:gd name="T50" fmla="*/ 476 w 524"/>
                <a:gd name="T51" fmla="*/ 78 h 448"/>
                <a:gd name="T52" fmla="*/ 498 w 524"/>
                <a:gd name="T53" fmla="*/ 112 h 448"/>
                <a:gd name="T54" fmla="*/ 514 w 524"/>
                <a:gd name="T55" fmla="*/ 150 h 448"/>
                <a:gd name="T56" fmla="*/ 524 w 524"/>
                <a:gd name="T57" fmla="*/ 192 h 448"/>
                <a:gd name="T58" fmla="*/ 524 w 524"/>
                <a:gd name="T59" fmla="*/ 234 h 448"/>
                <a:gd name="T60" fmla="*/ 524 w 524"/>
                <a:gd name="T61" fmla="*/ 256 h 448"/>
                <a:gd name="T62" fmla="*/ 514 w 524"/>
                <a:gd name="T63" fmla="*/ 298 h 448"/>
                <a:gd name="T64" fmla="*/ 498 w 524"/>
                <a:gd name="T65" fmla="*/ 336 h 448"/>
                <a:gd name="T66" fmla="*/ 476 w 524"/>
                <a:gd name="T67" fmla="*/ 370 h 448"/>
                <a:gd name="T68" fmla="*/ 446 w 524"/>
                <a:gd name="T69" fmla="*/ 400 h 448"/>
                <a:gd name="T70" fmla="*/ 412 w 524"/>
                <a:gd name="T71" fmla="*/ 422 h 448"/>
                <a:gd name="T72" fmla="*/ 374 w 524"/>
                <a:gd name="T73" fmla="*/ 438 h 448"/>
                <a:gd name="T74" fmla="*/ 332 w 524"/>
                <a:gd name="T75" fmla="*/ 448 h 448"/>
                <a:gd name="T76" fmla="*/ 310 w 524"/>
                <a:gd name="T77" fmla="*/ 448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24" h="448">
                  <a:moveTo>
                    <a:pt x="310" y="448"/>
                  </a:moveTo>
                  <a:lnTo>
                    <a:pt x="0" y="448"/>
                  </a:lnTo>
                  <a:lnTo>
                    <a:pt x="0" y="430"/>
                  </a:lnTo>
                  <a:lnTo>
                    <a:pt x="310" y="430"/>
                  </a:lnTo>
                  <a:lnTo>
                    <a:pt x="310" y="430"/>
                  </a:lnTo>
                  <a:lnTo>
                    <a:pt x="330" y="430"/>
                  </a:lnTo>
                  <a:lnTo>
                    <a:pt x="350" y="426"/>
                  </a:lnTo>
                  <a:lnTo>
                    <a:pt x="368" y="422"/>
                  </a:lnTo>
                  <a:lnTo>
                    <a:pt x="386" y="416"/>
                  </a:lnTo>
                  <a:lnTo>
                    <a:pt x="404" y="406"/>
                  </a:lnTo>
                  <a:lnTo>
                    <a:pt x="420" y="398"/>
                  </a:lnTo>
                  <a:lnTo>
                    <a:pt x="434" y="386"/>
                  </a:lnTo>
                  <a:lnTo>
                    <a:pt x="448" y="374"/>
                  </a:lnTo>
                  <a:lnTo>
                    <a:pt x="462" y="360"/>
                  </a:lnTo>
                  <a:lnTo>
                    <a:pt x="472" y="344"/>
                  </a:lnTo>
                  <a:lnTo>
                    <a:pt x="482" y="328"/>
                  </a:lnTo>
                  <a:lnTo>
                    <a:pt x="490" y="310"/>
                  </a:lnTo>
                  <a:lnTo>
                    <a:pt x="498" y="292"/>
                  </a:lnTo>
                  <a:lnTo>
                    <a:pt x="502" y="274"/>
                  </a:lnTo>
                  <a:lnTo>
                    <a:pt x="506" y="254"/>
                  </a:lnTo>
                  <a:lnTo>
                    <a:pt x="506" y="234"/>
                  </a:lnTo>
                  <a:lnTo>
                    <a:pt x="506" y="214"/>
                  </a:lnTo>
                  <a:lnTo>
                    <a:pt x="506" y="214"/>
                  </a:lnTo>
                  <a:lnTo>
                    <a:pt x="506" y="194"/>
                  </a:lnTo>
                  <a:lnTo>
                    <a:pt x="502" y="174"/>
                  </a:lnTo>
                  <a:lnTo>
                    <a:pt x="498" y="156"/>
                  </a:lnTo>
                  <a:lnTo>
                    <a:pt x="490" y="138"/>
                  </a:lnTo>
                  <a:lnTo>
                    <a:pt x="482" y="120"/>
                  </a:lnTo>
                  <a:lnTo>
                    <a:pt x="472" y="104"/>
                  </a:lnTo>
                  <a:lnTo>
                    <a:pt x="462" y="90"/>
                  </a:lnTo>
                  <a:lnTo>
                    <a:pt x="448" y="76"/>
                  </a:lnTo>
                  <a:lnTo>
                    <a:pt x="434" y="64"/>
                  </a:lnTo>
                  <a:lnTo>
                    <a:pt x="420" y="52"/>
                  </a:lnTo>
                  <a:lnTo>
                    <a:pt x="404" y="42"/>
                  </a:lnTo>
                  <a:lnTo>
                    <a:pt x="386" y="34"/>
                  </a:lnTo>
                  <a:lnTo>
                    <a:pt x="368" y="28"/>
                  </a:lnTo>
                  <a:lnTo>
                    <a:pt x="350" y="22"/>
                  </a:lnTo>
                  <a:lnTo>
                    <a:pt x="330" y="20"/>
                  </a:lnTo>
                  <a:lnTo>
                    <a:pt x="310" y="18"/>
                  </a:lnTo>
                  <a:lnTo>
                    <a:pt x="280" y="18"/>
                  </a:lnTo>
                  <a:lnTo>
                    <a:pt x="280" y="0"/>
                  </a:lnTo>
                  <a:lnTo>
                    <a:pt x="310" y="0"/>
                  </a:lnTo>
                  <a:lnTo>
                    <a:pt x="310" y="0"/>
                  </a:lnTo>
                  <a:lnTo>
                    <a:pt x="332" y="2"/>
                  </a:lnTo>
                  <a:lnTo>
                    <a:pt x="354" y="4"/>
                  </a:lnTo>
                  <a:lnTo>
                    <a:pt x="374" y="10"/>
                  </a:lnTo>
                  <a:lnTo>
                    <a:pt x="394" y="18"/>
                  </a:lnTo>
                  <a:lnTo>
                    <a:pt x="412" y="26"/>
                  </a:lnTo>
                  <a:lnTo>
                    <a:pt x="430" y="36"/>
                  </a:lnTo>
                  <a:lnTo>
                    <a:pt x="446" y="50"/>
                  </a:lnTo>
                  <a:lnTo>
                    <a:pt x="462" y="62"/>
                  </a:lnTo>
                  <a:lnTo>
                    <a:pt x="476" y="78"/>
                  </a:lnTo>
                  <a:lnTo>
                    <a:pt x="488" y="94"/>
                  </a:lnTo>
                  <a:lnTo>
                    <a:pt x="498" y="112"/>
                  </a:lnTo>
                  <a:lnTo>
                    <a:pt x="508" y="130"/>
                  </a:lnTo>
                  <a:lnTo>
                    <a:pt x="514" y="150"/>
                  </a:lnTo>
                  <a:lnTo>
                    <a:pt x="520" y="170"/>
                  </a:lnTo>
                  <a:lnTo>
                    <a:pt x="524" y="192"/>
                  </a:lnTo>
                  <a:lnTo>
                    <a:pt x="524" y="214"/>
                  </a:lnTo>
                  <a:lnTo>
                    <a:pt x="524" y="234"/>
                  </a:lnTo>
                  <a:lnTo>
                    <a:pt x="524" y="234"/>
                  </a:lnTo>
                  <a:lnTo>
                    <a:pt x="524" y="256"/>
                  </a:lnTo>
                  <a:lnTo>
                    <a:pt x="520" y="278"/>
                  </a:lnTo>
                  <a:lnTo>
                    <a:pt x="514" y="298"/>
                  </a:lnTo>
                  <a:lnTo>
                    <a:pt x="508" y="318"/>
                  </a:lnTo>
                  <a:lnTo>
                    <a:pt x="498" y="336"/>
                  </a:lnTo>
                  <a:lnTo>
                    <a:pt x="488" y="354"/>
                  </a:lnTo>
                  <a:lnTo>
                    <a:pt x="476" y="370"/>
                  </a:lnTo>
                  <a:lnTo>
                    <a:pt x="462" y="386"/>
                  </a:lnTo>
                  <a:lnTo>
                    <a:pt x="446" y="400"/>
                  </a:lnTo>
                  <a:lnTo>
                    <a:pt x="430" y="412"/>
                  </a:lnTo>
                  <a:lnTo>
                    <a:pt x="412" y="422"/>
                  </a:lnTo>
                  <a:lnTo>
                    <a:pt x="394" y="432"/>
                  </a:lnTo>
                  <a:lnTo>
                    <a:pt x="374" y="438"/>
                  </a:lnTo>
                  <a:lnTo>
                    <a:pt x="354" y="444"/>
                  </a:lnTo>
                  <a:lnTo>
                    <a:pt x="332" y="448"/>
                  </a:lnTo>
                  <a:lnTo>
                    <a:pt x="310" y="448"/>
                  </a:lnTo>
                  <a:lnTo>
                    <a:pt x="310" y="448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+mj-lt"/>
              </a:endParaRPr>
            </a:p>
          </p:txBody>
        </p:sp>
        <p:sp>
          <p:nvSpPr>
            <p:cNvPr id="21" name="Freeform 35">
              <a:extLst>
                <a:ext uri="{FF2B5EF4-FFF2-40B4-BE49-F238E27FC236}">
                  <a16:creationId xmlns:a16="http://schemas.microsoft.com/office/drawing/2014/main" id="{E742F184-4AFE-49B0-8E93-DCB93D982A21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4" y="1139"/>
              <a:ext cx="444" cy="348"/>
            </a:xfrm>
            <a:custGeom>
              <a:avLst/>
              <a:gdLst>
                <a:gd name="T0" fmla="*/ 8 w 444"/>
                <a:gd name="T1" fmla="*/ 348 h 348"/>
                <a:gd name="T2" fmla="*/ 4 w 444"/>
                <a:gd name="T3" fmla="*/ 346 h 348"/>
                <a:gd name="T4" fmla="*/ 0 w 444"/>
                <a:gd name="T5" fmla="*/ 342 h 348"/>
                <a:gd name="T6" fmla="*/ 0 w 444"/>
                <a:gd name="T7" fmla="*/ 338 h 348"/>
                <a:gd name="T8" fmla="*/ 2 w 444"/>
                <a:gd name="T9" fmla="*/ 332 h 348"/>
                <a:gd name="T10" fmla="*/ 8 w 444"/>
                <a:gd name="T11" fmla="*/ 330 h 348"/>
                <a:gd name="T12" fmla="*/ 282 w 444"/>
                <a:gd name="T13" fmla="*/ 330 h 348"/>
                <a:gd name="T14" fmla="*/ 310 w 444"/>
                <a:gd name="T15" fmla="*/ 326 h 348"/>
                <a:gd name="T16" fmla="*/ 338 w 444"/>
                <a:gd name="T17" fmla="*/ 318 h 348"/>
                <a:gd name="T18" fmla="*/ 362 w 444"/>
                <a:gd name="T19" fmla="*/ 304 h 348"/>
                <a:gd name="T20" fmla="*/ 384 w 444"/>
                <a:gd name="T21" fmla="*/ 286 h 348"/>
                <a:gd name="T22" fmla="*/ 402 w 444"/>
                <a:gd name="T23" fmla="*/ 266 h 348"/>
                <a:gd name="T24" fmla="*/ 414 w 444"/>
                <a:gd name="T25" fmla="*/ 240 h 348"/>
                <a:gd name="T26" fmla="*/ 424 w 444"/>
                <a:gd name="T27" fmla="*/ 214 h 348"/>
                <a:gd name="T28" fmla="*/ 426 w 444"/>
                <a:gd name="T29" fmla="*/ 184 h 348"/>
                <a:gd name="T30" fmla="*/ 426 w 444"/>
                <a:gd name="T31" fmla="*/ 162 h 348"/>
                <a:gd name="T32" fmla="*/ 424 w 444"/>
                <a:gd name="T33" fmla="*/ 134 h 348"/>
                <a:gd name="T34" fmla="*/ 414 w 444"/>
                <a:gd name="T35" fmla="*/ 106 h 348"/>
                <a:gd name="T36" fmla="*/ 402 w 444"/>
                <a:gd name="T37" fmla="*/ 82 h 348"/>
                <a:gd name="T38" fmla="*/ 384 w 444"/>
                <a:gd name="T39" fmla="*/ 60 h 348"/>
                <a:gd name="T40" fmla="*/ 362 w 444"/>
                <a:gd name="T41" fmla="*/ 44 h 348"/>
                <a:gd name="T42" fmla="*/ 338 w 444"/>
                <a:gd name="T43" fmla="*/ 30 h 348"/>
                <a:gd name="T44" fmla="*/ 310 w 444"/>
                <a:gd name="T45" fmla="*/ 22 h 348"/>
                <a:gd name="T46" fmla="*/ 282 w 444"/>
                <a:gd name="T47" fmla="*/ 18 h 348"/>
                <a:gd name="T48" fmla="*/ 264 w 444"/>
                <a:gd name="T49" fmla="*/ 18 h 348"/>
                <a:gd name="T50" fmla="*/ 258 w 444"/>
                <a:gd name="T51" fmla="*/ 16 h 348"/>
                <a:gd name="T52" fmla="*/ 256 w 444"/>
                <a:gd name="T53" fmla="*/ 10 h 348"/>
                <a:gd name="T54" fmla="*/ 256 w 444"/>
                <a:gd name="T55" fmla="*/ 6 h 348"/>
                <a:gd name="T56" fmla="*/ 262 w 444"/>
                <a:gd name="T57" fmla="*/ 2 h 348"/>
                <a:gd name="T58" fmla="*/ 282 w 444"/>
                <a:gd name="T59" fmla="*/ 0 h 348"/>
                <a:gd name="T60" fmla="*/ 298 w 444"/>
                <a:gd name="T61" fmla="*/ 2 h 348"/>
                <a:gd name="T62" fmla="*/ 330 w 444"/>
                <a:gd name="T63" fmla="*/ 8 h 348"/>
                <a:gd name="T64" fmla="*/ 358 w 444"/>
                <a:gd name="T65" fmla="*/ 20 h 348"/>
                <a:gd name="T66" fmla="*/ 384 w 444"/>
                <a:gd name="T67" fmla="*/ 38 h 348"/>
                <a:gd name="T68" fmla="*/ 406 w 444"/>
                <a:gd name="T69" fmla="*/ 60 h 348"/>
                <a:gd name="T70" fmla="*/ 424 w 444"/>
                <a:gd name="T71" fmla="*/ 86 h 348"/>
                <a:gd name="T72" fmla="*/ 436 w 444"/>
                <a:gd name="T73" fmla="*/ 114 h 348"/>
                <a:gd name="T74" fmla="*/ 444 w 444"/>
                <a:gd name="T75" fmla="*/ 146 h 348"/>
                <a:gd name="T76" fmla="*/ 444 w 444"/>
                <a:gd name="T77" fmla="*/ 184 h 348"/>
                <a:gd name="T78" fmla="*/ 444 w 444"/>
                <a:gd name="T79" fmla="*/ 202 h 348"/>
                <a:gd name="T80" fmla="*/ 436 w 444"/>
                <a:gd name="T81" fmla="*/ 232 h 348"/>
                <a:gd name="T82" fmla="*/ 424 w 444"/>
                <a:gd name="T83" fmla="*/ 262 h 348"/>
                <a:gd name="T84" fmla="*/ 406 w 444"/>
                <a:gd name="T85" fmla="*/ 288 h 348"/>
                <a:gd name="T86" fmla="*/ 384 w 444"/>
                <a:gd name="T87" fmla="*/ 310 h 348"/>
                <a:gd name="T88" fmla="*/ 358 w 444"/>
                <a:gd name="T89" fmla="*/ 328 h 348"/>
                <a:gd name="T90" fmla="*/ 330 w 444"/>
                <a:gd name="T91" fmla="*/ 340 h 348"/>
                <a:gd name="T92" fmla="*/ 298 w 444"/>
                <a:gd name="T93" fmla="*/ 346 h 348"/>
                <a:gd name="T94" fmla="*/ 282 w 444"/>
                <a:gd name="T95" fmla="*/ 348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44" h="348">
                  <a:moveTo>
                    <a:pt x="282" y="348"/>
                  </a:moveTo>
                  <a:lnTo>
                    <a:pt x="8" y="348"/>
                  </a:lnTo>
                  <a:lnTo>
                    <a:pt x="8" y="348"/>
                  </a:lnTo>
                  <a:lnTo>
                    <a:pt x="4" y="346"/>
                  </a:lnTo>
                  <a:lnTo>
                    <a:pt x="2" y="344"/>
                  </a:lnTo>
                  <a:lnTo>
                    <a:pt x="0" y="342"/>
                  </a:lnTo>
                  <a:lnTo>
                    <a:pt x="0" y="338"/>
                  </a:lnTo>
                  <a:lnTo>
                    <a:pt x="0" y="338"/>
                  </a:lnTo>
                  <a:lnTo>
                    <a:pt x="0" y="334"/>
                  </a:lnTo>
                  <a:lnTo>
                    <a:pt x="2" y="332"/>
                  </a:lnTo>
                  <a:lnTo>
                    <a:pt x="4" y="330"/>
                  </a:lnTo>
                  <a:lnTo>
                    <a:pt x="8" y="330"/>
                  </a:lnTo>
                  <a:lnTo>
                    <a:pt x="282" y="330"/>
                  </a:lnTo>
                  <a:lnTo>
                    <a:pt x="282" y="330"/>
                  </a:lnTo>
                  <a:lnTo>
                    <a:pt x="296" y="328"/>
                  </a:lnTo>
                  <a:lnTo>
                    <a:pt x="310" y="326"/>
                  </a:lnTo>
                  <a:lnTo>
                    <a:pt x="324" y="322"/>
                  </a:lnTo>
                  <a:lnTo>
                    <a:pt x="338" y="318"/>
                  </a:lnTo>
                  <a:lnTo>
                    <a:pt x="350" y="312"/>
                  </a:lnTo>
                  <a:lnTo>
                    <a:pt x="362" y="304"/>
                  </a:lnTo>
                  <a:lnTo>
                    <a:pt x="374" y="296"/>
                  </a:lnTo>
                  <a:lnTo>
                    <a:pt x="384" y="286"/>
                  </a:lnTo>
                  <a:lnTo>
                    <a:pt x="392" y="276"/>
                  </a:lnTo>
                  <a:lnTo>
                    <a:pt x="402" y="266"/>
                  </a:lnTo>
                  <a:lnTo>
                    <a:pt x="408" y="254"/>
                  </a:lnTo>
                  <a:lnTo>
                    <a:pt x="414" y="240"/>
                  </a:lnTo>
                  <a:lnTo>
                    <a:pt x="420" y="228"/>
                  </a:lnTo>
                  <a:lnTo>
                    <a:pt x="424" y="214"/>
                  </a:lnTo>
                  <a:lnTo>
                    <a:pt x="426" y="200"/>
                  </a:lnTo>
                  <a:lnTo>
                    <a:pt x="426" y="184"/>
                  </a:lnTo>
                  <a:lnTo>
                    <a:pt x="426" y="162"/>
                  </a:lnTo>
                  <a:lnTo>
                    <a:pt x="426" y="162"/>
                  </a:lnTo>
                  <a:lnTo>
                    <a:pt x="426" y="148"/>
                  </a:lnTo>
                  <a:lnTo>
                    <a:pt x="424" y="134"/>
                  </a:lnTo>
                  <a:lnTo>
                    <a:pt x="420" y="120"/>
                  </a:lnTo>
                  <a:lnTo>
                    <a:pt x="414" y="106"/>
                  </a:lnTo>
                  <a:lnTo>
                    <a:pt x="408" y="94"/>
                  </a:lnTo>
                  <a:lnTo>
                    <a:pt x="402" y="82"/>
                  </a:lnTo>
                  <a:lnTo>
                    <a:pt x="392" y="72"/>
                  </a:lnTo>
                  <a:lnTo>
                    <a:pt x="384" y="60"/>
                  </a:lnTo>
                  <a:lnTo>
                    <a:pt x="374" y="52"/>
                  </a:lnTo>
                  <a:lnTo>
                    <a:pt x="362" y="44"/>
                  </a:lnTo>
                  <a:lnTo>
                    <a:pt x="350" y="36"/>
                  </a:lnTo>
                  <a:lnTo>
                    <a:pt x="338" y="30"/>
                  </a:lnTo>
                  <a:lnTo>
                    <a:pt x="324" y="24"/>
                  </a:lnTo>
                  <a:lnTo>
                    <a:pt x="310" y="22"/>
                  </a:lnTo>
                  <a:lnTo>
                    <a:pt x="296" y="20"/>
                  </a:lnTo>
                  <a:lnTo>
                    <a:pt x="282" y="18"/>
                  </a:lnTo>
                  <a:lnTo>
                    <a:pt x="264" y="18"/>
                  </a:lnTo>
                  <a:lnTo>
                    <a:pt x="264" y="18"/>
                  </a:lnTo>
                  <a:lnTo>
                    <a:pt x="262" y="18"/>
                  </a:lnTo>
                  <a:lnTo>
                    <a:pt x="258" y="16"/>
                  </a:lnTo>
                  <a:lnTo>
                    <a:pt x="256" y="12"/>
                  </a:lnTo>
                  <a:lnTo>
                    <a:pt x="256" y="10"/>
                  </a:lnTo>
                  <a:lnTo>
                    <a:pt x="256" y="10"/>
                  </a:lnTo>
                  <a:lnTo>
                    <a:pt x="256" y="6"/>
                  </a:lnTo>
                  <a:lnTo>
                    <a:pt x="258" y="4"/>
                  </a:lnTo>
                  <a:lnTo>
                    <a:pt x="262" y="2"/>
                  </a:lnTo>
                  <a:lnTo>
                    <a:pt x="264" y="0"/>
                  </a:lnTo>
                  <a:lnTo>
                    <a:pt x="282" y="0"/>
                  </a:lnTo>
                  <a:lnTo>
                    <a:pt x="282" y="0"/>
                  </a:lnTo>
                  <a:lnTo>
                    <a:pt x="298" y="2"/>
                  </a:lnTo>
                  <a:lnTo>
                    <a:pt x="314" y="4"/>
                  </a:lnTo>
                  <a:lnTo>
                    <a:pt x="330" y="8"/>
                  </a:lnTo>
                  <a:lnTo>
                    <a:pt x="344" y="14"/>
                  </a:lnTo>
                  <a:lnTo>
                    <a:pt x="358" y="20"/>
                  </a:lnTo>
                  <a:lnTo>
                    <a:pt x="372" y="28"/>
                  </a:lnTo>
                  <a:lnTo>
                    <a:pt x="384" y="38"/>
                  </a:lnTo>
                  <a:lnTo>
                    <a:pt x="396" y="48"/>
                  </a:lnTo>
                  <a:lnTo>
                    <a:pt x="406" y="60"/>
                  </a:lnTo>
                  <a:lnTo>
                    <a:pt x="416" y="72"/>
                  </a:lnTo>
                  <a:lnTo>
                    <a:pt x="424" y="86"/>
                  </a:lnTo>
                  <a:lnTo>
                    <a:pt x="432" y="100"/>
                  </a:lnTo>
                  <a:lnTo>
                    <a:pt x="436" y="114"/>
                  </a:lnTo>
                  <a:lnTo>
                    <a:pt x="440" y="130"/>
                  </a:lnTo>
                  <a:lnTo>
                    <a:pt x="444" y="146"/>
                  </a:lnTo>
                  <a:lnTo>
                    <a:pt x="444" y="162"/>
                  </a:lnTo>
                  <a:lnTo>
                    <a:pt x="444" y="184"/>
                  </a:lnTo>
                  <a:lnTo>
                    <a:pt x="444" y="184"/>
                  </a:lnTo>
                  <a:lnTo>
                    <a:pt x="444" y="202"/>
                  </a:lnTo>
                  <a:lnTo>
                    <a:pt x="440" y="218"/>
                  </a:lnTo>
                  <a:lnTo>
                    <a:pt x="436" y="232"/>
                  </a:lnTo>
                  <a:lnTo>
                    <a:pt x="432" y="248"/>
                  </a:lnTo>
                  <a:lnTo>
                    <a:pt x="424" y="262"/>
                  </a:lnTo>
                  <a:lnTo>
                    <a:pt x="416" y="276"/>
                  </a:lnTo>
                  <a:lnTo>
                    <a:pt x="406" y="288"/>
                  </a:lnTo>
                  <a:lnTo>
                    <a:pt x="396" y="300"/>
                  </a:lnTo>
                  <a:lnTo>
                    <a:pt x="384" y="310"/>
                  </a:lnTo>
                  <a:lnTo>
                    <a:pt x="372" y="320"/>
                  </a:lnTo>
                  <a:lnTo>
                    <a:pt x="358" y="328"/>
                  </a:lnTo>
                  <a:lnTo>
                    <a:pt x="344" y="334"/>
                  </a:lnTo>
                  <a:lnTo>
                    <a:pt x="330" y="340"/>
                  </a:lnTo>
                  <a:lnTo>
                    <a:pt x="314" y="344"/>
                  </a:lnTo>
                  <a:lnTo>
                    <a:pt x="298" y="346"/>
                  </a:lnTo>
                  <a:lnTo>
                    <a:pt x="282" y="348"/>
                  </a:lnTo>
                  <a:lnTo>
                    <a:pt x="282" y="348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+mj-lt"/>
              </a:endParaRPr>
            </a:p>
          </p:txBody>
        </p:sp>
        <p:sp>
          <p:nvSpPr>
            <p:cNvPr id="22" name="Freeform 36">
              <a:extLst>
                <a:ext uri="{FF2B5EF4-FFF2-40B4-BE49-F238E27FC236}">
                  <a16:creationId xmlns:a16="http://schemas.microsoft.com/office/drawing/2014/main" id="{B03A2624-4377-4D1A-9AD4-85533217354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10" y="1521"/>
              <a:ext cx="660" cy="72"/>
            </a:xfrm>
            <a:custGeom>
              <a:avLst/>
              <a:gdLst>
                <a:gd name="T0" fmla="*/ 660 w 660"/>
                <a:gd name="T1" fmla="*/ 72 h 72"/>
                <a:gd name="T2" fmla="*/ 0 w 660"/>
                <a:gd name="T3" fmla="*/ 72 h 72"/>
                <a:gd name="T4" fmla="*/ 0 w 660"/>
                <a:gd name="T5" fmla="*/ 0 h 72"/>
                <a:gd name="T6" fmla="*/ 660 w 660"/>
                <a:gd name="T7" fmla="*/ 0 h 72"/>
                <a:gd name="T8" fmla="*/ 660 w 660"/>
                <a:gd name="T9" fmla="*/ 72 h 72"/>
                <a:gd name="T10" fmla="*/ 18 w 660"/>
                <a:gd name="T11" fmla="*/ 54 h 72"/>
                <a:gd name="T12" fmla="*/ 642 w 660"/>
                <a:gd name="T13" fmla="*/ 54 h 72"/>
                <a:gd name="T14" fmla="*/ 642 w 660"/>
                <a:gd name="T15" fmla="*/ 18 h 72"/>
                <a:gd name="T16" fmla="*/ 18 w 660"/>
                <a:gd name="T17" fmla="*/ 18 h 72"/>
                <a:gd name="T18" fmla="*/ 18 w 660"/>
                <a:gd name="T19" fmla="*/ 5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60" h="72">
                  <a:moveTo>
                    <a:pt x="660" y="72"/>
                  </a:moveTo>
                  <a:lnTo>
                    <a:pt x="0" y="72"/>
                  </a:lnTo>
                  <a:lnTo>
                    <a:pt x="0" y="0"/>
                  </a:lnTo>
                  <a:lnTo>
                    <a:pt x="660" y="0"/>
                  </a:lnTo>
                  <a:lnTo>
                    <a:pt x="660" y="72"/>
                  </a:lnTo>
                  <a:close/>
                  <a:moveTo>
                    <a:pt x="18" y="54"/>
                  </a:moveTo>
                  <a:lnTo>
                    <a:pt x="642" y="54"/>
                  </a:lnTo>
                  <a:lnTo>
                    <a:pt x="642" y="18"/>
                  </a:lnTo>
                  <a:lnTo>
                    <a:pt x="18" y="18"/>
                  </a:lnTo>
                  <a:lnTo>
                    <a:pt x="18" y="54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+mj-lt"/>
              </a:endParaRPr>
            </a:p>
          </p:txBody>
        </p:sp>
        <p:sp>
          <p:nvSpPr>
            <p:cNvPr id="23" name="Freeform 37">
              <a:extLst>
                <a:ext uri="{FF2B5EF4-FFF2-40B4-BE49-F238E27FC236}">
                  <a16:creationId xmlns:a16="http://schemas.microsoft.com/office/drawing/2014/main" id="{34A5614F-3CD8-4EAE-A251-6994467D5C34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6" y="911"/>
              <a:ext cx="198" cy="426"/>
            </a:xfrm>
            <a:custGeom>
              <a:avLst/>
              <a:gdLst>
                <a:gd name="T0" fmla="*/ 178 w 198"/>
                <a:gd name="T1" fmla="*/ 426 h 426"/>
                <a:gd name="T2" fmla="*/ 20 w 198"/>
                <a:gd name="T3" fmla="*/ 426 h 426"/>
                <a:gd name="T4" fmla="*/ 20 w 198"/>
                <a:gd name="T5" fmla="*/ 426 h 426"/>
                <a:gd name="T6" fmla="*/ 12 w 198"/>
                <a:gd name="T7" fmla="*/ 424 h 426"/>
                <a:gd name="T8" fmla="*/ 6 w 198"/>
                <a:gd name="T9" fmla="*/ 420 h 426"/>
                <a:gd name="T10" fmla="*/ 0 w 198"/>
                <a:gd name="T11" fmla="*/ 412 h 426"/>
                <a:gd name="T12" fmla="*/ 0 w 198"/>
                <a:gd name="T13" fmla="*/ 404 h 426"/>
                <a:gd name="T14" fmla="*/ 0 w 198"/>
                <a:gd name="T15" fmla="*/ 20 h 426"/>
                <a:gd name="T16" fmla="*/ 0 w 198"/>
                <a:gd name="T17" fmla="*/ 20 h 426"/>
                <a:gd name="T18" fmla="*/ 0 w 198"/>
                <a:gd name="T19" fmla="*/ 12 h 426"/>
                <a:gd name="T20" fmla="*/ 6 w 198"/>
                <a:gd name="T21" fmla="*/ 6 h 426"/>
                <a:gd name="T22" fmla="*/ 12 w 198"/>
                <a:gd name="T23" fmla="*/ 2 h 426"/>
                <a:gd name="T24" fmla="*/ 20 w 198"/>
                <a:gd name="T25" fmla="*/ 0 h 426"/>
                <a:gd name="T26" fmla="*/ 178 w 198"/>
                <a:gd name="T27" fmla="*/ 0 h 426"/>
                <a:gd name="T28" fmla="*/ 178 w 198"/>
                <a:gd name="T29" fmla="*/ 0 h 426"/>
                <a:gd name="T30" fmla="*/ 186 w 198"/>
                <a:gd name="T31" fmla="*/ 2 h 426"/>
                <a:gd name="T32" fmla="*/ 192 w 198"/>
                <a:gd name="T33" fmla="*/ 6 h 426"/>
                <a:gd name="T34" fmla="*/ 196 w 198"/>
                <a:gd name="T35" fmla="*/ 12 h 426"/>
                <a:gd name="T36" fmla="*/ 198 w 198"/>
                <a:gd name="T37" fmla="*/ 20 h 426"/>
                <a:gd name="T38" fmla="*/ 198 w 198"/>
                <a:gd name="T39" fmla="*/ 108 h 426"/>
                <a:gd name="T40" fmla="*/ 180 w 198"/>
                <a:gd name="T41" fmla="*/ 108 h 426"/>
                <a:gd name="T42" fmla="*/ 180 w 198"/>
                <a:gd name="T43" fmla="*/ 20 h 426"/>
                <a:gd name="T44" fmla="*/ 180 w 198"/>
                <a:gd name="T45" fmla="*/ 20 h 426"/>
                <a:gd name="T46" fmla="*/ 180 w 198"/>
                <a:gd name="T47" fmla="*/ 18 h 426"/>
                <a:gd name="T48" fmla="*/ 178 w 198"/>
                <a:gd name="T49" fmla="*/ 18 h 426"/>
                <a:gd name="T50" fmla="*/ 20 w 198"/>
                <a:gd name="T51" fmla="*/ 18 h 426"/>
                <a:gd name="T52" fmla="*/ 20 w 198"/>
                <a:gd name="T53" fmla="*/ 18 h 426"/>
                <a:gd name="T54" fmla="*/ 18 w 198"/>
                <a:gd name="T55" fmla="*/ 18 h 426"/>
                <a:gd name="T56" fmla="*/ 18 w 198"/>
                <a:gd name="T57" fmla="*/ 20 h 426"/>
                <a:gd name="T58" fmla="*/ 18 w 198"/>
                <a:gd name="T59" fmla="*/ 404 h 426"/>
                <a:gd name="T60" fmla="*/ 18 w 198"/>
                <a:gd name="T61" fmla="*/ 404 h 426"/>
                <a:gd name="T62" fmla="*/ 18 w 198"/>
                <a:gd name="T63" fmla="*/ 406 h 426"/>
                <a:gd name="T64" fmla="*/ 20 w 198"/>
                <a:gd name="T65" fmla="*/ 408 h 426"/>
                <a:gd name="T66" fmla="*/ 178 w 198"/>
                <a:gd name="T67" fmla="*/ 408 h 426"/>
                <a:gd name="T68" fmla="*/ 178 w 198"/>
                <a:gd name="T69" fmla="*/ 408 h 426"/>
                <a:gd name="T70" fmla="*/ 180 w 198"/>
                <a:gd name="T71" fmla="*/ 406 h 426"/>
                <a:gd name="T72" fmla="*/ 180 w 198"/>
                <a:gd name="T73" fmla="*/ 404 h 426"/>
                <a:gd name="T74" fmla="*/ 180 w 198"/>
                <a:gd name="T75" fmla="*/ 308 h 426"/>
                <a:gd name="T76" fmla="*/ 198 w 198"/>
                <a:gd name="T77" fmla="*/ 308 h 426"/>
                <a:gd name="T78" fmla="*/ 198 w 198"/>
                <a:gd name="T79" fmla="*/ 404 h 426"/>
                <a:gd name="T80" fmla="*/ 198 w 198"/>
                <a:gd name="T81" fmla="*/ 404 h 426"/>
                <a:gd name="T82" fmla="*/ 196 w 198"/>
                <a:gd name="T83" fmla="*/ 412 h 426"/>
                <a:gd name="T84" fmla="*/ 192 w 198"/>
                <a:gd name="T85" fmla="*/ 420 h 426"/>
                <a:gd name="T86" fmla="*/ 186 w 198"/>
                <a:gd name="T87" fmla="*/ 424 h 426"/>
                <a:gd name="T88" fmla="*/ 178 w 198"/>
                <a:gd name="T89" fmla="*/ 426 h 426"/>
                <a:gd name="T90" fmla="*/ 178 w 198"/>
                <a:gd name="T91" fmla="*/ 426 h 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98" h="426">
                  <a:moveTo>
                    <a:pt x="178" y="426"/>
                  </a:moveTo>
                  <a:lnTo>
                    <a:pt x="20" y="426"/>
                  </a:lnTo>
                  <a:lnTo>
                    <a:pt x="20" y="426"/>
                  </a:lnTo>
                  <a:lnTo>
                    <a:pt x="12" y="424"/>
                  </a:lnTo>
                  <a:lnTo>
                    <a:pt x="6" y="420"/>
                  </a:lnTo>
                  <a:lnTo>
                    <a:pt x="0" y="412"/>
                  </a:lnTo>
                  <a:lnTo>
                    <a:pt x="0" y="40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2"/>
                  </a:lnTo>
                  <a:lnTo>
                    <a:pt x="6" y="6"/>
                  </a:lnTo>
                  <a:lnTo>
                    <a:pt x="12" y="2"/>
                  </a:lnTo>
                  <a:lnTo>
                    <a:pt x="20" y="0"/>
                  </a:lnTo>
                  <a:lnTo>
                    <a:pt x="178" y="0"/>
                  </a:lnTo>
                  <a:lnTo>
                    <a:pt x="178" y="0"/>
                  </a:lnTo>
                  <a:lnTo>
                    <a:pt x="186" y="2"/>
                  </a:lnTo>
                  <a:lnTo>
                    <a:pt x="192" y="6"/>
                  </a:lnTo>
                  <a:lnTo>
                    <a:pt x="196" y="12"/>
                  </a:lnTo>
                  <a:lnTo>
                    <a:pt x="198" y="20"/>
                  </a:lnTo>
                  <a:lnTo>
                    <a:pt x="198" y="108"/>
                  </a:lnTo>
                  <a:lnTo>
                    <a:pt x="180" y="108"/>
                  </a:lnTo>
                  <a:lnTo>
                    <a:pt x="180" y="20"/>
                  </a:lnTo>
                  <a:lnTo>
                    <a:pt x="180" y="20"/>
                  </a:lnTo>
                  <a:lnTo>
                    <a:pt x="180" y="18"/>
                  </a:lnTo>
                  <a:lnTo>
                    <a:pt x="178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18" y="18"/>
                  </a:lnTo>
                  <a:lnTo>
                    <a:pt x="18" y="20"/>
                  </a:lnTo>
                  <a:lnTo>
                    <a:pt x="18" y="404"/>
                  </a:lnTo>
                  <a:lnTo>
                    <a:pt x="18" y="404"/>
                  </a:lnTo>
                  <a:lnTo>
                    <a:pt x="18" y="406"/>
                  </a:lnTo>
                  <a:lnTo>
                    <a:pt x="20" y="408"/>
                  </a:lnTo>
                  <a:lnTo>
                    <a:pt x="178" y="408"/>
                  </a:lnTo>
                  <a:lnTo>
                    <a:pt x="178" y="408"/>
                  </a:lnTo>
                  <a:lnTo>
                    <a:pt x="180" y="406"/>
                  </a:lnTo>
                  <a:lnTo>
                    <a:pt x="180" y="404"/>
                  </a:lnTo>
                  <a:lnTo>
                    <a:pt x="180" y="308"/>
                  </a:lnTo>
                  <a:lnTo>
                    <a:pt x="198" y="308"/>
                  </a:lnTo>
                  <a:lnTo>
                    <a:pt x="198" y="404"/>
                  </a:lnTo>
                  <a:lnTo>
                    <a:pt x="198" y="404"/>
                  </a:lnTo>
                  <a:lnTo>
                    <a:pt x="196" y="412"/>
                  </a:lnTo>
                  <a:lnTo>
                    <a:pt x="192" y="420"/>
                  </a:lnTo>
                  <a:lnTo>
                    <a:pt x="186" y="424"/>
                  </a:lnTo>
                  <a:lnTo>
                    <a:pt x="178" y="426"/>
                  </a:lnTo>
                  <a:lnTo>
                    <a:pt x="178" y="426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+mj-lt"/>
              </a:endParaRPr>
            </a:p>
          </p:txBody>
        </p:sp>
        <p:sp>
          <p:nvSpPr>
            <p:cNvPr id="24" name="Freeform 38">
              <a:extLst>
                <a:ext uri="{FF2B5EF4-FFF2-40B4-BE49-F238E27FC236}">
                  <a16:creationId xmlns:a16="http://schemas.microsoft.com/office/drawing/2014/main" id="{2BB4CE53-1D9C-47ED-8B6C-BC0BD84513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66" y="1319"/>
              <a:ext cx="96" cy="122"/>
            </a:xfrm>
            <a:custGeom>
              <a:avLst/>
              <a:gdLst>
                <a:gd name="T0" fmla="*/ 74 w 96"/>
                <a:gd name="T1" fmla="*/ 122 h 122"/>
                <a:gd name="T2" fmla="*/ 22 w 96"/>
                <a:gd name="T3" fmla="*/ 122 h 122"/>
                <a:gd name="T4" fmla="*/ 22 w 96"/>
                <a:gd name="T5" fmla="*/ 122 h 122"/>
                <a:gd name="T6" fmla="*/ 14 w 96"/>
                <a:gd name="T7" fmla="*/ 120 h 122"/>
                <a:gd name="T8" fmla="*/ 8 w 96"/>
                <a:gd name="T9" fmla="*/ 114 h 122"/>
                <a:gd name="T10" fmla="*/ 2 w 96"/>
                <a:gd name="T11" fmla="*/ 108 h 122"/>
                <a:gd name="T12" fmla="*/ 0 w 96"/>
                <a:gd name="T13" fmla="*/ 100 h 122"/>
                <a:gd name="T14" fmla="*/ 0 w 96"/>
                <a:gd name="T15" fmla="*/ 0 h 122"/>
                <a:gd name="T16" fmla="*/ 96 w 96"/>
                <a:gd name="T17" fmla="*/ 0 h 122"/>
                <a:gd name="T18" fmla="*/ 96 w 96"/>
                <a:gd name="T19" fmla="*/ 100 h 122"/>
                <a:gd name="T20" fmla="*/ 96 w 96"/>
                <a:gd name="T21" fmla="*/ 100 h 122"/>
                <a:gd name="T22" fmla="*/ 94 w 96"/>
                <a:gd name="T23" fmla="*/ 108 h 122"/>
                <a:gd name="T24" fmla="*/ 90 w 96"/>
                <a:gd name="T25" fmla="*/ 114 h 122"/>
                <a:gd name="T26" fmla="*/ 84 w 96"/>
                <a:gd name="T27" fmla="*/ 120 h 122"/>
                <a:gd name="T28" fmla="*/ 74 w 96"/>
                <a:gd name="T29" fmla="*/ 122 h 122"/>
                <a:gd name="T30" fmla="*/ 74 w 96"/>
                <a:gd name="T31" fmla="*/ 122 h 122"/>
                <a:gd name="T32" fmla="*/ 18 w 96"/>
                <a:gd name="T33" fmla="*/ 18 h 122"/>
                <a:gd name="T34" fmla="*/ 18 w 96"/>
                <a:gd name="T35" fmla="*/ 100 h 122"/>
                <a:gd name="T36" fmla="*/ 18 w 96"/>
                <a:gd name="T37" fmla="*/ 100 h 122"/>
                <a:gd name="T38" fmla="*/ 20 w 96"/>
                <a:gd name="T39" fmla="*/ 102 h 122"/>
                <a:gd name="T40" fmla="*/ 22 w 96"/>
                <a:gd name="T41" fmla="*/ 104 h 122"/>
                <a:gd name="T42" fmla="*/ 74 w 96"/>
                <a:gd name="T43" fmla="*/ 104 h 122"/>
                <a:gd name="T44" fmla="*/ 74 w 96"/>
                <a:gd name="T45" fmla="*/ 104 h 122"/>
                <a:gd name="T46" fmla="*/ 78 w 96"/>
                <a:gd name="T47" fmla="*/ 102 h 122"/>
                <a:gd name="T48" fmla="*/ 78 w 96"/>
                <a:gd name="T49" fmla="*/ 100 h 122"/>
                <a:gd name="T50" fmla="*/ 78 w 96"/>
                <a:gd name="T51" fmla="*/ 18 h 122"/>
                <a:gd name="T52" fmla="*/ 18 w 96"/>
                <a:gd name="T53" fmla="*/ 18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96" h="122">
                  <a:moveTo>
                    <a:pt x="74" y="122"/>
                  </a:moveTo>
                  <a:lnTo>
                    <a:pt x="22" y="122"/>
                  </a:lnTo>
                  <a:lnTo>
                    <a:pt x="22" y="122"/>
                  </a:lnTo>
                  <a:lnTo>
                    <a:pt x="14" y="120"/>
                  </a:lnTo>
                  <a:lnTo>
                    <a:pt x="8" y="114"/>
                  </a:lnTo>
                  <a:lnTo>
                    <a:pt x="2" y="108"/>
                  </a:lnTo>
                  <a:lnTo>
                    <a:pt x="0" y="100"/>
                  </a:lnTo>
                  <a:lnTo>
                    <a:pt x="0" y="0"/>
                  </a:lnTo>
                  <a:lnTo>
                    <a:pt x="96" y="0"/>
                  </a:lnTo>
                  <a:lnTo>
                    <a:pt x="96" y="100"/>
                  </a:lnTo>
                  <a:lnTo>
                    <a:pt x="96" y="100"/>
                  </a:lnTo>
                  <a:lnTo>
                    <a:pt x="94" y="108"/>
                  </a:lnTo>
                  <a:lnTo>
                    <a:pt x="90" y="114"/>
                  </a:lnTo>
                  <a:lnTo>
                    <a:pt x="84" y="120"/>
                  </a:lnTo>
                  <a:lnTo>
                    <a:pt x="74" y="122"/>
                  </a:lnTo>
                  <a:lnTo>
                    <a:pt x="74" y="122"/>
                  </a:lnTo>
                  <a:close/>
                  <a:moveTo>
                    <a:pt x="18" y="18"/>
                  </a:moveTo>
                  <a:lnTo>
                    <a:pt x="18" y="100"/>
                  </a:lnTo>
                  <a:lnTo>
                    <a:pt x="18" y="100"/>
                  </a:lnTo>
                  <a:lnTo>
                    <a:pt x="20" y="102"/>
                  </a:lnTo>
                  <a:lnTo>
                    <a:pt x="22" y="104"/>
                  </a:lnTo>
                  <a:lnTo>
                    <a:pt x="74" y="104"/>
                  </a:lnTo>
                  <a:lnTo>
                    <a:pt x="74" y="104"/>
                  </a:lnTo>
                  <a:lnTo>
                    <a:pt x="78" y="102"/>
                  </a:lnTo>
                  <a:lnTo>
                    <a:pt x="78" y="100"/>
                  </a:lnTo>
                  <a:lnTo>
                    <a:pt x="78" y="18"/>
                  </a:lnTo>
                  <a:lnTo>
                    <a:pt x="18" y="18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+mj-lt"/>
              </a:endParaRPr>
            </a:p>
          </p:txBody>
        </p:sp>
        <p:sp>
          <p:nvSpPr>
            <p:cNvPr id="25" name="Freeform 39">
              <a:extLst>
                <a:ext uri="{FF2B5EF4-FFF2-40B4-BE49-F238E27FC236}">
                  <a16:creationId xmlns:a16="http://schemas.microsoft.com/office/drawing/2014/main" id="{766626F0-CD16-4991-B0A6-41203DB9397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16" y="783"/>
              <a:ext cx="198" cy="68"/>
            </a:xfrm>
            <a:custGeom>
              <a:avLst/>
              <a:gdLst>
                <a:gd name="T0" fmla="*/ 198 w 198"/>
                <a:gd name="T1" fmla="*/ 68 h 68"/>
                <a:gd name="T2" fmla="*/ 0 w 198"/>
                <a:gd name="T3" fmla="*/ 68 h 68"/>
                <a:gd name="T4" fmla="*/ 0 w 198"/>
                <a:gd name="T5" fmla="*/ 22 h 68"/>
                <a:gd name="T6" fmla="*/ 0 w 198"/>
                <a:gd name="T7" fmla="*/ 22 h 68"/>
                <a:gd name="T8" fmla="*/ 0 w 198"/>
                <a:gd name="T9" fmla="*/ 14 h 68"/>
                <a:gd name="T10" fmla="*/ 6 w 198"/>
                <a:gd name="T11" fmla="*/ 6 h 68"/>
                <a:gd name="T12" fmla="*/ 12 w 198"/>
                <a:gd name="T13" fmla="*/ 2 h 68"/>
                <a:gd name="T14" fmla="*/ 20 w 198"/>
                <a:gd name="T15" fmla="*/ 0 h 68"/>
                <a:gd name="T16" fmla="*/ 176 w 198"/>
                <a:gd name="T17" fmla="*/ 0 h 68"/>
                <a:gd name="T18" fmla="*/ 176 w 198"/>
                <a:gd name="T19" fmla="*/ 0 h 68"/>
                <a:gd name="T20" fmla="*/ 184 w 198"/>
                <a:gd name="T21" fmla="*/ 2 h 68"/>
                <a:gd name="T22" fmla="*/ 192 w 198"/>
                <a:gd name="T23" fmla="*/ 6 h 68"/>
                <a:gd name="T24" fmla="*/ 196 w 198"/>
                <a:gd name="T25" fmla="*/ 14 h 68"/>
                <a:gd name="T26" fmla="*/ 198 w 198"/>
                <a:gd name="T27" fmla="*/ 22 h 68"/>
                <a:gd name="T28" fmla="*/ 198 w 198"/>
                <a:gd name="T29" fmla="*/ 68 h 68"/>
                <a:gd name="T30" fmla="*/ 18 w 198"/>
                <a:gd name="T31" fmla="*/ 50 h 68"/>
                <a:gd name="T32" fmla="*/ 180 w 198"/>
                <a:gd name="T33" fmla="*/ 50 h 68"/>
                <a:gd name="T34" fmla="*/ 180 w 198"/>
                <a:gd name="T35" fmla="*/ 22 h 68"/>
                <a:gd name="T36" fmla="*/ 180 w 198"/>
                <a:gd name="T37" fmla="*/ 22 h 68"/>
                <a:gd name="T38" fmla="*/ 180 w 198"/>
                <a:gd name="T39" fmla="*/ 20 h 68"/>
                <a:gd name="T40" fmla="*/ 176 w 198"/>
                <a:gd name="T41" fmla="*/ 18 h 68"/>
                <a:gd name="T42" fmla="*/ 20 w 198"/>
                <a:gd name="T43" fmla="*/ 18 h 68"/>
                <a:gd name="T44" fmla="*/ 20 w 198"/>
                <a:gd name="T45" fmla="*/ 18 h 68"/>
                <a:gd name="T46" fmla="*/ 18 w 198"/>
                <a:gd name="T47" fmla="*/ 20 h 68"/>
                <a:gd name="T48" fmla="*/ 18 w 198"/>
                <a:gd name="T49" fmla="*/ 22 h 68"/>
                <a:gd name="T50" fmla="*/ 18 w 198"/>
                <a:gd name="T51" fmla="*/ 5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98" h="68">
                  <a:moveTo>
                    <a:pt x="198" y="68"/>
                  </a:moveTo>
                  <a:lnTo>
                    <a:pt x="0" y="68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14"/>
                  </a:lnTo>
                  <a:lnTo>
                    <a:pt x="6" y="6"/>
                  </a:lnTo>
                  <a:lnTo>
                    <a:pt x="12" y="2"/>
                  </a:lnTo>
                  <a:lnTo>
                    <a:pt x="20" y="0"/>
                  </a:lnTo>
                  <a:lnTo>
                    <a:pt x="176" y="0"/>
                  </a:lnTo>
                  <a:lnTo>
                    <a:pt x="176" y="0"/>
                  </a:lnTo>
                  <a:lnTo>
                    <a:pt x="184" y="2"/>
                  </a:lnTo>
                  <a:lnTo>
                    <a:pt x="192" y="6"/>
                  </a:lnTo>
                  <a:lnTo>
                    <a:pt x="196" y="14"/>
                  </a:lnTo>
                  <a:lnTo>
                    <a:pt x="198" y="22"/>
                  </a:lnTo>
                  <a:lnTo>
                    <a:pt x="198" y="68"/>
                  </a:lnTo>
                  <a:close/>
                  <a:moveTo>
                    <a:pt x="18" y="50"/>
                  </a:moveTo>
                  <a:lnTo>
                    <a:pt x="180" y="50"/>
                  </a:lnTo>
                  <a:lnTo>
                    <a:pt x="180" y="22"/>
                  </a:lnTo>
                  <a:lnTo>
                    <a:pt x="180" y="22"/>
                  </a:lnTo>
                  <a:lnTo>
                    <a:pt x="180" y="20"/>
                  </a:lnTo>
                  <a:lnTo>
                    <a:pt x="176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18" y="20"/>
                  </a:lnTo>
                  <a:lnTo>
                    <a:pt x="18" y="22"/>
                  </a:lnTo>
                  <a:lnTo>
                    <a:pt x="18" y="5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+mj-lt"/>
              </a:endParaRPr>
            </a:p>
          </p:txBody>
        </p:sp>
        <p:sp>
          <p:nvSpPr>
            <p:cNvPr id="26" name="Freeform 40">
              <a:extLst>
                <a:ext uri="{FF2B5EF4-FFF2-40B4-BE49-F238E27FC236}">
                  <a16:creationId xmlns:a16="http://schemas.microsoft.com/office/drawing/2014/main" id="{A6DFA134-C77E-44D2-A81C-9C493DFE9E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64" y="833"/>
              <a:ext cx="102" cy="96"/>
            </a:xfrm>
            <a:custGeom>
              <a:avLst/>
              <a:gdLst>
                <a:gd name="T0" fmla="*/ 102 w 102"/>
                <a:gd name="T1" fmla="*/ 96 h 96"/>
                <a:gd name="T2" fmla="*/ 0 w 102"/>
                <a:gd name="T3" fmla="*/ 96 h 96"/>
                <a:gd name="T4" fmla="*/ 0 w 102"/>
                <a:gd name="T5" fmla="*/ 0 h 96"/>
                <a:gd name="T6" fmla="*/ 102 w 102"/>
                <a:gd name="T7" fmla="*/ 0 h 96"/>
                <a:gd name="T8" fmla="*/ 102 w 102"/>
                <a:gd name="T9" fmla="*/ 96 h 96"/>
                <a:gd name="T10" fmla="*/ 18 w 102"/>
                <a:gd name="T11" fmla="*/ 78 h 96"/>
                <a:gd name="T12" fmla="*/ 84 w 102"/>
                <a:gd name="T13" fmla="*/ 78 h 96"/>
                <a:gd name="T14" fmla="*/ 84 w 102"/>
                <a:gd name="T15" fmla="*/ 18 h 96"/>
                <a:gd name="T16" fmla="*/ 18 w 102"/>
                <a:gd name="T17" fmla="*/ 18 h 96"/>
                <a:gd name="T18" fmla="*/ 18 w 102"/>
                <a:gd name="T19" fmla="*/ 7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2" h="96">
                  <a:moveTo>
                    <a:pt x="102" y="96"/>
                  </a:moveTo>
                  <a:lnTo>
                    <a:pt x="0" y="96"/>
                  </a:lnTo>
                  <a:lnTo>
                    <a:pt x="0" y="0"/>
                  </a:lnTo>
                  <a:lnTo>
                    <a:pt x="102" y="0"/>
                  </a:lnTo>
                  <a:lnTo>
                    <a:pt x="102" y="96"/>
                  </a:lnTo>
                  <a:close/>
                  <a:moveTo>
                    <a:pt x="18" y="78"/>
                  </a:moveTo>
                  <a:lnTo>
                    <a:pt x="84" y="78"/>
                  </a:lnTo>
                  <a:lnTo>
                    <a:pt x="84" y="18"/>
                  </a:lnTo>
                  <a:lnTo>
                    <a:pt x="18" y="18"/>
                  </a:lnTo>
                  <a:lnTo>
                    <a:pt x="18" y="78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+mj-lt"/>
              </a:endParaRPr>
            </a:p>
          </p:txBody>
        </p:sp>
        <p:sp>
          <p:nvSpPr>
            <p:cNvPr id="27" name="Freeform 41">
              <a:extLst>
                <a:ext uri="{FF2B5EF4-FFF2-40B4-BE49-F238E27FC236}">
                  <a16:creationId xmlns:a16="http://schemas.microsoft.com/office/drawing/2014/main" id="{79771E45-DF37-46A7-97E7-CF07F43C662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92" y="1007"/>
              <a:ext cx="226" cy="226"/>
            </a:xfrm>
            <a:custGeom>
              <a:avLst/>
              <a:gdLst>
                <a:gd name="T0" fmla="*/ 114 w 226"/>
                <a:gd name="T1" fmla="*/ 226 h 226"/>
                <a:gd name="T2" fmla="*/ 68 w 226"/>
                <a:gd name="T3" fmla="*/ 218 h 226"/>
                <a:gd name="T4" fmla="*/ 32 w 226"/>
                <a:gd name="T5" fmla="*/ 194 h 226"/>
                <a:gd name="T6" fmla="*/ 8 w 226"/>
                <a:gd name="T7" fmla="*/ 158 h 226"/>
                <a:gd name="T8" fmla="*/ 0 w 226"/>
                <a:gd name="T9" fmla="*/ 114 h 226"/>
                <a:gd name="T10" fmla="*/ 2 w 226"/>
                <a:gd name="T11" fmla="*/ 90 h 226"/>
                <a:gd name="T12" fmla="*/ 18 w 226"/>
                <a:gd name="T13" fmla="*/ 50 h 226"/>
                <a:gd name="T14" fmla="*/ 50 w 226"/>
                <a:gd name="T15" fmla="*/ 18 h 226"/>
                <a:gd name="T16" fmla="*/ 90 w 226"/>
                <a:gd name="T17" fmla="*/ 2 h 226"/>
                <a:gd name="T18" fmla="*/ 114 w 226"/>
                <a:gd name="T19" fmla="*/ 0 h 226"/>
                <a:gd name="T20" fmla="*/ 158 w 226"/>
                <a:gd name="T21" fmla="*/ 8 h 226"/>
                <a:gd name="T22" fmla="*/ 194 w 226"/>
                <a:gd name="T23" fmla="*/ 32 h 226"/>
                <a:gd name="T24" fmla="*/ 218 w 226"/>
                <a:gd name="T25" fmla="*/ 68 h 226"/>
                <a:gd name="T26" fmla="*/ 226 w 226"/>
                <a:gd name="T27" fmla="*/ 114 h 226"/>
                <a:gd name="T28" fmla="*/ 224 w 226"/>
                <a:gd name="T29" fmla="*/ 136 h 226"/>
                <a:gd name="T30" fmla="*/ 208 w 226"/>
                <a:gd name="T31" fmla="*/ 176 h 226"/>
                <a:gd name="T32" fmla="*/ 176 w 226"/>
                <a:gd name="T33" fmla="*/ 208 h 226"/>
                <a:gd name="T34" fmla="*/ 136 w 226"/>
                <a:gd name="T35" fmla="*/ 224 h 226"/>
                <a:gd name="T36" fmla="*/ 114 w 226"/>
                <a:gd name="T37" fmla="*/ 226 h 226"/>
                <a:gd name="T38" fmla="*/ 114 w 226"/>
                <a:gd name="T39" fmla="*/ 18 h 226"/>
                <a:gd name="T40" fmla="*/ 76 w 226"/>
                <a:gd name="T41" fmla="*/ 24 h 226"/>
                <a:gd name="T42" fmla="*/ 46 w 226"/>
                <a:gd name="T43" fmla="*/ 46 h 226"/>
                <a:gd name="T44" fmla="*/ 24 w 226"/>
                <a:gd name="T45" fmla="*/ 76 h 226"/>
                <a:gd name="T46" fmla="*/ 18 w 226"/>
                <a:gd name="T47" fmla="*/ 114 h 226"/>
                <a:gd name="T48" fmla="*/ 20 w 226"/>
                <a:gd name="T49" fmla="*/ 132 h 226"/>
                <a:gd name="T50" fmla="*/ 34 w 226"/>
                <a:gd name="T51" fmla="*/ 166 h 226"/>
                <a:gd name="T52" fmla="*/ 60 w 226"/>
                <a:gd name="T53" fmla="*/ 192 h 226"/>
                <a:gd name="T54" fmla="*/ 94 w 226"/>
                <a:gd name="T55" fmla="*/ 206 h 226"/>
                <a:gd name="T56" fmla="*/ 114 w 226"/>
                <a:gd name="T57" fmla="*/ 208 h 226"/>
                <a:gd name="T58" fmla="*/ 150 w 226"/>
                <a:gd name="T59" fmla="*/ 202 h 226"/>
                <a:gd name="T60" fmla="*/ 180 w 226"/>
                <a:gd name="T61" fmla="*/ 180 h 226"/>
                <a:gd name="T62" fmla="*/ 202 w 226"/>
                <a:gd name="T63" fmla="*/ 150 h 226"/>
                <a:gd name="T64" fmla="*/ 208 w 226"/>
                <a:gd name="T65" fmla="*/ 114 h 226"/>
                <a:gd name="T66" fmla="*/ 206 w 226"/>
                <a:gd name="T67" fmla="*/ 94 h 226"/>
                <a:gd name="T68" fmla="*/ 192 w 226"/>
                <a:gd name="T69" fmla="*/ 60 h 226"/>
                <a:gd name="T70" fmla="*/ 166 w 226"/>
                <a:gd name="T71" fmla="*/ 34 h 226"/>
                <a:gd name="T72" fmla="*/ 132 w 226"/>
                <a:gd name="T73" fmla="*/ 20 h 226"/>
                <a:gd name="T74" fmla="*/ 114 w 226"/>
                <a:gd name="T75" fmla="*/ 18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26" h="226">
                  <a:moveTo>
                    <a:pt x="114" y="226"/>
                  </a:moveTo>
                  <a:lnTo>
                    <a:pt x="114" y="226"/>
                  </a:lnTo>
                  <a:lnTo>
                    <a:pt x="90" y="224"/>
                  </a:lnTo>
                  <a:lnTo>
                    <a:pt x="68" y="218"/>
                  </a:lnTo>
                  <a:lnTo>
                    <a:pt x="50" y="208"/>
                  </a:lnTo>
                  <a:lnTo>
                    <a:pt x="32" y="194"/>
                  </a:lnTo>
                  <a:lnTo>
                    <a:pt x="18" y="176"/>
                  </a:lnTo>
                  <a:lnTo>
                    <a:pt x="8" y="158"/>
                  </a:lnTo>
                  <a:lnTo>
                    <a:pt x="2" y="136"/>
                  </a:lnTo>
                  <a:lnTo>
                    <a:pt x="0" y="114"/>
                  </a:lnTo>
                  <a:lnTo>
                    <a:pt x="0" y="114"/>
                  </a:lnTo>
                  <a:lnTo>
                    <a:pt x="2" y="90"/>
                  </a:lnTo>
                  <a:lnTo>
                    <a:pt x="8" y="68"/>
                  </a:lnTo>
                  <a:lnTo>
                    <a:pt x="18" y="50"/>
                  </a:lnTo>
                  <a:lnTo>
                    <a:pt x="32" y="32"/>
                  </a:lnTo>
                  <a:lnTo>
                    <a:pt x="50" y="18"/>
                  </a:lnTo>
                  <a:lnTo>
                    <a:pt x="68" y="8"/>
                  </a:lnTo>
                  <a:lnTo>
                    <a:pt x="90" y="2"/>
                  </a:lnTo>
                  <a:lnTo>
                    <a:pt x="114" y="0"/>
                  </a:lnTo>
                  <a:lnTo>
                    <a:pt x="114" y="0"/>
                  </a:lnTo>
                  <a:lnTo>
                    <a:pt x="136" y="2"/>
                  </a:lnTo>
                  <a:lnTo>
                    <a:pt x="158" y="8"/>
                  </a:lnTo>
                  <a:lnTo>
                    <a:pt x="176" y="18"/>
                  </a:lnTo>
                  <a:lnTo>
                    <a:pt x="194" y="32"/>
                  </a:lnTo>
                  <a:lnTo>
                    <a:pt x="208" y="50"/>
                  </a:lnTo>
                  <a:lnTo>
                    <a:pt x="218" y="68"/>
                  </a:lnTo>
                  <a:lnTo>
                    <a:pt x="224" y="90"/>
                  </a:lnTo>
                  <a:lnTo>
                    <a:pt x="226" y="114"/>
                  </a:lnTo>
                  <a:lnTo>
                    <a:pt x="226" y="114"/>
                  </a:lnTo>
                  <a:lnTo>
                    <a:pt x="224" y="136"/>
                  </a:lnTo>
                  <a:lnTo>
                    <a:pt x="218" y="158"/>
                  </a:lnTo>
                  <a:lnTo>
                    <a:pt x="208" y="176"/>
                  </a:lnTo>
                  <a:lnTo>
                    <a:pt x="194" y="194"/>
                  </a:lnTo>
                  <a:lnTo>
                    <a:pt x="176" y="208"/>
                  </a:lnTo>
                  <a:lnTo>
                    <a:pt x="158" y="218"/>
                  </a:lnTo>
                  <a:lnTo>
                    <a:pt x="136" y="224"/>
                  </a:lnTo>
                  <a:lnTo>
                    <a:pt x="114" y="226"/>
                  </a:lnTo>
                  <a:lnTo>
                    <a:pt x="114" y="226"/>
                  </a:lnTo>
                  <a:close/>
                  <a:moveTo>
                    <a:pt x="114" y="18"/>
                  </a:moveTo>
                  <a:lnTo>
                    <a:pt x="114" y="18"/>
                  </a:lnTo>
                  <a:lnTo>
                    <a:pt x="94" y="20"/>
                  </a:lnTo>
                  <a:lnTo>
                    <a:pt x="76" y="24"/>
                  </a:lnTo>
                  <a:lnTo>
                    <a:pt x="60" y="34"/>
                  </a:lnTo>
                  <a:lnTo>
                    <a:pt x="46" y="46"/>
                  </a:lnTo>
                  <a:lnTo>
                    <a:pt x="34" y="60"/>
                  </a:lnTo>
                  <a:lnTo>
                    <a:pt x="24" y="76"/>
                  </a:lnTo>
                  <a:lnTo>
                    <a:pt x="20" y="94"/>
                  </a:lnTo>
                  <a:lnTo>
                    <a:pt x="18" y="114"/>
                  </a:lnTo>
                  <a:lnTo>
                    <a:pt x="18" y="114"/>
                  </a:lnTo>
                  <a:lnTo>
                    <a:pt x="20" y="132"/>
                  </a:lnTo>
                  <a:lnTo>
                    <a:pt x="24" y="150"/>
                  </a:lnTo>
                  <a:lnTo>
                    <a:pt x="34" y="166"/>
                  </a:lnTo>
                  <a:lnTo>
                    <a:pt x="46" y="180"/>
                  </a:lnTo>
                  <a:lnTo>
                    <a:pt x="60" y="192"/>
                  </a:lnTo>
                  <a:lnTo>
                    <a:pt x="76" y="202"/>
                  </a:lnTo>
                  <a:lnTo>
                    <a:pt x="94" y="206"/>
                  </a:lnTo>
                  <a:lnTo>
                    <a:pt x="114" y="208"/>
                  </a:lnTo>
                  <a:lnTo>
                    <a:pt x="114" y="208"/>
                  </a:lnTo>
                  <a:lnTo>
                    <a:pt x="132" y="206"/>
                  </a:lnTo>
                  <a:lnTo>
                    <a:pt x="150" y="202"/>
                  </a:lnTo>
                  <a:lnTo>
                    <a:pt x="166" y="192"/>
                  </a:lnTo>
                  <a:lnTo>
                    <a:pt x="180" y="180"/>
                  </a:lnTo>
                  <a:lnTo>
                    <a:pt x="192" y="166"/>
                  </a:lnTo>
                  <a:lnTo>
                    <a:pt x="202" y="150"/>
                  </a:lnTo>
                  <a:lnTo>
                    <a:pt x="206" y="132"/>
                  </a:lnTo>
                  <a:lnTo>
                    <a:pt x="208" y="114"/>
                  </a:lnTo>
                  <a:lnTo>
                    <a:pt x="208" y="114"/>
                  </a:lnTo>
                  <a:lnTo>
                    <a:pt x="206" y="94"/>
                  </a:lnTo>
                  <a:lnTo>
                    <a:pt x="202" y="76"/>
                  </a:lnTo>
                  <a:lnTo>
                    <a:pt x="192" y="60"/>
                  </a:lnTo>
                  <a:lnTo>
                    <a:pt x="180" y="46"/>
                  </a:lnTo>
                  <a:lnTo>
                    <a:pt x="166" y="34"/>
                  </a:lnTo>
                  <a:lnTo>
                    <a:pt x="150" y="24"/>
                  </a:lnTo>
                  <a:lnTo>
                    <a:pt x="132" y="20"/>
                  </a:lnTo>
                  <a:lnTo>
                    <a:pt x="114" y="18"/>
                  </a:lnTo>
                  <a:lnTo>
                    <a:pt x="114" y="18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+mj-lt"/>
              </a:endParaRPr>
            </a:p>
          </p:txBody>
        </p:sp>
        <p:sp>
          <p:nvSpPr>
            <p:cNvPr id="28" name="Freeform 42">
              <a:extLst>
                <a:ext uri="{FF2B5EF4-FFF2-40B4-BE49-F238E27FC236}">
                  <a16:creationId xmlns:a16="http://schemas.microsoft.com/office/drawing/2014/main" id="{CBB07475-238B-4F77-9478-464140CDDA7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38" y="1053"/>
              <a:ext cx="136" cy="136"/>
            </a:xfrm>
            <a:custGeom>
              <a:avLst/>
              <a:gdLst>
                <a:gd name="T0" fmla="*/ 68 w 136"/>
                <a:gd name="T1" fmla="*/ 136 h 136"/>
                <a:gd name="T2" fmla="*/ 40 w 136"/>
                <a:gd name="T3" fmla="*/ 130 h 136"/>
                <a:gd name="T4" fmla="*/ 20 w 136"/>
                <a:gd name="T5" fmla="*/ 116 h 136"/>
                <a:gd name="T6" fmla="*/ 4 w 136"/>
                <a:gd name="T7" fmla="*/ 94 h 136"/>
                <a:gd name="T8" fmla="*/ 0 w 136"/>
                <a:gd name="T9" fmla="*/ 68 h 136"/>
                <a:gd name="T10" fmla="*/ 0 w 136"/>
                <a:gd name="T11" fmla="*/ 54 h 136"/>
                <a:gd name="T12" fmla="*/ 10 w 136"/>
                <a:gd name="T13" fmla="*/ 30 h 136"/>
                <a:gd name="T14" fmla="*/ 30 w 136"/>
                <a:gd name="T15" fmla="*/ 10 h 136"/>
                <a:gd name="T16" fmla="*/ 54 w 136"/>
                <a:gd name="T17" fmla="*/ 0 h 136"/>
                <a:gd name="T18" fmla="*/ 68 w 136"/>
                <a:gd name="T19" fmla="*/ 0 h 136"/>
                <a:gd name="T20" fmla="*/ 94 w 136"/>
                <a:gd name="T21" fmla="*/ 4 h 136"/>
                <a:gd name="T22" fmla="*/ 116 w 136"/>
                <a:gd name="T23" fmla="*/ 20 h 136"/>
                <a:gd name="T24" fmla="*/ 130 w 136"/>
                <a:gd name="T25" fmla="*/ 40 h 136"/>
                <a:gd name="T26" fmla="*/ 136 w 136"/>
                <a:gd name="T27" fmla="*/ 68 h 136"/>
                <a:gd name="T28" fmla="*/ 134 w 136"/>
                <a:gd name="T29" fmla="*/ 80 h 136"/>
                <a:gd name="T30" fmla="*/ 124 w 136"/>
                <a:gd name="T31" fmla="*/ 106 h 136"/>
                <a:gd name="T32" fmla="*/ 106 w 136"/>
                <a:gd name="T33" fmla="*/ 124 h 136"/>
                <a:gd name="T34" fmla="*/ 80 w 136"/>
                <a:gd name="T35" fmla="*/ 134 h 136"/>
                <a:gd name="T36" fmla="*/ 68 w 136"/>
                <a:gd name="T37" fmla="*/ 136 h 136"/>
                <a:gd name="T38" fmla="*/ 68 w 136"/>
                <a:gd name="T39" fmla="*/ 18 h 136"/>
                <a:gd name="T40" fmla="*/ 48 w 136"/>
                <a:gd name="T41" fmla="*/ 22 h 136"/>
                <a:gd name="T42" fmla="*/ 32 w 136"/>
                <a:gd name="T43" fmla="*/ 32 h 136"/>
                <a:gd name="T44" fmla="*/ 22 w 136"/>
                <a:gd name="T45" fmla="*/ 48 h 136"/>
                <a:gd name="T46" fmla="*/ 18 w 136"/>
                <a:gd name="T47" fmla="*/ 68 h 136"/>
                <a:gd name="T48" fmla="*/ 18 w 136"/>
                <a:gd name="T49" fmla="*/ 78 h 136"/>
                <a:gd name="T50" fmla="*/ 26 w 136"/>
                <a:gd name="T51" fmla="*/ 96 h 136"/>
                <a:gd name="T52" fmla="*/ 40 w 136"/>
                <a:gd name="T53" fmla="*/ 108 h 136"/>
                <a:gd name="T54" fmla="*/ 58 w 136"/>
                <a:gd name="T55" fmla="*/ 116 h 136"/>
                <a:gd name="T56" fmla="*/ 68 w 136"/>
                <a:gd name="T57" fmla="*/ 118 h 136"/>
                <a:gd name="T58" fmla="*/ 86 w 136"/>
                <a:gd name="T59" fmla="*/ 114 h 136"/>
                <a:gd name="T60" fmla="*/ 102 w 136"/>
                <a:gd name="T61" fmla="*/ 102 h 136"/>
                <a:gd name="T62" fmla="*/ 114 w 136"/>
                <a:gd name="T63" fmla="*/ 86 h 136"/>
                <a:gd name="T64" fmla="*/ 118 w 136"/>
                <a:gd name="T65" fmla="*/ 68 h 136"/>
                <a:gd name="T66" fmla="*/ 116 w 136"/>
                <a:gd name="T67" fmla="*/ 58 h 136"/>
                <a:gd name="T68" fmla="*/ 108 w 136"/>
                <a:gd name="T69" fmla="*/ 40 h 136"/>
                <a:gd name="T70" fmla="*/ 96 w 136"/>
                <a:gd name="T71" fmla="*/ 26 h 136"/>
                <a:gd name="T72" fmla="*/ 78 w 136"/>
                <a:gd name="T73" fmla="*/ 18 h 136"/>
                <a:gd name="T74" fmla="*/ 68 w 136"/>
                <a:gd name="T75" fmla="*/ 1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6" h="136">
                  <a:moveTo>
                    <a:pt x="68" y="136"/>
                  </a:moveTo>
                  <a:lnTo>
                    <a:pt x="68" y="136"/>
                  </a:lnTo>
                  <a:lnTo>
                    <a:pt x="54" y="134"/>
                  </a:lnTo>
                  <a:lnTo>
                    <a:pt x="40" y="130"/>
                  </a:lnTo>
                  <a:lnTo>
                    <a:pt x="30" y="124"/>
                  </a:lnTo>
                  <a:lnTo>
                    <a:pt x="20" y="116"/>
                  </a:lnTo>
                  <a:lnTo>
                    <a:pt x="10" y="106"/>
                  </a:lnTo>
                  <a:lnTo>
                    <a:pt x="4" y="94"/>
                  </a:lnTo>
                  <a:lnTo>
                    <a:pt x="0" y="80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54"/>
                  </a:lnTo>
                  <a:lnTo>
                    <a:pt x="4" y="40"/>
                  </a:lnTo>
                  <a:lnTo>
                    <a:pt x="10" y="30"/>
                  </a:lnTo>
                  <a:lnTo>
                    <a:pt x="20" y="20"/>
                  </a:lnTo>
                  <a:lnTo>
                    <a:pt x="30" y="10"/>
                  </a:lnTo>
                  <a:lnTo>
                    <a:pt x="40" y="4"/>
                  </a:lnTo>
                  <a:lnTo>
                    <a:pt x="54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80" y="0"/>
                  </a:lnTo>
                  <a:lnTo>
                    <a:pt x="94" y="4"/>
                  </a:lnTo>
                  <a:lnTo>
                    <a:pt x="106" y="10"/>
                  </a:lnTo>
                  <a:lnTo>
                    <a:pt x="116" y="20"/>
                  </a:lnTo>
                  <a:lnTo>
                    <a:pt x="124" y="30"/>
                  </a:lnTo>
                  <a:lnTo>
                    <a:pt x="130" y="40"/>
                  </a:lnTo>
                  <a:lnTo>
                    <a:pt x="134" y="54"/>
                  </a:lnTo>
                  <a:lnTo>
                    <a:pt x="136" y="68"/>
                  </a:lnTo>
                  <a:lnTo>
                    <a:pt x="136" y="68"/>
                  </a:lnTo>
                  <a:lnTo>
                    <a:pt x="134" y="80"/>
                  </a:lnTo>
                  <a:lnTo>
                    <a:pt x="130" y="94"/>
                  </a:lnTo>
                  <a:lnTo>
                    <a:pt x="124" y="106"/>
                  </a:lnTo>
                  <a:lnTo>
                    <a:pt x="116" y="116"/>
                  </a:lnTo>
                  <a:lnTo>
                    <a:pt x="106" y="124"/>
                  </a:lnTo>
                  <a:lnTo>
                    <a:pt x="94" y="130"/>
                  </a:lnTo>
                  <a:lnTo>
                    <a:pt x="80" y="134"/>
                  </a:lnTo>
                  <a:lnTo>
                    <a:pt x="68" y="136"/>
                  </a:lnTo>
                  <a:lnTo>
                    <a:pt x="68" y="136"/>
                  </a:lnTo>
                  <a:close/>
                  <a:moveTo>
                    <a:pt x="68" y="18"/>
                  </a:moveTo>
                  <a:lnTo>
                    <a:pt x="68" y="18"/>
                  </a:lnTo>
                  <a:lnTo>
                    <a:pt x="58" y="18"/>
                  </a:lnTo>
                  <a:lnTo>
                    <a:pt x="48" y="22"/>
                  </a:lnTo>
                  <a:lnTo>
                    <a:pt x="40" y="26"/>
                  </a:lnTo>
                  <a:lnTo>
                    <a:pt x="32" y="32"/>
                  </a:lnTo>
                  <a:lnTo>
                    <a:pt x="26" y="40"/>
                  </a:lnTo>
                  <a:lnTo>
                    <a:pt x="22" y="48"/>
                  </a:lnTo>
                  <a:lnTo>
                    <a:pt x="18" y="58"/>
                  </a:lnTo>
                  <a:lnTo>
                    <a:pt x="18" y="68"/>
                  </a:lnTo>
                  <a:lnTo>
                    <a:pt x="18" y="68"/>
                  </a:lnTo>
                  <a:lnTo>
                    <a:pt x="18" y="78"/>
                  </a:lnTo>
                  <a:lnTo>
                    <a:pt x="22" y="86"/>
                  </a:lnTo>
                  <a:lnTo>
                    <a:pt x="26" y="96"/>
                  </a:lnTo>
                  <a:lnTo>
                    <a:pt x="32" y="102"/>
                  </a:lnTo>
                  <a:lnTo>
                    <a:pt x="40" y="108"/>
                  </a:lnTo>
                  <a:lnTo>
                    <a:pt x="48" y="114"/>
                  </a:lnTo>
                  <a:lnTo>
                    <a:pt x="58" y="116"/>
                  </a:lnTo>
                  <a:lnTo>
                    <a:pt x="68" y="118"/>
                  </a:lnTo>
                  <a:lnTo>
                    <a:pt x="68" y="118"/>
                  </a:lnTo>
                  <a:lnTo>
                    <a:pt x="78" y="116"/>
                  </a:lnTo>
                  <a:lnTo>
                    <a:pt x="86" y="114"/>
                  </a:lnTo>
                  <a:lnTo>
                    <a:pt x="96" y="108"/>
                  </a:lnTo>
                  <a:lnTo>
                    <a:pt x="102" y="102"/>
                  </a:lnTo>
                  <a:lnTo>
                    <a:pt x="108" y="96"/>
                  </a:lnTo>
                  <a:lnTo>
                    <a:pt x="114" y="86"/>
                  </a:lnTo>
                  <a:lnTo>
                    <a:pt x="116" y="78"/>
                  </a:lnTo>
                  <a:lnTo>
                    <a:pt x="118" y="68"/>
                  </a:lnTo>
                  <a:lnTo>
                    <a:pt x="118" y="68"/>
                  </a:lnTo>
                  <a:lnTo>
                    <a:pt x="116" y="58"/>
                  </a:lnTo>
                  <a:lnTo>
                    <a:pt x="114" y="48"/>
                  </a:lnTo>
                  <a:lnTo>
                    <a:pt x="108" y="40"/>
                  </a:lnTo>
                  <a:lnTo>
                    <a:pt x="102" y="32"/>
                  </a:lnTo>
                  <a:lnTo>
                    <a:pt x="96" y="26"/>
                  </a:lnTo>
                  <a:lnTo>
                    <a:pt x="86" y="22"/>
                  </a:lnTo>
                  <a:lnTo>
                    <a:pt x="78" y="18"/>
                  </a:lnTo>
                  <a:lnTo>
                    <a:pt x="68" y="18"/>
                  </a:lnTo>
                  <a:lnTo>
                    <a:pt x="68" y="18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+mj-lt"/>
              </a:endParaRPr>
            </a:p>
          </p:txBody>
        </p:sp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id="{26A84BD6-0684-4328-BF93-F85A4EC064A1}"/>
              </a:ext>
            </a:extLst>
          </p:cNvPr>
          <p:cNvSpPr/>
          <p:nvPr/>
        </p:nvSpPr>
        <p:spPr>
          <a:xfrm>
            <a:off x="1114314" y="3039009"/>
            <a:ext cx="331728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chemeClr val="tx2"/>
                </a:solidFill>
                <a:latin typeface="+mj-lt"/>
              </a:rPr>
              <a:t>Фармацевтическая продукция</a:t>
            </a:r>
            <a:endParaRPr lang="en-US" sz="1200" b="1" dirty="0">
              <a:solidFill>
                <a:schemeClr val="tx2"/>
              </a:solidFill>
              <a:latin typeface="+mj-lt"/>
            </a:endParaRP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3AFC3A84-C348-43D0-8272-96429CFA5AC9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6910" y="3737233"/>
            <a:ext cx="452312" cy="451000"/>
          </a:xfrm>
          <a:prstGeom prst="rect">
            <a:avLst/>
          </a:prstGeom>
        </p:spPr>
      </p:pic>
      <p:sp>
        <p:nvSpPr>
          <p:cNvPr id="31" name="Rectangle 30">
            <a:extLst>
              <a:ext uri="{FF2B5EF4-FFF2-40B4-BE49-F238E27FC236}">
                <a16:creationId xmlns:a16="http://schemas.microsoft.com/office/drawing/2014/main" id="{B815E539-CF76-4D49-A0F4-5BFDC172B890}"/>
              </a:ext>
            </a:extLst>
          </p:cNvPr>
          <p:cNvSpPr/>
          <p:nvPr/>
        </p:nvSpPr>
        <p:spPr>
          <a:xfrm>
            <a:off x="1114314" y="3683297"/>
            <a:ext cx="331728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chemeClr val="tx2"/>
                </a:solidFill>
                <a:latin typeface="+mj-lt"/>
              </a:rPr>
              <a:t>Технологическое оборудование, станки и инструменты</a:t>
            </a:r>
            <a:endParaRPr lang="en-US" sz="1200" b="1" dirty="0">
              <a:solidFill>
                <a:schemeClr val="tx2"/>
              </a:solidFill>
              <a:latin typeface="+mj-lt"/>
            </a:endParaRPr>
          </a:p>
        </p:txBody>
      </p:sp>
      <p:grpSp>
        <p:nvGrpSpPr>
          <p:cNvPr id="32" name="Group 58">
            <a:extLst>
              <a:ext uri="{FF2B5EF4-FFF2-40B4-BE49-F238E27FC236}">
                <a16:creationId xmlns:a16="http://schemas.microsoft.com/office/drawing/2014/main" id="{CE3A4476-6286-4C54-8629-AF4B83402DD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95947" y="4431665"/>
            <a:ext cx="418736" cy="478716"/>
            <a:chOff x="1891" y="1891"/>
            <a:chExt cx="740" cy="846"/>
          </a:xfrm>
        </p:grpSpPr>
        <p:sp>
          <p:nvSpPr>
            <p:cNvPr id="33" name="AutoShape 57">
              <a:extLst>
                <a:ext uri="{FF2B5EF4-FFF2-40B4-BE49-F238E27FC236}">
                  <a16:creationId xmlns:a16="http://schemas.microsoft.com/office/drawing/2014/main" id="{2090AB47-DAE1-4D9E-83C0-3147DDF2D1F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891" y="1891"/>
              <a:ext cx="740" cy="8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+mj-lt"/>
              </a:endParaRPr>
            </a:p>
          </p:txBody>
        </p:sp>
        <p:sp>
          <p:nvSpPr>
            <p:cNvPr id="34" name="Freeform 59">
              <a:extLst>
                <a:ext uri="{FF2B5EF4-FFF2-40B4-BE49-F238E27FC236}">
                  <a16:creationId xmlns:a16="http://schemas.microsoft.com/office/drawing/2014/main" id="{907FFA58-28A9-4954-B883-F1CDE1368B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89" y="2043"/>
              <a:ext cx="542" cy="542"/>
            </a:xfrm>
            <a:custGeom>
              <a:avLst/>
              <a:gdLst>
                <a:gd name="T0" fmla="*/ 244 w 542"/>
                <a:gd name="T1" fmla="*/ 540 h 542"/>
                <a:gd name="T2" fmla="*/ 166 w 542"/>
                <a:gd name="T3" fmla="*/ 520 h 542"/>
                <a:gd name="T4" fmla="*/ 100 w 542"/>
                <a:gd name="T5" fmla="*/ 480 h 542"/>
                <a:gd name="T6" fmla="*/ 48 w 542"/>
                <a:gd name="T7" fmla="*/ 422 h 542"/>
                <a:gd name="T8" fmla="*/ 14 w 542"/>
                <a:gd name="T9" fmla="*/ 352 h 542"/>
                <a:gd name="T10" fmla="*/ 0 w 542"/>
                <a:gd name="T11" fmla="*/ 270 h 542"/>
                <a:gd name="T12" fmla="*/ 6 w 542"/>
                <a:gd name="T13" fmla="*/ 216 h 542"/>
                <a:gd name="T14" fmla="*/ 34 w 542"/>
                <a:gd name="T15" fmla="*/ 142 h 542"/>
                <a:gd name="T16" fmla="*/ 80 w 542"/>
                <a:gd name="T17" fmla="*/ 80 h 542"/>
                <a:gd name="T18" fmla="*/ 142 w 542"/>
                <a:gd name="T19" fmla="*/ 32 h 542"/>
                <a:gd name="T20" fmla="*/ 218 w 542"/>
                <a:gd name="T21" fmla="*/ 6 h 542"/>
                <a:gd name="T22" fmla="*/ 272 w 542"/>
                <a:gd name="T23" fmla="*/ 0 h 542"/>
                <a:gd name="T24" fmla="*/ 352 w 542"/>
                <a:gd name="T25" fmla="*/ 12 h 542"/>
                <a:gd name="T26" fmla="*/ 424 w 542"/>
                <a:gd name="T27" fmla="*/ 46 h 542"/>
                <a:gd name="T28" fmla="*/ 480 w 542"/>
                <a:gd name="T29" fmla="*/ 98 h 542"/>
                <a:gd name="T30" fmla="*/ 522 w 542"/>
                <a:gd name="T31" fmla="*/ 166 h 542"/>
                <a:gd name="T32" fmla="*/ 542 w 542"/>
                <a:gd name="T33" fmla="*/ 242 h 542"/>
                <a:gd name="T34" fmla="*/ 542 w 542"/>
                <a:gd name="T35" fmla="*/ 298 h 542"/>
                <a:gd name="T36" fmla="*/ 522 w 542"/>
                <a:gd name="T37" fmla="*/ 376 h 542"/>
                <a:gd name="T38" fmla="*/ 480 w 542"/>
                <a:gd name="T39" fmla="*/ 442 h 542"/>
                <a:gd name="T40" fmla="*/ 424 w 542"/>
                <a:gd name="T41" fmla="*/ 496 h 542"/>
                <a:gd name="T42" fmla="*/ 352 w 542"/>
                <a:gd name="T43" fmla="*/ 530 h 542"/>
                <a:gd name="T44" fmla="*/ 272 w 542"/>
                <a:gd name="T45" fmla="*/ 542 h 542"/>
                <a:gd name="T46" fmla="*/ 272 w 542"/>
                <a:gd name="T47" fmla="*/ 18 h 542"/>
                <a:gd name="T48" fmla="*/ 198 w 542"/>
                <a:gd name="T49" fmla="*/ 30 h 542"/>
                <a:gd name="T50" fmla="*/ 132 w 542"/>
                <a:gd name="T51" fmla="*/ 62 h 542"/>
                <a:gd name="T52" fmla="*/ 78 w 542"/>
                <a:gd name="T53" fmla="*/ 110 h 542"/>
                <a:gd name="T54" fmla="*/ 40 w 542"/>
                <a:gd name="T55" fmla="*/ 172 h 542"/>
                <a:gd name="T56" fmla="*/ 22 w 542"/>
                <a:gd name="T57" fmla="*/ 244 h 542"/>
                <a:gd name="T58" fmla="*/ 22 w 542"/>
                <a:gd name="T59" fmla="*/ 296 h 542"/>
                <a:gd name="T60" fmla="*/ 40 w 542"/>
                <a:gd name="T61" fmla="*/ 368 h 542"/>
                <a:gd name="T62" fmla="*/ 78 w 542"/>
                <a:gd name="T63" fmla="*/ 430 h 542"/>
                <a:gd name="T64" fmla="*/ 132 w 542"/>
                <a:gd name="T65" fmla="*/ 480 h 542"/>
                <a:gd name="T66" fmla="*/ 198 w 542"/>
                <a:gd name="T67" fmla="*/ 510 h 542"/>
                <a:gd name="T68" fmla="*/ 272 w 542"/>
                <a:gd name="T69" fmla="*/ 522 h 542"/>
                <a:gd name="T70" fmla="*/ 322 w 542"/>
                <a:gd name="T71" fmla="*/ 518 h 542"/>
                <a:gd name="T72" fmla="*/ 392 w 542"/>
                <a:gd name="T73" fmla="*/ 492 h 542"/>
                <a:gd name="T74" fmla="*/ 450 w 542"/>
                <a:gd name="T75" fmla="*/ 448 h 542"/>
                <a:gd name="T76" fmla="*/ 494 w 542"/>
                <a:gd name="T77" fmla="*/ 390 h 542"/>
                <a:gd name="T78" fmla="*/ 518 w 542"/>
                <a:gd name="T79" fmla="*/ 322 h 542"/>
                <a:gd name="T80" fmla="*/ 524 w 542"/>
                <a:gd name="T81" fmla="*/ 270 h 542"/>
                <a:gd name="T82" fmla="*/ 512 w 542"/>
                <a:gd name="T83" fmla="*/ 196 h 542"/>
                <a:gd name="T84" fmla="*/ 480 w 542"/>
                <a:gd name="T85" fmla="*/ 130 h 542"/>
                <a:gd name="T86" fmla="*/ 432 w 542"/>
                <a:gd name="T87" fmla="*/ 76 h 542"/>
                <a:gd name="T88" fmla="*/ 370 w 542"/>
                <a:gd name="T89" fmla="*/ 38 h 542"/>
                <a:gd name="T90" fmla="*/ 298 w 542"/>
                <a:gd name="T91" fmla="*/ 20 h 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542" h="542">
                  <a:moveTo>
                    <a:pt x="272" y="542"/>
                  </a:moveTo>
                  <a:lnTo>
                    <a:pt x="272" y="542"/>
                  </a:lnTo>
                  <a:lnTo>
                    <a:pt x="244" y="540"/>
                  </a:lnTo>
                  <a:lnTo>
                    <a:pt x="218" y="536"/>
                  </a:lnTo>
                  <a:lnTo>
                    <a:pt x="192" y="530"/>
                  </a:lnTo>
                  <a:lnTo>
                    <a:pt x="166" y="520"/>
                  </a:lnTo>
                  <a:lnTo>
                    <a:pt x="142" y="508"/>
                  </a:lnTo>
                  <a:lnTo>
                    <a:pt x="120" y="496"/>
                  </a:lnTo>
                  <a:lnTo>
                    <a:pt x="100" y="480"/>
                  </a:lnTo>
                  <a:lnTo>
                    <a:pt x="80" y="462"/>
                  </a:lnTo>
                  <a:lnTo>
                    <a:pt x="62" y="442"/>
                  </a:lnTo>
                  <a:lnTo>
                    <a:pt x="48" y="422"/>
                  </a:lnTo>
                  <a:lnTo>
                    <a:pt x="34" y="400"/>
                  </a:lnTo>
                  <a:lnTo>
                    <a:pt x="22" y="376"/>
                  </a:lnTo>
                  <a:lnTo>
                    <a:pt x="14" y="352"/>
                  </a:lnTo>
                  <a:lnTo>
                    <a:pt x="6" y="326"/>
                  </a:lnTo>
                  <a:lnTo>
                    <a:pt x="2" y="298"/>
                  </a:lnTo>
                  <a:lnTo>
                    <a:pt x="0" y="270"/>
                  </a:lnTo>
                  <a:lnTo>
                    <a:pt x="0" y="270"/>
                  </a:lnTo>
                  <a:lnTo>
                    <a:pt x="2" y="242"/>
                  </a:lnTo>
                  <a:lnTo>
                    <a:pt x="6" y="216"/>
                  </a:lnTo>
                  <a:lnTo>
                    <a:pt x="14" y="190"/>
                  </a:lnTo>
                  <a:lnTo>
                    <a:pt x="22" y="166"/>
                  </a:lnTo>
                  <a:lnTo>
                    <a:pt x="34" y="142"/>
                  </a:lnTo>
                  <a:lnTo>
                    <a:pt x="48" y="120"/>
                  </a:lnTo>
                  <a:lnTo>
                    <a:pt x="62" y="98"/>
                  </a:lnTo>
                  <a:lnTo>
                    <a:pt x="80" y="80"/>
                  </a:lnTo>
                  <a:lnTo>
                    <a:pt x="100" y="62"/>
                  </a:lnTo>
                  <a:lnTo>
                    <a:pt x="120" y="46"/>
                  </a:lnTo>
                  <a:lnTo>
                    <a:pt x="142" y="32"/>
                  </a:lnTo>
                  <a:lnTo>
                    <a:pt x="166" y="20"/>
                  </a:lnTo>
                  <a:lnTo>
                    <a:pt x="192" y="12"/>
                  </a:lnTo>
                  <a:lnTo>
                    <a:pt x="218" y="6"/>
                  </a:lnTo>
                  <a:lnTo>
                    <a:pt x="244" y="0"/>
                  </a:lnTo>
                  <a:lnTo>
                    <a:pt x="272" y="0"/>
                  </a:lnTo>
                  <a:lnTo>
                    <a:pt x="272" y="0"/>
                  </a:lnTo>
                  <a:lnTo>
                    <a:pt x="300" y="0"/>
                  </a:lnTo>
                  <a:lnTo>
                    <a:pt x="326" y="6"/>
                  </a:lnTo>
                  <a:lnTo>
                    <a:pt x="352" y="12"/>
                  </a:lnTo>
                  <a:lnTo>
                    <a:pt x="378" y="20"/>
                  </a:lnTo>
                  <a:lnTo>
                    <a:pt x="400" y="32"/>
                  </a:lnTo>
                  <a:lnTo>
                    <a:pt x="424" y="46"/>
                  </a:lnTo>
                  <a:lnTo>
                    <a:pt x="444" y="62"/>
                  </a:lnTo>
                  <a:lnTo>
                    <a:pt x="464" y="80"/>
                  </a:lnTo>
                  <a:lnTo>
                    <a:pt x="480" y="98"/>
                  </a:lnTo>
                  <a:lnTo>
                    <a:pt x="496" y="120"/>
                  </a:lnTo>
                  <a:lnTo>
                    <a:pt x="510" y="142"/>
                  </a:lnTo>
                  <a:lnTo>
                    <a:pt x="522" y="166"/>
                  </a:lnTo>
                  <a:lnTo>
                    <a:pt x="530" y="190"/>
                  </a:lnTo>
                  <a:lnTo>
                    <a:pt x="538" y="216"/>
                  </a:lnTo>
                  <a:lnTo>
                    <a:pt x="542" y="242"/>
                  </a:lnTo>
                  <a:lnTo>
                    <a:pt x="542" y="270"/>
                  </a:lnTo>
                  <a:lnTo>
                    <a:pt x="542" y="270"/>
                  </a:lnTo>
                  <a:lnTo>
                    <a:pt x="542" y="298"/>
                  </a:lnTo>
                  <a:lnTo>
                    <a:pt x="538" y="326"/>
                  </a:lnTo>
                  <a:lnTo>
                    <a:pt x="530" y="352"/>
                  </a:lnTo>
                  <a:lnTo>
                    <a:pt x="522" y="376"/>
                  </a:lnTo>
                  <a:lnTo>
                    <a:pt x="510" y="400"/>
                  </a:lnTo>
                  <a:lnTo>
                    <a:pt x="496" y="422"/>
                  </a:lnTo>
                  <a:lnTo>
                    <a:pt x="480" y="442"/>
                  </a:lnTo>
                  <a:lnTo>
                    <a:pt x="464" y="462"/>
                  </a:lnTo>
                  <a:lnTo>
                    <a:pt x="444" y="480"/>
                  </a:lnTo>
                  <a:lnTo>
                    <a:pt x="424" y="496"/>
                  </a:lnTo>
                  <a:lnTo>
                    <a:pt x="400" y="508"/>
                  </a:lnTo>
                  <a:lnTo>
                    <a:pt x="378" y="520"/>
                  </a:lnTo>
                  <a:lnTo>
                    <a:pt x="352" y="530"/>
                  </a:lnTo>
                  <a:lnTo>
                    <a:pt x="326" y="536"/>
                  </a:lnTo>
                  <a:lnTo>
                    <a:pt x="300" y="540"/>
                  </a:lnTo>
                  <a:lnTo>
                    <a:pt x="272" y="542"/>
                  </a:lnTo>
                  <a:lnTo>
                    <a:pt x="272" y="542"/>
                  </a:lnTo>
                  <a:close/>
                  <a:moveTo>
                    <a:pt x="272" y="18"/>
                  </a:moveTo>
                  <a:lnTo>
                    <a:pt x="272" y="18"/>
                  </a:lnTo>
                  <a:lnTo>
                    <a:pt x="246" y="20"/>
                  </a:lnTo>
                  <a:lnTo>
                    <a:pt x="222" y="24"/>
                  </a:lnTo>
                  <a:lnTo>
                    <a:pt x="198" y="30"/>
                  </a:lnTo>
                  <a:lnTo>
                    <a:pt x="174" y="38"/>
                  </a:lnTo>
                  <a:lnTo>
                    <a:pt x="152" y="50"/>
                  </a:lnTo>
                  <a:lnTo>
                    <a:pt x="132" y="62"/>
                  </a:lnTo>
                  <a:lnTo>
                    <a:pt x="112" y="76"/>
                  </a:lnTo>
                  <a:lnTo>
                    <a:pt x="94" y="92"/>
                  </a:lnTo>
                  <a:lnTo>
                    <a:pt x="78" y="110"/>
                  </a:lnTo>
                  <a:lnTo>
                    <a:pt x="64" y="130"/>
                  </a:lnTo>
                  <a:lnTo>
                    <a:pt x="50" y="150"/>
                  </a:lnTo>
                  <a:lnTo>
                    <a:pt x="40" y="172"/>
                  </a:lnTo>
                  <a:lnTo>
                    <a:pt x="32" y="196"/>
                  </a:lnTo>
                  <a:lnTo>
                    <a:pt x="26" y="220"/>
                  </a:lnTo>
                  <a:lnTo>
                    <a:pt x="22" y="244"/>
                  </a:lnTo>
                  <a:lnTo>
                    <a:pt x="20" y="270"/>
                  </a:lnTo>
                  <a:lnTo>
                    <a:pt x="20" y="270"/>
                  </a:lnTo>
                  <a:lnTo>
                    <a:pt x="22" y="296"/>
                  </a:lnTo>
                  <a:lnTo>
                    <a:pt x="26" y="322"/>
                  </a:lnTo>
                  <a:lnTo>
                    <a:pt x="32" y="346"/>
                  </a:lnTo>
                  <a:lnTo>
                    <a:pt x="40" y="368"/>
                  </a:lnTo>
                  <a:lnTo>
                    <a:pt x="50" y="390"/>
                  </a:lnTo>
                  <a:lnTo>
                    <a:pt x="64" y="412"/>
                  </a:lnTo>
                  <a:lnTo>
                    <a:pt x="78" y="430"/>
                  </a:lnTo>
                  <a:lnTo>
                    <a:pt x="94" y="448"/>
                  </a:lnTo>
                  <a:lnTo>
                    <a:pt x="112" y="464"/>
                  </a:lnTo>
                  <a:lnTo>
                    <a:pt x="132" y="480"/>
                  </a:lnTo>
                  <a:lnTo>
                    <a:pt x="152" y="492"/>
                  </a:lnTo>
                  <a:lnTo>
                    <a:pt x="174" y="502"/>
                  </a:lnTo>
                  <a:lnTo>
                    <a:pt x="198" y="510"/>
                  </a:lnTo>
                  <a:lnTo>
                    <a:pt x="222" y="518"/>
                  </a:lnTo>
                  <a:lnTo>
                    <a:pt x="246" y="520"/>
                  </a:lnTo>
                  <a:lnTo>
                    <a:pt x="272" y="522"/>
                  </a:lnTo>
                  <a:lnTo>
                    <a:pt x="272" y="522"/>
                  </a:lnTo>
                  <a:lnTo>
                    <a:pt x="298" y="520"/>
                  </a:lnTo>
                  <a:lnTo>
                    <a:pt x="322" y="518"/>
                  </a:lnTo>
                  <a:lnTo>
                    <a:pt x="346" y="510"/>
                  </a:lnTo>
                  <a:lnTo>
                    <a:pt x="370" y="502"/>
                  </a:lnTo>
                  <a:lnTo>
                    <a:pt x="392" y="492"/>
                  </a:lnTo>
                  <a:lnTo>
                    <a:pt x="412" y="480"/>
                  </a:lnTo>
                  <a:lnTo>
                    <a:pt x="432" y="464"/>
                  </a:lnTo>
                  <a:lnTo>
                    <a:pt x="450" y="448"/>
                  </a:lnTo>
                  <a:lnTo>
                    <a:pt x="466" y="430"/>
                  </a:lnTo>
                  <a:lnTo>
                    <a:pt x="480" y="412"/>
                  </a:lnTo>
                  <a:lnTo>
                    <a:pt x="494" y="390"/>
                  </a:lnTo>
                  <a:lnTo>
                    <a:pt x="504" y="368"/>
                  </a:lnTo>
                  <a:lnTo>
                    <a:pt x="512" y="346"/>
                  </a:lnTo>
                  <a:lnTo>
                    <a:pt x="518" y="322"/>
                  </a:lnTo>
                  <a:lnTo>
                    <a:pt x="522" y="296"/>
                  </a:lnTo>
                  <a:lnTo>
                    <a:pt x="524" y="270"/>
                  </a:lnTo>
                  <a:lnTo>
                    <a:pt x="524" y="270"/>
                  </a:lnTo>
                  <a:lnTo>
                    <a:pt x="522" y="244"/>
                  </a:lnTo>
                  <a:lnTo>
                    <a:pt x="518" y="220"/>
                  </a:lnTo>
                  <a:lnTo>
                    <a:pt x="512" y="196"/>
                  </a:lnTo>
                  <a:lnTo>
                    <a:pt x="504" y="172"/>
                  </a:lnTo>
                  <a:lnTo>
                    <a:pt x="494" y="150"/>
                  </a:lnTo>
                  <a:lnTo>
                    <a:pt x="480" y="130"/>
                  </a:lnTo>
                  <a:lnTo>
                    <a:pt x="466" y="110"/>
                  </a:lnTo>
                  <a:lnTo>
                    <a:pt x="450" y="92"/>
                  </a:lnTo>
                  <a:lnTo>
                    <a:pt x="432" y="76"/>
                  </a:lnTo>
                  <a:lnTo>
                    <a:pt x="412" y="62"/>
                  </a:lnTo>
                  <a:lnTo>
                    <a:pt x="392" y="50"/>
                  </a:lnTo>
                  <a:lnTo>
                    <a:pt x="370" y="38"/>
                  </a:lnTo>
                  <a:lnTo>
                    <a:pt x="346" y="30"/>
                  </a:lnTo>
                  <a:lnTo>
                    <a:pt x="322" y="24"/>
                  </a:lnTo>
                  <a:lnTo>
                    <a:pt x="298" y="20"/>
                  </a:lnTo>
                  <a:lnTo>
                    <a:pt x="272" y="18"/>
                  </a:lnTo>
                  <a:lnTo>
                    <a:pt x="272" y="18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+mj-lt"/>
              </a:endParaRPr>
            </a:p>
          </p:txBody>
        </p:sp>
        <p:sp>
          <p:nvSpPr>
            <p:cNvPr id="35" name="Freeform 60">
              <a:extLst>
                <a:ext uri="{FF2B5EF4-FFF2-40B4-BE49-F238E27FC236}">
                  <a16:creationId xmlns:a16="http://schemas.microsoft.com/office/drawing/2014/main" id="{8105018B-78C1-4AEF-85DB-9589AA8F88E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21" y="2043"/>
              <a:ext cx="280" cy="542"/>
            </a:xfrm>
            <a:custGeom>
              <a:avLst/>
              <a:gdLst>
                <a:gd name="T0" fmla="*/ 126 w 280"/>
                <a:gd name="T1" fmla="*/ 540 h 542"/>
                <a:gd name="T2" fmla="*/ 86 w 280"/>
                <a:gd name="T3" fmla="*/ 520 h 542"/>
                <a:gd name="T4" fmla="*/ 50 w 280"/>
                <a:gd name="T5" fmla="*/ 480 h 542"/>
                <a:gd name="T6" fmla="*/ 24 w 280"/>
                <a:gd name="T7" fmla="*/ 424 h 542"/>
                <a:gd name="T8" fmla="*/ 6 w 280"/>
                <a:gd name="T9" fmla="*/ 352 h 542"/>
                <a:gd name="T10" fmla="*/ 0 w 280"/>
                <a:gd name="T11" fmla="*/ 270 h 542"/>
                <a:gd name="T12" fmla="*/ 4 w 280"/>
                <a:gd name="T13" fmla="*/ 216 h 542"/>
                <a:gd name="T14" fmla="*/ 18 w 280"/>
                <a:gd name="T15" fmla="*/ 140 h 542"/>
                <a:gd name="T16" fmla="*/ 40 w 280"/>
                <a:gd name="T17" fmla="*/ 78 h 542"/>
                <a:gd name="T18" fmla="*/ 72 w 280"/>
                <a:gd name="T19" fmla="*/ 32 h 542"/>
                <a:gd name="T20" fmla="*/ 112 w 280"/>
                <a:gd name="T21" fmla="*/ 4 h 542"/>
                <a:gd name="T22" fmla="*/ 140 w 280"/>
                <a:gd name="T23" fmla="*/ 0 h 542"/>
                <a:gd name="T24" fmla="*/ 182 w 280"/>
                <a:gd name="T25" fmla="*/ 12 h 542"/>
                <a:gd name="T26" fmla="*/ 218 w 280"/>
                <a:gd name="T27" fmla="*/ 46 h 542"/>
                <a:gd name="T28" fmla="*/ 248 w 280"/>
                <a:gd name="T29" fmla="*/ 98 h 542"/>
                <a:gd name="T30" fmla="*/ 268 w 280"/>
                <a:gd name="T31" fmla="*/ 164 h 542"/>
                <a:gd name="T32" fmla="*/ 278 w 280"/>
                <a:gd name="T33" fmla="*/ 242 h 542"/>
                <a:gd name="T34" fmla="*/ 278 w 280"/>
                <a:gd name="T35" fmla="*/ 298 h 542"/>
                <a:gd name="T36" fmla="*/ 268 w 280"/>
                <a:gd name="T37" fmla="*/ 376 h 542"/>
                <a:gd name="T38" fmla="*/ 248 w 280"/>
                <a:gd name="T39" fmla="*/ 444 h 542"/>
                <a:gd name="T40" fmla="*/ 218 w 280"/>
                <a:gd name="T41" fmla="*/ 496 h 542"/>
                <a:gd name="T42" fmla="*/ 182 w 280"/>
                <a:gd name="T43" fmla="*/ 530 h 542"/>
                <a:gd name="T44" fmla="*/ 140 w 280"/>
                <a:gd name="T45" fmla="*/ 542 h 542"/>
                <a:gd name="T46" fmla="*/ 140 w 280"/>
                <a:gd name="T47" fmla="*/ 18 h 542"/>
                <a:gd name="T48" fmla="*/ 104 w 280"/>
                <a:gd name="T49" fmla="*/ 30 h 542"/>
                <a:gd name="T50" fmla="*/ 74 w 280"/>
                <a:gd name="T51" fmla="*/ 62 h 542"/>
                <a:gd name="T52" fmla="*/ 48 w 280"/>
                <a:gd name="T53" fmla="*/ 112 h 542"/>
                <a:gd name="T54" fmla="*/ 30 w 280"/>
                <a:gd name="T55" fmla="*/ 174 h 542"/>
                <a:gd name="T56" fmla="*/ 20 w 280"/>
                <a:gd name="T57" fmla="*/ 246 h 542"/>
                <a:gd name="T58" fmla="*/ 20 w 280"/>
                <a:gd name="T59" fmla="*/ 296 h 542"/>
                <a:gd name="T60" fmla="*/ 30 w 280"/>
                <a:gd name="T61" fmla="*/ 368 h 542"/>
                <a:gd name="T62" fmla="*/ 48 w 280"/>
                <a:gd name="T63" fmla="*/ 430 h 542"/>
                <a:gd name="T64" fmla="*/ 74 w 280"/>
                <a:gd name="T65" fmla="*/ 478 h 542"/>
                <a:gd name="T66" fmla="*/ 104 w 280"/>
                <a:gd name="T67" fmla="*/ 510 h 542"/>
                <a:gd name="T68" fmla="*/ 140 w 280"/>
                <a:gd name="T69" fmla="*/ 522 h 542"/>
                <a:gd name="T70" fmla="*/ 164 w 280"/>
                <a:gd name="T71" fmla="*/ 516 h 542"/>
                <a:gd name="T72" fmla="*/ 196 w 280"/>
                <a:gd name="T73" fmla="*/ 492 h 542"/>
                <a:gd name="T74" fmla="*/ 224 w 280"/>
                <a:gd name="T75" fmla="*/ 448 h 542"/>
                <a:gd name="T76" fmla="*/ 246 w 280"/>
                <a:gd name="T77" fmla="*/ 390 h 542"/>
                <a:gd name="T78" fmla="*/ 258 w 280"/>
                <a:gd name="T79" fmla="*/ 320 h 542"/>
                <a:gd name="T80" fmla="*/ 260 w 280"/>
                <a:gd name="T81" fmla="*/ 270 h 542"/>
                <a:gd name="T82" fmla="*/ 254 w 280"/>
                <a:gd name="T83" fmla="*/ 196 h 542"/>
                <a:gd name="T84" fmla="*/ 238 w 280"/>
                <a:gd name="T85" fmla="*/ 130 h 542"/>
                <a:gd name="T86" fmla="*/ 216 w 280"/>
                <a:gd name="T87" fmla="*/ 78 h 542"/>
                <a:gd name="T88" fmla="*/ 186 w 280"/>
                <a:gd name="T89" fmla="*/ 40 h 542"/>
                <a:gd name="T90" fmla="*/ 152 w 280"/>
                <a:gd name="T91" fmla="*/ 20 h 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80" h="542">
                  <a:moveTo>
                    <a:pt x="140" y="542"/>
                  </a:moveTo>
                  <a:lnTo>
                    <a:pt x="140" y="542"/>
                  </a:lnTo>
                  <a:lnTo>
                    <a:pt x="126" y="540"/>
                  </a:lnTo>
                  <a:lnTo>
                    <a:pt x="112" y="536"/>
                  </a:lnTo>
                  <a:lnTo>
                    <a:pt x="98" y="530"/>
                  </a:lnTo>
                  <a:lnTo>
                    <a:pt x="86" y="520"/>
                  </a:lnTo>
                  <a:lnTo>
                    <a:pt x="72" y="510"/>
                  </a:lnTo>
                  <a:lnTo>
                    <a:pt x="62" y="496"/>
                  </a:lnTo>
                  <a:lnTo>
                    <a:pt x="50" y="480"/>
                  </a:lnTo>
                  <a:lnTo>
                    <a:pt x="40" y="462"/>
                  </a:lnTo>
                  <a:lnTo>
                    <a:pt x="32" y="444"/>
                  </a:lnTo>
                  <a:lnTo>
                    <a:pt x="24" y="424"/>
                  </a:lnTo>
                  <a:lnTo>
                    <a:pt x="18" y="400"/>
                  </a:lnTo>
                  <a:lnTo>
                    <a:pt x="12" y="376"/>
                  </a:lnTo>
                  <a:lnTo>
                    <a:pt x="6" y="352"/>
                  </a:lnTo>
                  <a:lnTo>
                    <a:pt x="4" y="326"/>
                  </a:lnTo>
                  <a:lnTo>
                    <a:pt x="2" y="298"/>
                  </a:lnTo>
                  <a:lnTo>
                    <a:pt x="0" y="270"/>
                  </a:lnTo>
                  <a:lnTo>
                    <a:pt x="0" y="270"/>
                  </a:lnTo>
                  <a:lnTo>
                    <a:pt x="2" y="242"/>
                  </a:lnTo>
                  <a:lnTo>
                    <a:pt x="4" y="216"/>
                  </a:lnTo>
                  <a:lnTo>
                    <a:pt x="6" y="190"/>
                  </a:lnTo>
                  <a:lnTo>
                    <a:pt x="12" y="164"/>
                  </a:lnTo>
                  <a:lnTo>
                    <a:pt x="18" y="140"/>
                  </a:lnTo>
                  <a:lnTo>
                    <a:pt x="24" y="118"/>
                  </a:lnTo>
                  <a:lnTo>
                    <a:pt x="32" y="98"/>
                  </a:lnTo>
                  <a:lnTo>
                    <a:pt x="40" y="78"/>
                  </a:lnTo>
                  <a:lnTo>
                    <a:pt x="50" y="60"/>
                  </a:lnTo>
                  <a:lnTo>
                    <a:pt x="62" y="46"/>
                  </a:lnTo>
                  <a:lnTo>
                    <a:pt x="72" y="32"/>
                  </a:lnTo>
                  <a:lnTo>
                    <a:pt x="86" y="20"/>
                  </a:lnTo>
                  <a:lnTo>
                    <a:pt x="98" y="12"/>
                  </a:lnTo>
                  <a:lnTo>
                    <a:pt x="112" y="4"/>
                  </a:lnTo>
                  <a:lnTo>
                    <a:pt x="126" y="0"/>
                  </a:lnTo>
                  <a:lnTo>
                    <a:pt x="140" y="0"/>
                  </a:lnTo>
                  <a:lnTo>
                    <a:pt x="140" y="0"/>
                  </a:lnTo>
                  <a:lnTo>
                    <a:pt x="154" y="0"/>
                  </a:lnTo>
                  <a:lnTo>
                    <a:pt x="168" y="4"/>
                  </a:lnTo>
                  <a:lnTo>
                    <a:pt x="182" y="12"/>
                  </a:lnTo>
                  <a:lnTo>
                    <a:pt x="194" y="20"/>
                  </a:lnTo>
                  <a:lnTo>
                    <a:pt x="206" y="32"/>
                  </a:lnTo>
                  <a:lnTo>
                    <a:pt x="218" y="46"/>
                  </a:lnTo>
                  <a:lnTo>
                    <a:pt x="228" y="60"/>
                  </a:lnTo>
                  <a:lnTo>
                    <a:pt x="238" y="78"/>
                  </a:lnTo>
                  <a:lnTo>
                    <a:pt x="248" y="98"/>
                  </a:lnTo>
                  <a:lnTo>
                    <a:pt x="256" y="118"/>
                  </a:lnTo>
                  <a:lnTo>
                    <a:pt x="262" y="140"/>
                  </a:lnTo>
                  <a:lnTo>
                    <a:pt x="268" y="164"/>
                  </a:lnTo>
                  <a:lnTo>
                    <a:pt x="272" y="190"/>
                  </a:lnTo>
                  <a:lnTo>
                    <a:pt x="276" y="216"/>
                  </a:lnTo>
                  <a:lnTo>
                    <a:pt x="278" y="242"/>
                  </a:lnTo>
                  <a:lnTo>
                    <a:pt x="280" y="270"/>
                  </a:lnTo>
                  <a:lnTo>
                    <a:pt x="280" y="270"/>
                  </a:lnTo>
                  <a:lnTo>
                    <a:pt x="278" y="298"/>
                  </a:lnTo>
                  <a:lnTo>
                    <a:pt x="276" y="326"/>
                  </a:lnTo>
                  <a:lnTo>
                    <a:pt x="272" y="352"/>
                  </a:lnTo>
                  <a:lnTo>
                    <a:pt x="268" y="376"/>
                  </a:lnTo>
                  <a:lnTo>
                    <a:pt x="262" y="400"/>
                  </a:lnTo>
                  <a:lnTo>
                    <a:pt x="256" y="424"/>
                  </a:lnTo>
                  <a:lnTo>
                    <a:pt x="248" y="444"/>
                  </a:lnTo>
                  <a:lnTo>
                    <a:pt x="238" y="462"/>
                  </a:lnTo>
                  <a:lnTo>
                    <a:pt x="228" y="480"/>
                  </a:lnTo>
                  <a:lnTo>
                    <a:pt x="218" y="496"/>
                  </a:lnTo>
                  <a:lnTo>
                    <a:pt x="206" y="510"/>
                  </a:lnTo>
                  <a:lnTo>
                    <a:pt x="194" y="520"/>
                  </a:lnTo>
                  <a:lnTo>
                    <a:pt x="182" y="530"/>
                  </a:lnTo>
                  <a:lnTo>
                    <a:pt x="168" y="536"/>
                  </a:lnTo>
                  <a:lnTo>
                    <a:pt x="154" y="540"/>
                  </a:lnTo>
                  <a:lnTo>
                    <a:pt x="140" y="542"/>
                  </a:lnTo>
                  <a:lnTo>
                    <a:pt x="140" y="542"/>
                  </a:lnTo>
                  <a:close/>
                  <a:moveTo>
                    <a:pt x="140" y="18"/>
                  </a:moveTo>
                  <a:lnTo>
                    <a:pt x="140" y="18"/>
                  </a:lnTo>
                  <a:lnTo>
                    <a:pt x="128" y="20"/>
                  </a:lnTo>
                  <a:lnTo>
                    <a:pt x="116" y="24"/>
                  </a:lnTo>
                  <a:lnTo>
                    <a:pt x="104" y="30"/>
                  </a:lnTo>
                  <a:lnTo>
                    <a:pt x="94" y="40"/>
                  </a:lnTo>
                  <a:lnTo>
                    <a:pt x="84" y="50"/>
                  </a:lnTo>
                  <a:lnTo>
                    <a:pt x="74" y="62"/>
                  </a:lnTo>
                  <a:lnTo>
                    <a:pt x="64" y="78"/>
                  </a:lnTo>
                  <a:lnTo>
                    <a:pt x="56" y="94"/>
                  </a:lnTo>
                  <a:lnTo>
                    <a:pt x="48" y="112"/>
                  </a:lnTo>
                  <a:lnTo>
                    <a:pt x="40" y="130"/>
                  </a:lnTo>
                  <a:lnTo>
                    <a:pt x="34" y="152"/>
                  </a:lnTo>
                  <a:lnTo>
                    <a:pt x="30" y="174"/>
                  </a:lnTo>
                  <a:lnTo>
                    <a:pt x="26" y="196"/>
                  </a:lnTo>
                  <a:lnTo>
                    <a:pt x="22" y="220"/>
                  </a:lnTo>
                  <a:lnTo>
                    <a:pt x="20" y="246"/>
                  </a:lnTo>
                  <a:lnTo>
                    <a:pt x="20" y="270"/>
                  </a:lnTo>
                  <a:lnTo>
                    <a:pt x="20" y="270"/>
                  </a:lnTo>
                  <a:lnTo>
                    <a:pt x="20" y="296"/>
                  </a:lnTo>
                  <a:lnTo>
                    <a:pt x="22" y="320"/>
                  </a:lnTo>
                  <a:lnTo>
                    <a:pt x="26" y="344"/>
                  </a:lnTo>
                  <a:lnTo>
                    <a:pt x="30" y="368"/>
                  </a:lnTo>
                  <a:lnTo>
                    <a:pt x="34" y="390"/>
                  </a:lnTo>
                  <a:lnTo>
                    <a:pt x="40" y="410"/>
                  </a:lnTo>
                  <a:lnTo>
                    <a:pt x="48" y="430"/>
                  </a:lnTo>
                  <a:lnTo>
                    <a:pt x="56" y="448"/>
                  </a:lnTo>
                  <a:lnTo>
                    <a:pt x="64" y="464"/>
                  </a:lnTo>
                  <a:lnTo>
                    <a:pt x="74" y="478"/>
                  </a:lnTo>
                  <a:lnTo>
                    <a:pt x="84" y="492"/>
                  </a:lnTo>
                  <a:lnTo>
                    <a:pt x="94" y="502"/>
                  </a:lnTo>
                  <a:lnTo>
                    <a:pt x="104" y="510"/>
                  </a:lnTo>
                  <a:lnTo>
                    <a:pt x="116" y="516"/>
                  </a:lnTo>
                  <a:lnTo>
                    <a:pt x="128" y="520"/>
                  </a:lnTo>
                  <a:lnTo>
                    <a:pt x="140" y="522"/>
                  </a:lnTo>
                  <a:lnTo>
                    <a:pt x="140" y="522"/>
                  </a:lnTo>
                  <a:lnTo>
                    <a:pt x="152" y="520"/>
                  </a:lnTo>
                  <a:lnTo>
                    <a:pt x="164" y="516"/>
                  </a:lnTo>
                  <a:lnTo>
                    <a:pt x="176" y="510"/>
                  </a:lnTo>
                  <a:lnTo>
                    <a:pt x="186" y="502"/>
                  </a:lnTo>
                  <a:lnTo>
                    <a:pt x="196" y="492"/>
                  </a:lnTo>
                  <a:lnTo>
                    <a:pt x="206" y="478"/>
                  </a:lnTo>
                  <a:lnTo>
                    <a:pt x="216" y="464"/>
                  </a:lnTo>
                  <a:lnTo>
                    <a:pt x="224" y="448"/>
                  </a:lnTo>
                  <a:lnTo>
                    <a:pt x="232" y="430"/>
                  </a:lnTo>
                  <a:lnTo>
                    <a:pt x="238" y="410"/>
                  </a:lnTo>
                  <a:lnTo>
                    <a:pt x="246" y="390"/>
                  </a:lnTo>
                  <a:lnTo>
                    <a:pt x="250" y="368"/>
                  </a:lnTo>
                  <a:lnTo>
                    <a:pt x="254" y="344"/>
                  </a:lnTo>
                  <a:lnTo>
                    <a:pt x="258" y="320"/>
                  </a:lnTo>
                  <a:lnTo>
                    <a:pt x="260" y="296"/>
                  </a:lnTo>
                  <a:lnTo>
                    <a:pt x="260" y="270"/>
                  </a:lnTo>
                  <a:lnTo>
                    <a:pt x="260" y="270"/>
                  </a:lnTo>
                  <a:lnTo>
                    <a:pt x="260" y="246"/>
                  </a:lnTo>
                  <a:lnTo>
                    <a:pt x="258" y="220"/>
                  </a:lnTo>
                  <a:lnTo>
                    <a:pt x="254" y="196"/>
                  </a:lnTo>
                  <a:lnTo>
                    <a:pt x="250" y="174"/>
                  </a:lnTo>
                  <a:lnTo>
                    <a:pt x="246" y="152"/>
                  </a:lnTo>
                  <a:lnTo>
                    <a:pt x="238" y="130"/>
                  </a:lnTo>
                  <a:lnTo>
                    <a:pt x="232" y="112"/>
                  </a:lnTo>
                  <a:lnTo>
                    <a:pt x="224" y="94"/>
                  </a:lnTo>
                  <a:lnTo>
                    <a:pt x="216" y="78"/>
                  </a:lnTo>
                  <a:lnTo>
                    <a:pt x="206" y="62"/>
                  </a:lnTo>
                  <a:lnTo>
                    <a:pt x="196" y="50"/>
                  </a:lnTo>
                  <a:lnTo>
                    <a:pt x="186" y="40"/>
                  </a:lnTo>
                  <a:lnTo>
                    <a:pt x="176" y="30"/>
                  </a:lnTo>
                  <a:lnTo>
                    <a:pt x="164" y="24"/>
                  </a:lnTo>
                  <a:lnTo>
                    <a:pt x="152" y="20"/>
                  </a:lnTo>
                  <a:lnTo>
                    <a:pt x="140" y="18"/>
                  </a:lnTo>
                  <a:lnTo>
                    <a:pt x="140" y="18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+mj-lt"/>
              </a:endParaRPr>
            </a:p>
          </p:txBody>
        </p:sp>
        <p:sp>
          <p:nvSpPr>
            <p:cNvPr id="36" name="Rectangle 61">
              <a:extLst>
                <a:ext uri="{FF2B5EF4-FFF2-40B4-BE49-F238E27FC236}">
                  <a16:creationId xmlns:a16="http://schemas.microsoft.com/office/drawing/2014/main" id="{BD2369E1-68E7-488F-82E1-7F552CBDFB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19" y="2405"/>
              <a:ext cx="482" cy="20"/>
            </a:xfrm>
            <a:prstGeom prst="rect">
              <a:avLst/>
            </a:pr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+mj-lt"/>
              </a:endParaRPr>
            </a:p>
          </p:txBody>
        </p:sp>
        <p:sp>
          <p:nvSpPr>
            <p:cNvPr id="37" name="Rectangle 62">
              <a:extLst>
                <a:ext uri="{FF2B5EF4-FFF2-40B4-BE49-F238E27FC236}">
                  <a16:creationId xmlns:a16="http://schemas.microsoft.com/office/drawing/2014/main" id="{A81C5ABE-BB9C-4EF8-9429-21C9A71E4F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19" y="2203"/>
              <a:ext cx="482" cy="20"/>
            </a:xfrm>
            <a:prstGeom prst="rect">
              <a:avLst/>
            </a:pr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+mj-lt"/>
              </a:endParaRPr>
            </a:p>
          </p:txBody>
        </p:sp>
        <p:sp>
          <p:nvSpPr>
            <p:cNvPr id="38" name="Rectangle 63">
              <a:extLst>
                <a:ext uri="{FF2B5EF4-FFF2-40B4-BE49-F238E27FC236}">
                  <a16:creationId xmlns:a16="http://schemas.microsoft.com/office/drawing/2014/main" id="{BD9DE43C-19D9-44A1-93DD-A60BDF9AC4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51" y="2053"/>
              <a:ext cx="20" cy="522"/>
            </a:xfrm>
            <a:prstGeom prst="rect">
              <a:avLst/>
            </a:pr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+mj-lt"/>
              </a:endParaRPr>
            </a:p>
          </p:txBody>
        </p:sp>
        <p:sp>
          <p:nvSpPr>
            <p:cNvPr id="39" name="Freeform 64">
              <a:extLst>
                <a:ext uri="{FF2B5EF4-FFF2-40B4-BE49-F238E27FC236}">
                  <a16:creationId xmlns:a16="http://schemas.microsoft.com/office/drawing/2014/main" id="{E1AD3636-4EEB-4D55-A13F-A78D19DD5F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11" y="1891"/>
              <a:ext cx="100" cy="100"/>
            </a:xfrm>
            <a:custGeom>
              <a:avLst/>
              <a:gdLst>
                <a:gd name="T0" fmla="*/ 50 w 100"/>
                <a:gd name="T1" fmla="*/ 100 h 100"/>
                <a:gd name="T2" fmla="*/ 30 w 100"/>
                <a:gd name="T3" fmla="*/ 96 h 100"/>
                <a:gd name="T4" fmla="*/ 14 w 100"/>
                <a:gd name="T5" fmla="*/ 84 h 100"/>
                <a:gd name="T6" fmla="*/ 4 w 100"/>
                <a:gd name="T7" fmla="*/ 68 h 100"/>
                <a:gd name="T8" fmla="*/ 0 w 100"/>
                <a:gd name="T9" fmla="*/ 50 h 100"/>
                <a:gd name="T10" fmla="*/ 2 w 100"/>
                <a:gd name="T11" fmla="*/ 40 h 100"/>
                <a:gd name="T12" fmla="*/ 8 w 100"/>
                <a:gd name="T13" fmla="*/ 22 h 100"/>
                <a:gd name="T14" fmla="*/ 22 w 100"/>
                <a:gd name="T15" fmla="*/ 8 h 100"/>
                <a:gd name="T16" fmla="*/ 40 w 100"/>
                <a:gd name="T17" fmla="*/ 0 h 100"/>
                <a:gd name="T18" fmla="*/ 50 w 100"/>
                <a:gd name="T19" fmla="*/ 0 h 100"/>
                <a:gd name="T20" fmla="*/ 70 w 100"/>
                <a:gd name="T21" fmla="*/ 4 h 100"/>
                <a:gd name="T22" fmla="*/ 86 w 100"/>
                <a:gd name="T23" fmla="*/ 14 h 100"/>
                <a:gd name="T24" fmla="*/ 96 w 100"/>
                <a:gd name="T25" fmla="*/ 30 h 100"/>
                <a:gd name="T26" fmla="*/ 100 w 100"/>
                <a:gd name="T27" fmla="*/ 50 h 100"/>
                <a:gd name="T28" fmla="*/ 98 w 100"/>
                <a:gd name="T29" fmla="*/ 60 h 100"/>
                <a:gd name="T30" fmla="*/ 92 w 100"/>
                <a:gd name="T31" fmla="*/ 78 h 100"/>
                <a:gd name="T32" fmla="*/ 78 w 100"/>
                <a:gd name="T33" fmla="*/ 90 h 100"/>
                <a:gd name="T34" fmla="*/ 60 w 100"/>
                <a:gd name="T35" fmla="*/ 98 h 100"/>
                <a:gd name="T36" fmla="*/ 50 w 100"/>
                <a:gd name="T37" fmla="*/ 100 h 100"/>
                <a:gd name="T38" fmla="*/ 50 w 100"/>
                <a:gd name="T39" fmla="*/ 20 h 100"/>
                <a:gd name="T40" fmla="*/ 38 w 100"/>
                <a:gd name="T41" fmla="*/ 22 h 100"/>
                <a:gd name="T42" fmla="*/ 22 w 100"/>
                <a:gd name="T43" fmla="*/ 38 h 100"/>
                <a:gd name="T44" fmla="*/ 20 w 100"/>
                <a:gd name="T45" fmla="*/ 50 h 100"/>
                <a:gd name="T46" fmla="*/ 20 w 100"/>
                <a:gd name="T47" fmla="*/ 56 h 100"/>
                <a:gd name="T48" fmla="*/ 28 w 100"/>
                <a:gd name="T49" fmla="*/ 70 h 100"/>
                <a:gd name="T50" fmla="*/ 44 w 100"/>
                <a:gd name="T51" fmla="*/ 80 h 100"/>
                <a:gd name="T52" fmla="*/ 50 w 100"/>
                <a:gd name="T53" fmla="*/ 80 h 100"/>
                <a:gd name="T54" fmla="*/ 62 w 100"/>
                <a:gd name="T55" fmla="*/ 78 h 100"/>
                <a:gd name="T56" fmla="*/ 78 w 100"/>
                <a:gd name="T57" fmla="*/ 62 h 100"/>
                <a:gd name="T58" fmla="*/ 80 w 100"/>
                <a:gd name="T59" fmla="*/ 50 h 100"/>
                <a:gd name="T60" fmla="*/ 80 w 100"/>
                <a:gd name="T61" fmla="*/ 44 h 100"/>
                <a:gd name="T62" fmla="*/ 72 w 100"/>
                <a:gd name="T63" fmla="*/ 28 h 100"/>
                <a:gd name="T64" fmla="*/ 56 w 100"/>
                <a:gd name="T65" fmla="*/ 20 h 100"/>
                <a:gd name="T66" fmla="*/ 50 w 100"/>
                <a:gd name="T67" fmla="*/ 2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0" h="100">
                  <a:moveTo>
                    <a:pt x="50" y="100"/>
                  </a:moveTo>
                  <a:lnTo>
                    <a:pt x="50" y="100"/>
                  </a:lnTo>
                  <a:lnTo>
                    <a:pt x="40" y="98"/>
                  </a:lnTo>
                  <a:lnTo>
                    <a:pt x="30" y="96"/>
                  </a:lnTo>
                  <a:lnTo>
                    <a:pt x="22" y="90"/>
                  </a:lnTo>
                  <a:lnTo>
                    <a:pt x="14" y="84"/>
                  </a:lnTo>
                  <a:lnTo>
                    <a:pt x="8" y="78"/>
                  </a:lnTo>
                  <a:lnTo>
                    <a:pt x="4" y="68"/>
                  </a:lnTo>
                  <a:lnTo>
                    <a:pt x="2" y="60"/>
                  </a:lnTo>
                  <a:lnTo>
                    <a:pt x="0" y="50"/>
                  </a:lnTo>
                  <a:lnTo>
                    <a:pt x="0" y="50"/>
                  </a:lnTo>
                  <a:lnTo>
                    <a:pt x="2" y="40"/>
                  </a:lnTo>
                  <a:lnTo>
                    <a:pt x="4" y="30"/>
                  </a:lnTo>
                  <a:lnTo>
                    <a:pt x="8" y="22"/>
                  </a:lnTo>
                  <a:lnTo>
                    <a:pt x="14" y="14"/>
                  </a:lnTo>
                  <a:lnTo>
                    <a:pt x="22" y="8"/>
                  </a:lnTo>
                  <a:lnTo>
                    <a:pt x="30" y="4"/>
                  </a:lnTo>
                  <a:lnTo>
                    <a:pt x="4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60" y="0"/>
                  </a:lnTo>
                  <a:lnTo>
                    <a:pt x="70" y="4"/>
                  </a:lnTo>
                  <a:lnTo>
                    <a:pt x="78" y="8"/>
                  </a:lnTo>
                  <a:lnTo>
                    <a:pt x="86" y="14"/>
                  </a:lnTo>
                  <a:lnTo>
                    <a:pt x="92" y="22"/>
                  </a:lnTo>
                  <a:lnTo>
                    <a:pt x="96" y="30"/>
                  </a:lnTo>
                  <a:lnTo>
                    <a:pt x="98" y="40"/>
                  </a:lnTo>
                  <a:lnTo>
                    <a:pt x="100" y="50"/>
                  </a:lnTo>
                  <a:lnTo>
                    <a:pt x="100" y="50"/>
                  </a:lnTo>
                  <a:lnTo>
                    <a:pt x="98" y="60"/>
                  </a:lnTo>
                  <a:lnTo>
                    <a:pt x="96" y="68"/>
                  </a:lnTo>
                  <a:lnTo>
                    <a:pt x="92" y="78"/>
                  </a:lnTo>
                  <a:lnTo>
                    <a:pt x="86" y="84"/>
                  </a:lnTo>
                  <a:lnTo>
                    <a:pt x="78" y="90"/>
                  </a:lnTo>
                  <a:lnTo>
                    <a:pt x="70" y="96"/>
                  </a:lnTo>
                  <a:lnTo>
                    <a:pt x="60" y="98"/>
                  </a:lnTo>
                  <a:lnTo>
                    <a:pt x="50" y="100"/>
                  </a:lnTo>
                  <a:lnTo>
                    <a:pt x="50" y="100"/>
                  </a:lnTo>
                  <a:close/>
                  <a:moveTo>
                    <a:pt x="50" y="20"/>
                  </a:moveTo>
                  <a:lnTo>
                    <a:pt x="50" y="20"/>
                  </a:lnTo>
                  <a:lnTo>
                    <a:pt x="44" y="20"/>
                  </a:lnTo>
                  <a:lnTo>
                    <a:pt x="38" y="22"/>
                  </a:lnTo>
                  <a:lnTo>
                    <a:pt x="28" y="28"/>
                  </a:lnTo>
                  <a:lnTo>
                    <a:pt x="22" y="38"/>
                  </a:lnTo>
                  <a:lnTo>
                    <a:pt x="20" y="44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20" y="56"/>
                  </a:lnTo>
                  <a:lnTo>
                    <a:pt x="22" y="62"/>
                  </a:lnTo>
                  <a:lnTo>
                    <a:pt x="28" y="70"/>
                  </a:lnTo>
                  <a:lnTo>
                    <a:pt x="38" y="78"/>
                  </a:lnTo>
                  <a:lnTo>
                    <a:pt x="44" y="80"/>
                  </a:lnTo>
                  <a:lnTo>
                    <a:pt x="50" y="80"/>
                  </a:lnTo>
                  <a:lnTo>
                    <a:pt x="50" y="80"/>
                  </a:lnTo>
                  <a:lnTo>
                    <a:pt x="56" y="80"/>
                  </a:lnTo>
                  <a:lnTo>
                    <a:pt x="62" y="78"/>
                  </a:lnTo>
                  <a:lnTo>
                    <a:pt x="72" y="70"/>
                  </a:lnTo>
                  <a:lnTo>
                    <a:pt x="78" y="62"/>
                  </a:lnTo>
                  <a:lnTo>
                    <a:pt x="80" y="56"/>
                  </a:lnTo>
                  <a:lnTo>
                    <a:pt x="80" y="50"/>
                  </a:lnTo>
                  <a:lnTo>
                    <a:pt x="80" y="50"/>
                  </a:lnTo>
                  <a:lnTo>
                    <a:pt x="80" y="44"/>
                  </a:lnTo>
                  <a:lnTo>
                    <a:pt x="78" y="38"/>
                  </a:lnTo>
                  <a:lnTo>
                    <a:pt x="72" y="28"/>
                  </a:lnTo>
                  <a:lnTo>
                    <a:pt x="62" y="22"/>
                  </a:lnTo>
                  <a:lnTo>
                    <a:pt x="56" y="20"/>
                  </a:lnTo>
                  <a:lnTo>
                    <a:pt x="50" y="20"/>
                  </a:lnTo>
                  <a:lnTo>
                    <a:pt x="50" y="2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+mj-lt"/>
              </a:endParaRPr>
            </a:p>
          </p:txBody>
        </p:sp>
        <p:sp>
          <p:nvSpPr>
            <p:cNvPr id="40" name="Freeform 65">
              <a:extLst>
                <a:ext uri="{FF2B5EF4-FFF2-40B4-BE49-F238E27FC236}">
                  <a16:creationId xmlns:a16="http://schemas.microsoft.com/office/drawing/2014/main" id="{9A7FBE9A-7975-4F03-A0C9-E43A5F3BBE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11" y="2637"/>
              <a:ext cx="100" cy="100"/>
            </a:xfrm>
            <a:custGeom>
              <a:avLst/>
              <a:gdLst>
                <a:gd name="T0" fmla="*/ 50 w 100"/>
                <a:gd name="T1" fmla="*/ 100 h 100"/>
                <a:gd name="T2" fmla="*/ 30 w 100"/>
                <a:gd name="T3" fmla="*/ 96 h 100"/>
                <a:gd name="T4" fmla="*/ 14 w 100"/>
                <a:gd name="T5" fmla="*/ 84 h 100"/>
                <a:gd name="T6" fmla="*/ 4 w 100"/>
                <a:gd name="T7" fmla="*/ 68 h 100"/>
                <a:gd name="T8" fmla="*/ 0 w 100"/>
                <a:gd name="T9" fmla="*/ 50 h 100"/>
                <a:gd name="T10" fmla="*/ 2 w 100"/>
                <a:gd name="T11" fmla="*/ 40 h 100"/>
                <a:gd name="T12" fmla="*/ 8 w 100"/>
                <a:gd name="T13" fmla="*/ 22 h 100"/>
                <a:gd name="T14" fmla="*/ 22 w 100"/>
                <a:gd name="T15" fmla="*/ 8 h 100"/>
                <a:gd name="T16" fmla="*/ 40 w 100"/>
                <a:gd name="T17" fmla="*/ 0 h 100"/>
                <a:gd name="T18" fmla="*/ 50 w 100"/>
                <a:gd name="T19" fmla="*/ 0 h 100"/>
                <a:gd name="T20" fmla="*/ 70 w 100"/>
                <a:gd name="T21" fmla="*/ 4 h 100"/>
                <a:gd name="T22" fmla="*/ 86 w 100"/>
                <a:gd name="T23" fmla="*/ 14 h 100"/>
                <a:gd name="T24" fmla="*/ 96 w 100"/>
                <a:gd name="T25" fmla="*/ 30 h 100"/>
                <a:gd name="T26" fmla="*/ 100 w 100"/>
                <a:gd name="T27" fmla="*/ 50 h 100"/>
                <a:gd name="T28" fmla="*/ 98 w 100"/>
                <a:gd name="T29" fmla="*/ 60 h 100"/>
                <a:gd name="T30" fmla="*/ 92 w 100"/>
                <a:gd name="T31" fmla="*/ 78 h 100"/>
                <a:gd name="T32" fmla="*/ 78 w 100"/>
                <a:gd name="T33" fmla="*/ 90 h 100"/>
                <a:gd name="T34" fmla="*/ 60 w 100"/>
                <a:gd name="T35" fmla="*/ 98 h 100"/>
                <a:gd name="T36" fmla="*/ 50 w 100"/>
                <a:gd name="T37" fmla="*/ 100 h 100"/>
                <a:gd name="T38" fmla="*/ 50 w 100"/>
                <a:gd name="T39" fmla="*/ 20 h 100"/>
                <a:gd name="T40" fmla="*/ 38 w 100"/>
                <a:gd name="T41" fmla="*/ 22 h 100"/>
                <a:gd name="T42" fmla="*/ 22 w 100"/>
                <a:gd name="T43" fmla="*/ 38 h 100"/>
                <a:gd name="T44" fmla="*/ 20 w 100"/>
                <a:gd name="T45" fmla="*/ 50 h 100"/>
                <a:gd name="T46" fmla="*/ 20 w 100"/>
                <a:gd name="T47" fmla="*/ 56 h 100"/>
                <a:gd name="T48" fmla="*/ 28 w 100"/>
                <a:gd name="T49" fmla="*/ 72 h 100"/>
                <a:gd name="T50" fmla="*/ 44 w 100"/>
                <a:gd name="T51" fmla="*/ 80 h 100"/>
                <a:gd name="T52" fmla="*/ 50 w 100"/>
                <a:gd name="T53" fmla="*/ 80 h 100"/>
                <a:gd name="T54" fmla="*/ 62 w 100"/>
                <a:gd name="T55" fmla="*/ 78 h 100"/>
                <a:gd name="T56" fmla="*/ 78 w 100"/>
                <a:gd name="T57" fmla="*/ 62 h 100"/>
                <a:gd name="T58" fmla="*/ 80 w 100"/>
                <a:gd name="T59" fmla="*/ 50 h 100"/>
                <a:gd name="T60" fmla="*/ 80 w 100"/>
                <a:gd name="T61" fmla="*/ 44 h 100"/>
                <a:gd name="T62" fmla="*/ 72 w 100"/>
                <a:gd name="T63" fmla="*/ 28 h 100"/>
                <a:gd name="T64" fmla="*/ 56 w 100"/>
                <a:gd name="T65" fmla="*/ 20 h 100"/>
                <a:gd name="T66" fmla="*/ 50 w 100"/>
                <a:gd name="T67" fmla="*/ 2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0" h="100">
                  <a:moveTo>
                    <a:pt x="50" y="100"/>
                  </a:moveTo>
                  <a:lnTo>
                    <a:pt x="50" y="100"/>
                  </a:lnTo>
                  <a:lnTo>
                    <a:pt x="40" y="98"/>
                  </a:lnTo>
                  <a:lnTo>
                    <a:pt x="30" y="96"/>
                  </a:lnTo>
                  <a:lnTo>
                    <a:pt x="22" y="90"/>
                  </a:lnTo>
                  <a:lnTo>
                    <a:pt x="14" y="84"/>
                  </a:lnTo>
                  <a:lnTo>
                    <a:pt x="8" y="78"/>
                  </a:lnTo>
                  <a:lnTo>
                    <a:pt x="4" y="68"/>
                  </a:lnTo>
                  <a:lnTo>
                    <a:pt x="2" y="60"/>
                  </a:lnTo>
                  <a:lnTo>
                    <a:pt x="0" y="50"/>
                  </a:lnTo>
                  <a:lnTo>
                    <a:pt x="0" y="50"/>
                  </a:lnTo>
                  <a:lnTo>
                    <a:pt x="2" y="40"/>
                  </a:lnTo>
                  <a:lnTo>
                    <a:pt x="4" y="30"/>
                  </a:lnTo>
                  <a:lnTo>
                    <a:pt x="8" y="22"/>
                  </a:lnTo>
                  <a:lnTo>
                    <a:pt x="14" y="14"/>
                  </a:lnTo>
                  <a:lnTo>
                    <a:pt x="22" y="8"/>
                  </a:lnTo>
                  <a:lnTo>
                    <a:pt x="30" y="4"/>
                  </a:lnTo>
                  <a:lnTo>
                    <a:pt x="4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60" y="0"/>
                  </a:lnTo>
                  <a:lnTo>
                    <a:pt x="70" y="4"/>
                  </a:lnTo>
                  <a:lnTo>
                    <a:pt x="78" y="8"/>
                  </a:lnTo>
                  <a:lnTo>
                    <a:pt x="86" y="14"/>
                  </a:lnTo>
                  <a:lnTo>
                    <a:pt x="92" y="22"/>
                  </a:lnTo>
                  <a:lnTo>
                    <a:pt x="96" y="30"/>
                  </a:lnTo>
                  <a:lnTo>
                    <a:pt x="98" y="40"/>
                  </a:lnTo>
                  <a:lnTo>
                    <a:pt x="100" y="50"/>
                  </a:lnTo>
                  <a:lnTo>
                    <a:pt x="100" y="50"/>
                  </a:lnTo>
                  <a:lnTo>
                    <a:pt x="98" y="60"/>
                  </a:lnTo>
                  <a:lnTo>
                    <a:pt x="96" y="68"/>
                  </a:lnTo>
                  <a:lnTo>
                    <a:pt x="92" y="78"/>
                  </a:lnTo>
                  <a:lnTo>
                    <a:pt x="86" y="84"/>
                  </a:lnTo>
                  <a:lnTo>
                    <a:pt x="78" y="90"/>
                  </a:lnTo>
                  <a:lnTo>
                    <a:pt x="70" y="96"/>
                  </a:lnTo>
                  <a:lnTo>
                    <a:pt x="60" y="98"/>
                  </a:lnTo>
                  <a:lnTo>
                    <a:pt x="50" y="100"/>
                  </a:lnTo>
                  <a:lnTo>
                    <a:pt x="50" y="100"/>
                  </a:lnTo>
                  <a:close/>
                  <a:moveTo>
                    <a:pt x="50" y="20"/>
                  </a:moveTo>
                  <a:lnTo>
                    <a:pt x="50" y="20"/>
                  </a:lnTo>
                  <a:lnTo>
                    <a:pt x="44" y="20"/>
                  </a:lnTo>
                  <a:lnTo>
                    <a:pt x="38" y="22"/>
                  </a:lnTo>
                  <a:lnTo>
                    <a:pt x="28" y="28"/>
                  </a:lnTo>
                  <a:lnTo>
                    <a:pt x="22" y="38"/>
                  </a:lnTo>
                  <a:lnTo>
                    <a:pt x="20" y="44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20" y="56"/>
                  </a:lnTo>
                  <a:lnTo>
                    <a:pt x="22" y="62"/>
                  </a:lnTo>
                  <a:lnTo>
                    <a:pt x="28" y="72"/>
                  </a:lnTo>
                  <a:lnTo>
                    <a:pt x="38" y="78"/>
                  </a:lnTo>
                  <a:lnTo>
                    <a:pt x="44" y="80"/>
                  </a:lnTo>
                  <a:lnTo>
                    <a:pt x="50" y="80"/>
                  </a:lnTo>
                  <a:lnTo>
                    <a:pt x="50" y="80"/>
                  </a:lnTo>
                  <a:lnTo>
                    <a:pt x="56" y="80"/>
                  </a:lnTo>
                  <a:lnTo>
                    <a:pt x="62" y="78"/>
                  </a:lnTo>
                  <a:lnTo>
                    <a:pt x="72" y="72"/>
                  </a:lnTo>
                  <a:lnTo>
                    <a:pt x="78" y="62"/>
                  </a:lnTo>
                  <a:lnTo>
                    <a:pt x="80" y="56"/>
                  </a:lnTo>
                  <a:lnTo>
                    <a:pt x="80" y="50"/>
                  </a:lnTo>
                  <a:lnTo>
                    <a:pt x="80" y="50"/>
                  </a:lnTo>
                  <a:lnTo>
                    <a:pt x="80" y="44"/>
                  </a:lnTo>
                  <a:lnTo>
                    <a:pt x="78" y="38"/>
                  </a:lnTo>
                  <a:lnTo>
                    <a:pt x="72" y="28"/>
                  </a:lnTo>
                  <a:lnTo>
                    <a:pt x="62" y="22"/>
                  </a:lnTo>
                  <a:lnTo>
                    <a:pt x="56" y="20"/>
                  </a:lnTo>
                  <a:lnTo>
                    <a:pt x="50" y="20"/>
                  </a:lnTo>
                  <a:lnTo>
                    <a:pt x="50" y="2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+mj-lt"/>
              </a:endParaRPr>
            </a:p>
          </p:txBody>
        </p:sp>
        <p:sp>
          <p:nvSpPr>
            <p:cNvPr id="41" name="Freeform 66">
              <a:extLst>
                <a:ext uri="{FF2B5EF4-FFF2-40B4-BE49-F238E27FC236}">
                  <a16:creationId xmlns:a16="http://schemas.microsoft.com/office/drawing/2014/main" id="{2D6C55D7-647C-4633-838B-A8D1580564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33" y="2065"/>
              <a:ext cx="98" cy="100"/>
            </a:xfrm>
            <a:custGeom>
              <a:avLst/>
              <a:gdLst>
                <a:gd name="T0" fmla="*/ 48 w 98"/>
                <a:gd name="T1" fmla="*/ 100 h 100"/>
                <a:gd name="T2" fmla="*/ 30 w 98"/>
                <a:gd name="T3" fmla="*/ 96 h 100"/>
                <a:gd name="T4" fmla="*/ 14 w 98"/>
                <a:gd name="T5" fmla="*/ 86 h 100"/>
                <a:gd name="T6" fmla="*/ 2 w 98"/>
                <a:gd name="T7" fmla="*/ 70 h 100"/>
                <a:gd name="T8" fmla="*/ 0 w 98"/>
                <a:gd name="T9" fmla="*/ 50 h 100"/>
                <a:gd name="T10" fmla="*/ 0 w 98"/>
                <a:gd name="T11" fmla="*/ 40 h 100"/>
                <a:gd name="T12" fmla="*/ 8 w 98"/>
                <a:gd name="T13" fmla="*/ 22 h 100"/>
                <a:gd name="T14" fmla="*/ 20 w 98"/>
                <a:gd name="T15" fmla="*/ 8 h 100"/>
                <a:gd name="T16" fmla="*/ 38 w 98"/>
                <a:gd name="T17" fmla="*/ 2 h 100"/>
                <a:gd name="T18" fmla="*/ 48 w 98"/>
                <a:gd name="T19" fmla="*/ 0 h 100"/>
                <a:gd name="T20" fmla="*/ 68 w 98"/>
                <a:gd name="T21" fmla="*/ 4 h 100"/>
                <a:gd name="T22" fmla="*/ 84 w 98"/>
                <a:gd name="T23" fmla="*/ 14 h 100"/>
                <a:gd name="T24" fmla="*/ 94 w 98"/>
                <a:gd name="T25" fmla="*/ 30 h 100"/>
                <a:gd name="T26" fmla="*/ 98 w 98"/>
                <a:gd name="T27" fmla="*/ 50 h 100"/>
                <a:gd name="T28" fmla="*/ 98 w 98"/>
                <a:gd name="T29" fmla="*/ 60 h 100"/>
                <a:gd name="T30" fmla="*/ 90 w 98"/>
                <a:gd name="T31" fmla="*/ 78 h 100"/>
                <a:gd name="T32" fmla="*/ 76 w 98"/>
                <a:gd name="T33" fmla="*/ 92 h 100"/>
                <a:gd name="T34" fmla="*/ 58 w 98"/>
                <a:gd name="T35" fmla="*/ 98 h 100"/>
                <a:gd name="T36" fmla="*/ 48 w 98"/>
                <a:gd name="T37" fmla="*/ 100 h 100"/>
                <a:gd name="T38" fmla="*/ 48 w 98"/>
                <a:gd name="T39" fmla="*/ 20 h 100"/>
                <a:gd name="T40" fmla="*/ 36 w 98"/>
                <a:gd name="T41" fmla="*/ 22 h 100"/>
                <a:gd name="T42" fmla="*/ 20 w 98"/>
                <a:gd name="T43" fmla="*/ 38 h 100"/>
                <a:gd name="T44" fmla="*/ 18 w 98"/>
                <a:gd name="T45" fmla="*/ 50 h 100"/>
                <a:gd name="T46" fmla="*/ 18 w 98"/>
                <a:gd name="T47" fmla="*/ 56 h 100"/>
                <a:gd name="T48" fmla="*/ 28 w 98"/>
                <a:gd name="T49" fmla="*/ 72 h 100"/>
                <a:gd name="T50" fmla="*/ 42 w 98"/>
                <a:gd name="T51" fmla="*/ 80 h 100"/>
                <a:gd name="T52" fmla="*/ 48 w 98"/>
                <a:gd name="T53" fmla="*/ 80 h 100"/>
                <a:gd name="T54" fmla="*/ 60 w 98"/>
                <a:gd name="T55" fmla="*/ 78 h 100"/>
                <a:gd name="T56" fmla="*/ 76 w 98"/>
                <a:gd name="T57" fmla="*/ 62 h 100"/>
                <a:gd name="T58" fmla="*/ 80 w 98"/>
                <a:gd name="T59" fmla="*/ 50 h 100"/>
                <a:gd name="T60" fmla="*/ 78 w 98"/>
                <a:gd name="T61" fmla="*/ 44 h 100"/>
                <a:gd name="T62" fmla="*/ 70 w 98"/>
                <a:gd name="T63" fmla="*/ 28 h 100"/>
                <a:gd name="T64" fmla="*/ 54 w 98"/>
                <a:gd name="T65" fmla="*/ 20 h 100"/>
                <a:gd name="T66" fmla="*/ 48 w 98"/>
                <a:gd name="T67" fmla="*/ 2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98" h="100">
                  <a:moveTo>
                    <a:pt x="48" y="100"/>
                  </a:moveTo>
                  <a:lnTo>
                    <a:pt x="48" y="100"/>
                  </a:lnTo>
                  <a:lnTo>
                    <a:pt x="38" y="98"/>
                  </a:lnTo>
                  <a:lnTo>
                    <a:pt x="30" y="96"/>
                  </a:lnTo>
                  <a:lnTo>
                    <a:pt x="20" y="92"/>
                  </a:lnTo>
                  <a:lnTo>
                    <a:pt x="14" y="86"/>
                  </a:lnTo>
                  <a:lnTo>
                    <a:pt x="8" y="78"/>
                  </a:lnTo>
                  <a:lnTo>
                    <a:pt x="2" y="70"/>
                  </a:lnTo>
                  <a:lnTo>
                    <a:pt x="0" y="60"/>
                  </a:lnTo>
                  <a:lnTo>
                    <a:pt x="0" y="50"/>
                  </a:lnTo>
                  <a:lnTo>
                    <a:pt x="0" y="50"/>
                  </a:lnTo>
                  <a:lnTo>
                    <a:pt x="0" y="40"/>
                  </a:lnTo>
                  <a:lnTo>
                    <a:pt x="2" y="30"/>
                  </a:lnTo>
                  <a:lnTo>
                    <a:pt x="8" y="22"/>
                  </a:lnTo>
                  <a:lnTo>
                    <a:pt x="14" y="14"/>
                  </a:lnTo>
                  <a:lnTo>
                    <a:pt x="20" y="8"/>
                  </a:lnTo>
                  <a:lnTo>
                    <a:pt x="30" y="4"/>
                  </a:lnTo>
                  <a:lnTo>
                    <a:pt x="38" y="2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8" y="2"/>
                  </a:lnTo>
                  <a:lnTo>
                    <a:pt x="68" y="4"/>
                  </a:lnTo>
                  <a:lnTo>
                    <a:pt x="76" y="8"/>
                  </a:lnTo>
                  <a:lnTo>
                    <a:pt x="84" y="14"/>
                  </a:lnTo>
                  <a:lnTo>
                    <a:pt x="90" y="22"/>
                  </a:lnTo>
                  <a:lnTo>
                    <a:pt x="94" y="30"/>
                  </a:lnTo>
                  <a:lnTo>
                    <a:pt x="98" y="40"/>
                  </a:lnTo>
                  <a:lnTo>
                    <a:pt x="98" y="50"/>
                  </a:lnTo>
                  <a:lnTo>
                    <a:pt x="98" y="50"/>
                  </a:lnTo>
                  <a:lnTo>
                    <a:pt x="98" y="60"/>
                  </a:lnTo>
                  <a:lnTo>
                    <a:pt x="94" y="70"/>
                  </a:lnTo>
                  <a:lnTo>
                    <a:pt x="90" y="78"/>
                  </a:lnTo>
                  <a:lnTo>
                    <a:pt x="84" y="86"/>
                  </a:lnTo>
                  <a:lnTo>
                    <a:pt x="76" y="92"/>
                  </a:lnTo>
                  <a:lnTo>
                    <a:pt x="68" y="96"/>
                  </a:lnTo>
                  <a:lnTo>
                    <a:pt x="58" y="98"/>
                  </a:lnTo>
                  <a:lnTo>
                    <a:pt x="48" y="100"/>
                  </a:lnTo>
                  <a:lnTo>
                    <a:pt x="48" y="100"/>
                  </a:lnTo>
                  <a:close/>
                  <a:moveTo>
                    <a:pt x="48" y="20"/>
                  </a:moveTo>
                  <a:lnTo>
                    <a:pt x="48" y="20"/>
                  </a:lnTo>
                  <a:lnTo>
                    <a:pt x="42" y="20"/>
                  </a:lnTo>
                  <a:lnTo>
                    <a:pt x="36" y="22"/>
                  </a:lnTo>
                  <a:lnTo>
                    <a:pt x="28" y="28"/>
                  </a:lnTo>
                  <a:lnTo>
                    <a:pt x="20" y="38"/>
                  </a:lnTo>
                  <a:lnTo>
                    <a:pt x="18" y="44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8" y="56"/>
                  </a:lnTo>
                  <a:lnTo>
                    <a:pt x="20" y="62"/>
                  </a:lnTo>
                  <a:lnTo>
                    <a:pt x="28" y="72"/>
                  </a:lnTo>
                  <a:lnTo>
                    <a:pt x="36" y="78"/>
                  </a:lnTo>
                  <a:lnTo>
                    <a:pt x="42" y="80"/>
                  </a:lnTo>
                  <a:lnTo>
                    <a:pt x="48" y="80"/>
                  </a:lnTo>
                  <a:lnTo>
                    <a:pt x="48" y="80"/>
                  </a:lnTo>
                  <a:lnTo>
                    <a:pt x="54" y="80"/>
                  </a:lnTo>
                  <a:lnTo>
                    <a:pt x="60" y="78"/>
                  </a:lnTo>
                  <a:lnTo>
                    <a:pt x="70" y="72"/>
                  </a:lnTo>
                  <a:lnTo>
                    <a:pt x="76" y="62"/>
                  </a:lnTo>
                  <a:lnTo>
                    <a:pt x="78" y="56"/>
                  </a:lnTo>
                  <a:lnTo>
                    <a:pt x="80" y="50"/>
                  </a:lnTo>
                  <a:lnTo>
                    <a:pt x="80" y="50"/>
                  </a:lnTo>
                  <a:lnTo>
                    <a:pt x="78" y="44"/>
                  </a:lnTo>
                  <a:lnTo>
                    <a:pt x="76" y="38"/>
                  </a:lnTo>
                  <a:lnTo>
                    <a:pt x="70" y="28"/>
                  </a:lnTo>
                  <a:lnTo>
                    <a:pt x="60" y="22"/>
                  </a:lnTo>
                  <a:lnTo>
                    <a:pt x="54" y="20"/>
                  </a:lnTo>
                  <a:lnTo>
                    <a:pt x="48" y="20"/>
                  </a:lnTo>
                  <a:lnTo>
                    <a:pt x="48" y="2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+mj-lt"/>
              </a:endParaRPr>
            </a:p>
          </p:txBody>
        </p:sp>
        <p:sp>
          <p:nvSpPr>
            <p:cNvPr id="42" name="Freeform 67">
              <a:extLst>
                <a:ext uri="{FF2B5EF4-FFF2-40B4-BE49-F238E27FC236}">
                  <a16:creationId xmlns:a16="http://schemas.microsoft.com/office/drawing/2014/main" id="{80962684-DDC7-45C1-8DDD-F1575AAEB6F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33" y="2463"/>
              <a:ext cx="98" cy="98"/>
            </a:xfrm>
            <a:custGeom>
              <a:avLst/>
              <a:gdLst>
                <a:gd name="T0" fmla="*/ 48 w 98"/>
                <a:gd name="T1" fmla="*/ 98 h 98"/>
                <a:gd name="T2" fmla="*/ 30 w 98"/>
                <a:gd name="T3" fmla="*/ 94 h 98"/>
                <a:gd name="T4" fmla="*/ 14 w 98"/>
                <a:gd name="T5" fmla="*/ 84 h 98"/>
                <a:gd name="T6" fmla="*/ 2 w 98"/>
                <a:gd name="T7" fmla="*/ 68 h 98"/>
                <a:gd name="T8" fmla="*/ 0 w 98"/>
                <a:gd name="T9" fmla="*/ 48 h 98"/>
                <a:gd name="T10" fmla="*/ 0 w 98"/>
                <a:gd name="T11" fmla="*/ 38 h 98"/>
                <a:gd name="T12" fmla="*/ 8 w 98"/>
                <a:gd name="T13" fmla="*/ 22 h 98"/>
                <a:gd name="T14" fmla="*/ 20 w 98"/>
                <a:gd name="T15" fmla="*/ 8 h 98"/>
                <a:gd name="T16" fmla="*/ 38 w 98"/>
                <a:gd name="T17" fmla="*/ 0 h 98"/>
                <a:gd name="T18" fmla="*/ 48 w 98"/>
                <a:gd name="T19" fmla="*/ 0 h 98"/>
                <a:gd name="T20" fmla="*/ 68 w 98"/>
                <a:gd name="T21" fmla="*/ 4 h 98"/>
                <a:gd name="T22" fmla="*/ 84 w 98"/>
                <a:gd name="T23" fmla="*/ 14 h 98"/>
                <a:gd name="T24" fmla="*/ 94 w 98"/>
                <a:gd name="T25" fmla="*/ 30 h 98"/>
                <a:gd name="T26" fmla="*/ 98 w 98"/>
                <a:gd name="T27" fmla="*/ 48 h 98"/>
                <a:gd name="T28" fmla="*/ 98 w 98"/>
                <a:gd name="T29" fmla="*/ 58 h 98"/>
                <a:gd name="T30" fmla="*/ 90 w 98"/>
                <a:gd name="T31" fmla="*/ 76 h 98"/>
                <a:gd name="T32" fmla="*/ 76 w 98"/>
                <a:gd name="T33" fmla="*/ 90 h 98"/>
                <a:gd name="T34" fmla="*/ 58 w 98"/>
                <a:gd name="T35" fmla="*/ 98 h 98"/>
                <a:gd name="T36" fmla="*/ 48 w 98"/>
                <a:gd name="T37" fmla="*/ 98 h 98"/>
                <a:gd name="T38" fmla="*/ 48 w 98"/>
                <a:gd name="T39" fmla="*/ 18 h 98"/>
                <a:gd name="T40" fmla="*/ 36 w 98"/>
                <a:gd name="T41" fmla="*/ 20 h 98"/>
                <a:gd name="T42" fmla="*/ 20 w 98"/>
                <a:gd name="T43" fmla="*/ 38 h 98"/>
                <a:gd name="T44" fmla="*/ 18 w 98"/>
                <a:gd name="T45" fmla="*/ 48 h 98"/>
                <a:gd name="T46" fmla="*/ 18 w 98"/>
                <a:gd name="T47" fmla="*/ 56 h 98"/>
                <a:gd name="T48" fmla="*/ 28 w 98"/>
                <a:gd name="T49" fmla="*/ 70 h 98"/>
                <a:gd name="T50" fmla="*/ 42 w 98"/>
                <a:gd name="T51" fmla="*/ 78 h 98"/>
                <a:gd name="T52" fmla="*/ 48 w 98"/>
                <a:gd name="T53" fmla="*/ 80 h 98"/>
                <a:gd name="T54" fmla="*/ 60 w 98"/>
                <a:gd name="T55" fmla="*/ 76 h 98"/>
                <a:gd name="T56" fmla="*/ 76 w 98"/>
                <a:gd name="T57" fmla="*/ 60 h 98"/>
                <a:gd name="T58" fmla="*/ 80 w 98"/>
                <a:gd name="T59" fmla="*/ 48 h 98"/>
                <a:gd name="T60" fmla="*/ 78 w 98"/>
                <a:gd name="T61" fmla="*/ 42 h 98"/>
                <a:gd name="T62" fmla="*/ 70 w 98"/>
                <a:gd name="T63" fmla="*/ 28 h 98"/>
                <a:gd name="T64" fmla="*/ 54 w 98"/>
                <a:gd name="T65" fmla="*/ 20 h 98"/>
                <a:gd name="T66" fmla="*/ 48 w 98"/>
                <a:gd name="T67" fmla="*/ 1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98" h="98">
                  <a:moveTo>
                    <a:pt x="48" y="98"/>
                  </a:moveTo>
                  <a:lnTo>
                    <a:pt x="48" y="98"/>
                  </a:lnTo>
                  <a:lnTo>
                    <a:pt x="38" y="98"/>
                  </a:lnTo>
                  <a:lnTo>
                    <a:pt x="30" y="94"/>
                  </a:lnTo>
                  <a:lnTo>
                    <a:pt x="20" y="90"/>
                  </a:lnTo>
                  <a:lnTo>
                    <a:pt x="14" y="84"/>
                  </a:lnTo>
                  <a:lnTo>
                    <a:pt x="8" y="76"/>
                  </a:lnTo>
                  <a:lnTo>
                    <a:pt x="2" y="68"/>
                  </a:lnTo>
                  <a:lnTo>
                    <a:pt x="0" y="5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38"/>
                  </a:lnTo>
                  <a:lnTo>
                    <a:pt x="2" y="30"/>
                  </a:lnTo>
                  <a:lnTo>
                    <a:pt x="8" y="22"/>
                  </a:lnTo>
                  <a:lnTo>
                    <a:pt x="14" y="14"/>
                  </a:lnTo>
                  <a:lnTo>
                    <a:pt x="20" y="8"/>
                  </a:lnTo>
                  <a:lnTo>
                    <a:pt x="30" y="4"/>
                  </a:lnTo>
                  <a:lnTo>
                    <a:pt x="3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8" y="0"/>
                  </a:lnTo>
                  <a:lnTo>
                    <a:pt x="68" y="4"/>
                  </a:lnTo>
                  <a:lnTo>
                    <a:pt x="76" y="8"/>
                  </a:lnTo>
                  <a:lnTo>
                    <a:pt x="84" y="14"/>
                  </a:lnTo>
                  <a:lnTo>
                    <a:pt x="90" y="22"/>
                  </a:lnTo>
                  <a:lnTo>
                    <a:pt x="94" y="30"/>
                  </a:lnTo>
                  <a:lnTo>
                    <a:pt x="98" y="38"/>
                  </a:lnTo>
                  <a:lnTo>
                    <a:pt x="98" y="48"/>
                  </a:lnTo>
                  <a:lnTo>
                    <a:pt x="98" y="48"/>
                  </a:lnTo>
                  <a:lnTo>
                    <a:pt x="98" y="58"/>
                  </a:lnTo>
                  <a:lnTo>
                    <a:pt x="94" y="68"/>
                  </a:lnTo>
                  <a:lnTo>
                    <a:pt x="90" y="76"/>
                  </a:lnTo>
                  <a:lnTo>
                    <a:pt x="84" y="84"/>
                  </a:lnTo>
                  <a:lnTo>
                    <a:pt x="76" y="90"/>
                  </a:lnTo>
                  <a:lnTo>
                    <a:pt x="68" y="94"/>
                  </a:lnTo>
                  <a:lnTo>
                    <a:pt x="58" y="98"/>
                  </a:lnTo>
                  <a:lnTo>
                    <a:pt x="48" y="98"/>
                  </a:lnTo>
                  <a:lnTo>
                    <a:pt x="48" y="98"/>
                  </a:lnTo>
                  <a:close/>
                  <a:moveTo>
                    <a:pt x="48" y="18"/>
                  </a:moveTo>
                  <a:lnTo>
                    <a:pt x="48" y="18"/>
                  </a:lnTo>
                  <a:lnTo>
                    <a:pt x="42" y="20"/>
                  </a:lnTo>
                  <a:lnTo>
                    <a:pt x="36" y="20"/>
                  </a:lnTo>
                  <a:lnTo>
                    <a:pt x="28" y="28"/>
                  </a:lnTo>
                  <a:lnTo>
                    <a:pt x="20" y="38"/>
                  </a:lnTo>
                  <a:lnTo>
                    <a:pt x="18" y="42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8" y="56"/>
                  </a:lnTo>
                  <a:lnTo>
                    <a:pt x="20" y="60"/>
                  </a:lnTo>
                  <a:lnTo>
                    <a:pt x="28" y="70"/>
                  </a:lnTo>
                  <a:lnTo>
                    <a:pt x="36" y="76"/>
                  </a:lnTo>
                  <a:lnTo>
                    <a:pt x="42" y="78"/>
                  </a:lnTo>
                  <a:lnTo>
                    <a:pt x="48" y="80"/>
                  </a:lnTo>
                  <a:lnTo>
                    <a:pt x="48" y="80"/>
                  </a:lnTo>
                  <a:lnTo>
                    <a:pt x="54" y="78"/>
                  </a:lnTo>
                  <a:lnTo>
                    <a:pt x="60" y="76"/>
                  </a:lnTo>
                  <a:lnTo>
                    <a:pt x="70" y="70"/>
                  </a:lnTo>
                  <a:lnTo>
                    <a:pt x="76" y="60"/>
                  </a:lnTo>
                  <a:lnTo>
                    <a:pt x="78" y="56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78" y="42"/>
                  </a:lnTo>
                  <a:lnTo>
                    <a:pt x="76" y="38"/>
                  </a:lnTo>
                  <a:lnTo>
                    <a:pt x="70" y="28"/>
                  </a:lnTo>
                  <a:lnTo>
                    <a:pt x="60" y="20"/>
                  </a:lnTo>
                  <a:lnTo>
                    <a:pt x="54" y="20"/>
                  </a:lnTo>
                  <a:lnTo>
                    <a:pt x="48" y="18"/>
                  </a:lnTo>
                  <a:lnTo>
                    <a:pt x="48" y="18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+mj-lt"/>
              </a:endParaRPr>
            </a:p>
          </p:txBody>
        </p:sp>
        <p:sp>
          <p:nvSpPr>
            <p:cNvPr id="43" name="Freeform 68">
              <a:extLst>
                <a:ext uri="{FF2B5EF4-FFF2-40B4-BE49-F238E27FC236}">
                  <a16:creationId xmlns:a16="http://schemas.microsoft.com/office/drawing/2014/main" id="{C646BDA1-D671-4A68-9FFC-E97DA1C66FA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91" y="2065"/>
              <a:ext cx="98" cy="100"/>
            </a:xfrm>
            <a:custGeom>
              <a:avLst/>
              <a:gdLst>
                <a:gd name="T0" fmla="*/ 48 w 98"/>
                <a:gd name="T1" fmla="*/ 100 h 100"/>
                <a:gd name="T2" fmla="*/ 30 w 98"/>
                <a:gd name="T3" fmla="*/ 96 h 100"/>
                <a:gd name="T4" fmla="*/ 14 w 98"/>
                <a:gd name="T5" fmla="*/ 86 h 100"/>
                <a:gd name="T6" fmla="*/ 4 w 98"/>
                <a:gd name="T7" fmla="*/ 70 h 100"/>
                <a:gd name="T8" fmla="*/ 0 w 98"/>
                <a:gd name="T9" fmla="*/ 50 h 100"/>
                <a:gd name="T10" fmla="*/ 0 w 98"/>
                <a:gd name="T11" fmla="*/ 40 h 100"/>
                <a:gd name="T12" fmla="*/ 8 w 98"/>
                <a:gd name="T13" fmla="*/ 22 h 100"/>
                <a:gd name="T14" fmla="*/ 22 w 98"/>
                <a:gd name="T15" fmla="*/ 8 h 100"/>
                <a:gd name="T16" fmla="*/ 38 w 98"/>
                <a:gd name="T17" fmla="*/ 2 h 100"/>
                <a:gd name="T18" fmla="*/ 48 w 98"/>
                <a:gd name="T19" fmla="*/ 0 h 100"/>
                <a:gd name="T20" fmla="*/ 68 w 98"/>
                <a:gd name="T21" fmla="*/ 4 h 100"/>
                <a:gd name="T22" fmla="*/ 84 w 98"/>
                <a:gd name="T23" fmla="*/ 14 h 100"/>
                <a:gd name="T24" fmla="*/ 94 w 98"/>
                <a:gd name="T25" fmla="*/ 30 h 100"/>
                <a:gd name="T26" fmla="*/ 98 w 98"/>
                <a:gd name="T27" fmla="*/ 50 h 100"/>
                <a:gd name="T28" fmla="*/ 98 w 98"/>
                <a:gd name="T29" fmla="*/ 60 h 100"/>
                <a:gd name="T30" fmla="*/ 90 w 98"/>
                <a:gd name="T31" fmla="*/ 78 h 100"/>
                <a:gd name="T32" fmla="*/ 76 w 98"/>
                <a:gd name="T33" fmla="*/ 92 h 100"/>
                <a:gd name="T34" fmla="*/ 58 w 98"/>
                <a:gd name="T35" fmla="*/ 98 h 100"/>
                <a:gd name="T36" fmla="*/ 48 w 98"/>
                <a:gd name="T37" fmla="*/ 100 h 100"/>
                <a:gd name="T38" fmla="*/ 48 w 98"/>
                <a:gd name="T39" fmla="*/ 20 h 100"/>
                <a:gd name="T40" fmla="*/ 38 w 98"/>
                <a:gd name="T41" fmla="*/ 22 h 100"/>
                <a:gd name="T42" fmla="*/ 20 w 98"/>
                <a:gd name="T43" fmla="*/ 38 h 100"/>
                <a:gd name="T44" fmla="*/ 18 w 98"/>
                <a:gd name="T45" fmla="*/ 50 h 100"/>
                <a:gd name="T46" fmla="*/ 20 w 98"/>
                <a:gd name="T47" fmla="*/ 56 h 100"/>
                <a:gd name="T48" fmla="*/ 28 w 98"/>
                <a:gd name="T49" fmla="*/ 72 h 100"/>
                <a:gd name="T50" fmla="*/ 42 w 98"/>
                <a:gd name="T51" fmla="*/ 80 h 100"/>
                <a:gd name="T52" fmla="*/ 48 w 98"/>
                <a:gd name="T53" fmla="*/ 80 h 100"/>
                <a:gd name="T54" fmla="*/ 60 w 98"/>
                <a:gd name="T55" fmla="*/ 78 h 100"/>
                <a:gd name="T56" fmla="*/ 76 w 98"/>
                <a:gd name="T57" fmla="*/ 62 h 100"/>
                <a:gd name="T58" fmla="*/ 80 w 98"/>
                <a:gd name="T59" fmla="*/ 50 h 100"/>
                <a:gd name="T60" fmla="*/ 78 w 98"/>
                <a:gd name="T61" fmla="*/ 44 h 100"/>
                <a:gd name="T62" fmla="*/ 70 w 98"/>
                <a:gd name="T63" fmla="*/ 28 h 100"/>
                <a:gd name="T64" fmla="*/ 56 w 98"/>
                <a:gd name="T65" fmla="*/ 20 h 100"/>
                <a:gd name="T66" fmla="*/ 48 w 98"/>
                <a:gd name="T67" fmla="*/ 2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98" h="100">
                  <a:moveTo>
                    <a:pt x="48" y="100"/>
                  </a:moveTo>
                  <a:lnTo>
                    <a:pt x="48" y="100"/>
                  </a:lnTo>
                  <a:lnTo>
                    <a:pt x="38" y="98"/>
                  </a:lnTo>
                  <a:lnTo>
                    <a:pt x="30" y="96"/>
                  </a:lnTo>
                  <a:lnTo>
                    <a:pt x="22" y="92"/>
                  </a:lnTo>
                  <a:lnTo>
                    <a:pt x="14" y="86"/>
                  </a:lnTo>
                  <a:lnTo>
                    <a:pt x="8" y="78"/>
                  </a:lnTo>
                  <a:lnTo>
                    <a:pt x="4" y="70"/>
                  </a:lnTo>
                  <a:lnTo>
                    <a:pt x="0" y="60"/>
                  </a:lnTo>
                  <a:lnTo>
                    <a:pt x="0" y="50"/>
                  </a:lnTo>
                  <a:lnTo>
                    <a:pt x="0" y="50"/>
                  </a:lnTo>
                  <a:lnTo>
                    <a:pt x="0" y="40"/>
                  </a:lnTo>
                  <a:lnTo>
                    <a:pt x="4" y="30"/>
                  </a:lnTo>
                  <a:lnTo>
                    <a:pt x="8" y="22"/>
                  </a:lnTo>
                  <a:lnTo>
                    <a:pt x="14" y="14"/>
                  </a:lnTo>
                  <a:lnTo>
                    <a:pt x="22" y="8"/>
                  </a:lnTo>
                  <a:lnTo>
                    <a:pt x="30" y="4"/>
                  </a:lnTo>
                  <a:lnTo>
                    <a:pt x="38" y="2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8" y="2"/>
                  </a:lnTo>
                  <a:lnTo>
                    <a:pt x="68" y="4"/>
                  </a:lnTo>
                  <a:lnTo>
                    <a:pt x="76" y="8"/>
                  </a:lnTo>
                  <a:lnTo>
                    <a:pt x="84" y="14"/>
                  </a:lnTo>
                  <a:lnTo>
                    <a:pt x="90" y="22"/>
                  </a:lnTo>
                  <a:lnTo>
                    <a:pt x="94" y="30"/>
                  </a:lnTo>
                  <a:lnTo>
                    <a:pt x="98" y="40"/>
                  </a:lnTo>
                  <a:lnTo>
                    <a:pt x="98" y="50"/>
                  </a:lnTo>
                  <a:lnTo>
                    <a:pt x="98" y="50"/>
                  </a:lnTo>
                  <a:lnTo>
                    <a:pt x="98" y="60"/>
                  </a:lnTo>
                  <a:lnTo>
                    <a:pt x="94" y="70"/>
                  </a:lnTo>
                  <a:lnTo>
                    <a:pt x="90" y="78"/>
                  </a:lnTo>
                  <a:lnTo>
                    <a:pt x="84" y="86"/>
                  </a:lnTo>
                  <a:lnTo>
                    <a:pt x="76" y="92"/>
                  </a:lnTo>
                  <a:lnTo>
                    <a:pt x="68" y="96"/>
                  </a:lnTo>
                  <a:lnTo>
                    <a:pt x="58" y="98"/>
                  </a:lnTo>
                  <a:lnTo>
                    <a:pt x="48" y="100"/>
                  </a:lnTo>
                  <a:lnTo>
                    <a:pt x="48" y="100"/>
                  </a:lnTo>
                  <a:close/>
                  <a:moveTo>
                    <a:pt x="48" y="20"/>
                  </a:moveTo>
                  <a:lnTo>
                    <a:pt x="48" y="20"/>
                  </a:lnTo>
                  <a:lnTo>
                    <a:pt x="42" y="20"/>
                  </a:lnTo>
                  <a:lnTo>
                    <a:pt x="38" y="22"/>
                  </a:lnTo>
                  <a:lnTo>
                    <a:pt x="28" y="28"/>
                  </a:lnTo>
                  <a:lnTo>
                    <a:pt x="20" y="38"/>
                  </a:lnTo>
                  <a:lnTo>
                    <a:pt x="20" y="44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20" y="56"/>
                  </a:lnTo>
                  <a:lnTo>
                    <a:pt x="20" y="62"/>
                  </a:lnTo>
                  <a:lnTo>
                    <a:pt x="28" y="72"/>
                  </a:lnTo>
                  <a:lnTo>
                    <a:pt x="38" y="78"/>
                  </a:lnTo>
                  <a:lnTo>
                    <a:pt x="42" y="80"/>
                  </a:lnTo>
                  <a:lnTo>
                    <a:pt x="48" y="80"/>
                  </a:lnTo>
                  <a:lnTo>
                    <a:pt x="48" y="80"/>
                  </a:lnTo>
                  <a:lnTo>
                    <a:pt x="56" y="80"/>
                  </a:lnTo>
                  <a:lnTo>
                    <a:pt x="60" y="78"/>
                  </a:lnTo>
                  <a:lnTo>
                    <a:pt x="70" y="72"/>
                  </a:lnTo>
                  <a:lnTo>
                    <a:pt x="76" y="62"/>
                  </a:lnTo>
                  <a:lnTo>
                    <a:pt x="78" y="56"/>
                  </a:lnTo>
                  <a:lnTo>
                    <a:pt x="80" y="50"/>
                  </a:lnTo>
                  <a:lnTo>
                    <a:pt x="80" y="50"/>
                  </a:lnTo>
                  <a:lnTo>
                    <a:pt x="78" y="44"/>
                  </a:lnTo>
                  <a:lnTo>
                    <a:pt x="76" y="38"/>
                  </a:lnTo>
                  <a:lnTo>
                    <a:pt x="70" y="28"/>
                  </a:lnTo>
                  <a:lnTo>
                    <a:pt x="60" y="22"/>
                  </a:lnTo>
                  <a:lnTo>
                    <a:pt x="56" y="20"/>
                  </a:lnTo>
                  <a:lnTo>
                    <a:pt x="48" y="20"/>
                  </a:lnTo>
                  <a:lnTo>
                    <a:pt x="48" y="2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+mj-lt"/>
              </a:endParaRPr>
            </a:p>
          </p:txBody>
        </p:sp>
        <p:sp>
          <p:nvSpPr>
            <p:cNvPr id="44" name="Freeform 69">
              <a:extLst>
                <a:ext uri="{FF2B5EF4-FFF2-40B4-BE49-F238E27FC236}">
                  <a16:creationId xmlns:a16="http://schemas.microsoft.com/office/drawing/2014/main" id="{4884649C-139A-4C89-A995-CD6EE081C8C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91" y="2463"/>
              <a:ext cx="98" cy="98"/>
            </a:xfrm>
            <a:custGeom>
              <a:avLst/>
              <a:gdLst>
                <a:gd name="T0" fmla="*/ 48 w 98"/>
                <a:gd name="T1" fmla="*/ 98 h 98"/>
                <a:gd name="T2" fmla="*/ 30 w 98"/>
                <a:gd name="T3" fmla="*/ 94 h 98"/>
                <a:gd name="T4" fmla="*/ 14 w 98"/>
                <a:gd name="T5" fmla="*/ 84 h 98"/>
                <a:gd name="T6" fmla="*/ 4 w 98"/>
                <a:gd name="T7" fmla="*/ 68 h 98"/>
                <a:gd name="T8" fmla="*/ 0 w 98"/>
                <a:gd name="T9" fmla="*/ 48 h 98"/>
                <a:gd name="T10" fmla="*/ 0 w 98"/>
                <a:gd name="T11" fmla="*/ 38 h 98"/>
                <a:gd name="T12" fmla="*/ 8 w 98"/>
                <a:gd name="T13" fmla="*/ 22 h 98"/>
                <a:gd name="T14" fmla="*/ 22 w 98"/>
                <a:gd name="T15" fmla="*/ 8 h 98"/>
                <a:gd name="T16" fmla="*/ 38 w 98"/>
                <a:gd name="T17" fmla="*/ 0 h 98"/>
                <a:gd name="T18" fmla="*/ 48 w 98"/>
                <a:gd name="T19" fmla="*/ 0 h 98"/>
                <a:gd name="T20" fmla="*/ 68 w 98"/>
                <a:gd name="T21" fmla="*/ 4 h 98"/>
                <a:gd name="T22" fmla="*/ 84 w 98"/>
                <a:gd name="T23" fmla="*/ 14 h 98"/>
                <a:gd name="T24" fmla="*/ 94 w 98"/>
                <a:gd name="T25" fmla="*/ 30 h 98"/>
                <a:gd name="T26" fmla="*/ 98 w 98"/>
                <a:gd name="T27" fmla="*/ 48 h 98"/>
                <a:gd name="T28" fmla="*/ 98 w 98"/>
                <a:gd name="T29" fmla="*/ 58 h 98"/>
                <a:gd name="T30" fmla="*/ 90 w 98"/>
                <a:gd name="T31" fmla="*/ 76 h 98"/>
                <a:gd name="T32" fmla="*/ 76 w 98"/>
                <a:gd name="T33" fmla="*/ 90 h 98"/>
                <a:gd name="T34" fmla="*/ 58 w 98"/>
                <a:gd name="T35" fmla="*/ 98 h 98"/>
                <a:gd name="T36" fmla="*/ 48 w 98"/>
                <a:gd name="T37" fmla="*/ 98 h 98"/>
                <a:gd name="T38" fmla="*/ 48 w 98"/>
                <a:gd name="T39" fmla="*/ 18 h 98"/>
                <a:gd name="T40" fmla="*/ 38 w 98"/>
                <a:gd name="T41" fmla="*/ 20 h 98"/>
                <a:gd name="T42" fmla="*/ 20 w 98"/>
                <a:gd name="T43" fmla="*/ 38 h 98"/>
                <a:gd name="T44" fmla="*/ 18 w 98"/>
                <a:gd name="T45" fmla="*/ 48 h 98"/>
                <a:gd name="T46" fmla="*/ 20 w 98"/>
                <a:gd name="T47" fmla="*/ 56 h 98"/>
                <a:gd name="T48" fmla="*/ 28 w 98"/>
                <a:gd name="T49" fmla="*/ 70 h 98"/>
                <a:gd name="T50" fmla="*/ 42 w 98"/>
                <a:gd name="T51" fmla="*/ 78 h 98"/>
                <a:gd name="T52" fmla="*/ 48 w 98"/>
                <a:gd name="T53" fmla="*/ 80 h 98"/>
                <a:gd name="T54" fmla="*/ 60 w 98"/>
                <a:gd name="T55" fmla="*/ 76 h 98"/>
                <a:gd name="T56" fmla="*/ 76 w 98"/>
                <a:gd name="T57" fmla="*/ 60 h 98"/>
                <a:gd name="T58" fmla="*/ 80 w 98"/>
                <a:gd name="T59" fmla="*/ 48 h 98"/>
                <a:gd name="T60" fmla="*/ 78 w 98"/>
                <a:gd name="T61" fmla="*/ 42 h 98"/>
                <a:gd name="T62" fmla="*/ 70 w 98"/>
                <a:gd name="T63" fmla="*/ 28 h 98"/>
                <a:gd name="T64" fmla="*/ 56 w 98"/>
                <a:gd name="T65" fmla="*/ 20 h 98"/>
                <a:gd name="T66" fmla="*/ 48 w 98"/>
                <a:gd name="T67" fmla="*/ 1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98" h="98">
                  <a:moveTo>
                    <a:pt x="48" y="98"/>
                  </a:moveTo>
                  <a:lnTo>
                    <a:pt x="48" y="98"/>
                  </a:lnTo>
                  <a:lnTo>
                    <a:pt x="38" y="98"/>
                  </a:lnTo>
                  <a:lnTo>
                    <a:pt x="30" y="94"/>
                  </a:lnTo>
                  <a:lnTo>
                    <a:pt x="22" y="90"/>
                  </a:lnTo>
                  <a:lnTo>
                    <a:pt x="14" y="84"/>
                  </a:lnTo>
                  <a:lnTo>
                    <a:pt x="8" y="76"/>
                  </a:lnTo>
                  <a:lnTo>
                    <a:pt x="4" y="68"/>
                  </a:lnTo>
                  <a:lnTo>
                    <a:pt x="0" y="5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38"/>
                  </a:lnTo>
                  <a:lnTo>
                    <a:pt x="4" y="30"/>
                  </a:lnTo>
                  <a:lnTo>
                    <a:pt x="8" y="22"/>
                  </a:lnTo>
                  <a:lnTo>
                    <a:pt x="14" y="14"/>
                  </a:lnTo>
                  <a:lnTo>
                    <a:pt x="22" y="8"/>
                  </a:lnTo>
                  <a:lnTo>
                    <a:pt x="30" y="4"/>
                  </a:lnTo>
                  <a:lnTo>
                    <a:pt x="3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8" y="0"/>
                  </a:lnTo>
                  <a:lnTo>
                    <a:pt x="68" y="4"/>
                  </a:lnTo>
                  <a:lnTo>
                    <a:pt x="76" y="8"/>
                  </a:lnTo>
                  <a:lnTo>
                    <a:pt x="84" y="14"/>
                  </a:lnTo>
                  <a:lnTo>
                    <a:pt x="90" y="22"/>
                  </a:lnTo>
                  <a:lnTo>
                    <a:pt x="94" y="30"/>
                  </a:lnTo>
                  <a:lnTo>
                    <a:pt x="98" y="38"/>
                  </a:lnTo>
                  <a:lnTo>
                    <a:pt x="98" y="48"/>
                  </a:lnTo>
                  <a:lnTo>
                    <a:pt x="98" y="48"/>
                  </a:lnTo>
                  <a:lnTo>
                    <a:pt x="98" y="58"/>
                  </a:lnTo>
                  <a:lnTo>
                    <a:pt x="94" y="68"/>
                  </a:lnTo>
                  <a:lnTo>
                    <a:pt x="90" y="76"/>
                  </a:lnTo>
                  <a:lnTo>
                    <a:pt x="84" y="84"/>
                  </a:lnTo>
                  <a:lnTo>
                    <a:pt x="76" y="90"/>
                  </a:lnTo>
                  <a:lnTo>
                    <a:pt x="68" y="94"/>
                  </a:lnTo>
                  <a:lnTo>
                    <a:pt x="58" y="98"/>
                  </a:lnTo>
                  <a:lnTo>
                    <a:pt x="48" y="98"/>
                  </a:lnTo>
                  <a:lnTo>
                    <a:pt x="48" y="98"/>
                  </a:lnTo>
                  <a:close/>
                  <a:moveTo>
                    <a:pt x="48" y="18"/>
                  </a:moveTo>
                  <a:lnTo>
                    <a:pt x="48" y="18"/>
                  </a:lnTo>
                  <a:lnTo>
                    <a:pt x="42" y="20"/>
                  </a:lnTo>
                  <a:lnTo>
                    <a:pt x="38" y="20"/>
                  </a:lnTo>
                  <a:lnTo>
                    <a:pt x="28" y="28"/>
                  </a:lnTo>
                  <a:lnTo>
                    <a:pt x="20" y="38"/>
                  </a:lnTo>
                  <a:lnTo>
                    <a:pt x="20" y="42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20" y="56"/>
                  </a:lnTo>
                  <a:lnTo>
                    <a:pt x="20" y="60"/>
                  </a:lnTo>
                  <a:lnTo>
                    <a:pt x="28" y="70"/>
                  </a:lnTo>
                  <a:lnTo>
                    <a:pt x="38" y="76"/>
                  </a:lnTo>
                  <a:lnTo>
                    <a:pt x="42" y="78"/>
                  </a:lnTo>
                  <a:lnTo>
                    <a:pt x="48" y="80"/>
                  </a:lnTo>
                  <a:lnTo>
                    <a:pt x="48" y="80"/>
                  </a:lnTo>
                  <a:lnTo>
                    <a:pt x="56" y="78"/>
                  </a:lnTo>
                  <a:lnTo>
                    <a:pt x="60" y="76"/>
                  </a:lnTo>
                  <a:lnTo>
                    <a:pt x="70" y="70"/>
                  </a:lnTo>
                  <a:lnTo>
                    <a:pt x="76" y="60"/>
                  </a:lnTo>
                  <a:lnTo>
                    <a:pt x="78" y="56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78" y="42"/>
                  </a:lnTo>
                  <a:lnTo>
                    <a:pt x="76" y="38"/>
                  </a:lnTo>
                  <a:lnTo>
                    <a:pt x="70" y="28"/>
                  </a:lnTo>
                  <a:lnTo>
                    <a:pt x="60" y="20"/>
                  </a:lnTo>
                  <a:lnTo>
                    <a:pt x="56" y="20"/>
                  </a:lnTo>
                  <a:lnTo>
                    <a:pt x="48" y="18"/>
                  </a:lnTo>
                  <a:lnTo>
                    <a:pt x="48" y="18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+mj-lt"/>
              </a:endParaRPr>
            </a:p>
          </p:txBody>
        </p:sp>
        <p:sp>
          <p:nvSpPr>
            <p:cNvPr id="45" name="Freeform 70">
              <a:extLst>
                <a:ext uri="{FF2B5EF4-FFF2-40B4-BE49-F238E27FC236}">
                  <a16:creationId xmlns:a16="http://schemas.microsoft.com/office/drawing/2014/main" id="{E652F930-3DD9-45D4-A2C6-F68A1138C0EA}"/>
                </a:ext>
              </a:extLst>
            </p:cNvPr>
            <p:cNvSpPr>
              <a:spLocks/>
            </p:cNvSpPr>
            <p:nvPr/>
          </p:nvSpPr>
          <p:spPr bwMode="auto">
            <a:xfrm>
              <a:off x="2027" y="1979"/>
              <a:ext cx="130" cy="86"/>
            </a:xfrm>
            <a:custGeom>
              <a:avLst/>
              <a:gdLst>
                <a:gd name="T0" fmla="*/ 10 w 130"/>
                <a:gd name="T1" fmla="*/ 86 h 86"/>
                <a:gd name="T2" fmla="*/ 0 w 130"/>
                <a:gd name="T3" fmla="*/ 68 h 86"/>
                <a:gd name="T4" fmla="*/ 120 w 130"/>
                <a:gd name="T5" fmla="*/ 0 h 86"/>
                <a:gd name="T6" fmla="*/ 130 w 130"/>
                <a:gd name="T7" fmla="*/ 16 h 86"/>
                <a:gd name="T8" fmla="*/ 10 w 130"/>
                <a:gd name="T9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86">
                  <a:moveTo>
                    <a:pt x="10" y="86"/>
                  </a:moveTo>
                  <a:lnTo>
                    <a:pt x="0" y="68"/>
                  </a:lnTo>
                  <a:lnTo>
                    <a:pt x="120" y="0"/>
                  </a:lnTo>
                  <a:lnTo>
                    <a:pt x="130" y="16"/>
                  </a:lnTo>
                  <a:lnTo>
                    <a:pt x="10" y="86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+mj-lt"/>
              </a:endParaRPr>
            </a:p>
          </p:txBody>
        </p:sp>
        <p:sp>
          <p:nvSpPr>
            <p:cNvPr id="46" name="Freeform 71">
              <a:extLst>
                <a:ext uri="{FF2B5EF4-FFF2-40B4-BE49-F238E27FC236}">
                  <a16:creationId xmlns:a16="http://schemas.microsoft.com/office/drawing/2014/main" id="{08D5EA8C-C338-47D7-9C91-208F1DEB3880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" y="1979"/>
              <a:ext cx="130" cy="86"/>
            </a:xfrm>
            <a:custGeom>
              <a:avLst/>
              <a:gdLst>
                <a:gd name="T0" fmla="*/ 120 w 130"/>
                <a:gd name="T1" fmla="*/ 86 h 86"/>
                <a:gd name="T2" fmla="*/ 0 w 130"/>
                <a:gd name="T3" fmla="*/ 16 h 86"/>
                <a:gd name="T4" fmla="*/ 10 w 130"/>
                <a:gd name="T5" fmla="*/ 0 h 86"/>
                <a:gd name="T6" fmla="*/ 130 w 130"/>
                <a:gd name="T7" fmla="*/ 68 h 86"/>
                <a:gd name="T8" fmla="*/ 120 w 130"/>
                <a:gd name="T9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86">
                  <a:moveTo>
                    <a:pt x="120" y="86"/>
                  </a:moveTo>
                  <a:lnTo>
                    <a:pt x="0" y="16"/>
                  </a:lnTo>
                  <a:lnTo>
                    <a:pt x="10" y="0"/>
                  </a:lnTo>
                  <a:lnTo>
                    <a:pt x="130" y="68"/>
                  </a:lnTo>
                  <a:lnTo>
                    <a:pt x="120" y="86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+mj-lt"/>
              </a:endParaRPr>
            </a:p>
          </p:txBody>
        </p:sp>
        <p:sp>
          <p:nvSpPr>
            <p:cNvPr id="47" name="Rectangle 72">
              <a:extLst>
                <a:ext uri="{FF2B5EF4-FFF2-40B4-BE49-F238E27FC236}">
                  <a16:creationId xmlns:a16="http://schemas.microsoft.com/office/drawing/2014/main" id="{C62A0C08-C622-4EC3-89B7-4ED8F9151C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89" y="2223"/>
              <a:ext cx="18" cy="180"/>
            </a:xfrm>
            <a:prstGeom prst="rect">
              <a:avLst/>
            </a:pr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+mj-lt"/>
              </a:endParaRPr>
            </a:p>
          </p:txBody>
        </p:sp>
        <p:sp>
          <p:nvSpPr>
            <p:cNvPr id="48" name="Freeform 73">
              <a:extLst>
                <a:ext uri="{FF2B5EF4-FFF2-40B4-BE49-F238E27FC236}">
                  <a16:creationId xmlns:a16="http://schemas.microsoft.com/office/drawing/2014/main" id="{E67DDC73-D53A-4483-9782-0726715C6F2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" y="2563"/>
              <a:ext cx="130" cy="86"/>
            </a:xfrm>
            <a:custGeom>
              <a:avLst/>
              <a:gdLst>
                <a:gd name="T0" fmla="*/ 10 w 130"/>
                <a:gd name="T1" fmla="*/ 86 h 86"/>
                <a:gd name="T2" fmla="*/ 0 w 130"/>
                <a:gd name="T3" fmla="*/ 68 h 86"/>
                <a:gd name="T4" fmla="*/ 120 w 130"/>
                <a:gd name="T5" fmla="*/ 0 h 86"/>
                <a:gd name="T6" fmla="*/ 130 w 130"/>
                <a:gd name="T7" fmla="*/ 16 h 86"/>
                <a:gd name="T8" fmla="*/ 10 w 130"/>
                <a:gd name="T9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86">
                  <a:moveTo>
                    <a:pt x="10" y="86"/>
                  </a:moveTo>
                  <a:lnTo>
                    <a:pt x="0" y="68"/>
                  </a:lnTo>
                  <a:lnTo>
                    <a:pt x="120" y="0"/>
                  </a:lnTo>
                  <a:lnTo>
                    <a:pt x="130" y="16"/>
                  </a:lnTo>
                  <a:lnTo>
                    <a:pt x="10" y="86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+mj-lt"/>
              </a:endParaRPr>
            </a:p>
          </p:txBody>
        </p:sp>
        <p:sp>
          <p:nvSpPr>
            <p:cNvPr id="49" name="Freeform 74">
              <a:extLst>
                <a:ext uri="{FF2B5EF4-FFF2-40B4-BE49-F238E27FC236}">
                  <a16:creationId xmlns:a16="http://schemas.microsoft.com/office/drawing/2014/main" id="{8D7BE1F4-9BE4-4F20-B95C-25FE495A4954}"/>
                </a:ext>
              </a:extLst>
            </p:cNvPr>
            <p:cNvSpPr>
              <a:spLocks/>
            </p:cNvSpPr>
            <p:nvPr/>
          </p:nvSpPr>
          <p:spPr bwMode="auto">
            <a:xfrm>
              <a:off x="2027" y="2563"/>
              <a:ext cx="130" cy="86"/>
            </a:xfrm>
            <a:custGeom>
              <a:avLst/>
              <a:gdLst>
                <a:gd name="T0" fmla="*/ 120 w 130"/>
                <a:gd name="T1" fmla="*/ 86 h 86"/>
                <a:gd name="T2" fmla="*/ 0 w 130"/>
                <a:gd name="T3" fmla="*/ 16 h 86"/>
                <a:gd name="T4" fmla="*/ 10 w 130"/>
                <a:gd name="T5" fmla="*/ 0 h 86"/>
                <a:gd name="T6" fmla="*/ 130 w 130"/>
                <a:gd name="T7" fmla="*/ 68 h 86"/>
                <a:gd name="T8" fmla="*/ 120 w 130"/>
                <a:gd name="T9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86">
                  <a:moveTo>
                    <a:pt x="120" y="86"/>
                  </a:moveTo>
                  <a:lnTo>
                    <a:pt x="0" y="16"/>
                  </a:lnTo>
                  <a:lnTo>
                    <a:pt x="10" y="0"/>
                  </a:lnTo>
                  <a:lnTo>
                    <a:pt x="130" y="68"/>
                  </a:lnTo>
                  <a:lnTo>
                    <a:pt x="120" y="86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+mj-lt"/>
              </a:endParaRPr>
            </a:p>
          </p:txBody>
        </p:sp>
        <p:sp>
          <p:nvSpPr>
            <p:cNvPr id="50" name="Rectangle 75">
              <a:extLst>
                <a:ext uri="{FF2B5EF4-FFF2-40B4-BE49-F238E27FC236}">
                  <a16:creationId xmlns:a16="http://schemas.microsoft.com/office/drawing/2014/main" id="{EA6A1144-0FD3-4A72-BA7E-95D8445C7C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15" y="2223"/>
              <a:ext cx="18" cy="180"/>
            </a:xfrm>
            <a:prstGeom prst="rect">
              <a:avLst/>
            </a:pr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+mj-lt"/>
              </a:endParaRPr>
            </a:p>
          </p:txBody>
        </p:sp>
        <p:sp>
          <p:nvSpPr>
            <p:cNvPr id="51" name="Rectangle 76">
              <a:extLst>
                <a:ext uri="{FF2B5EF4-FFF2-40B4-BE49-F238E27FC236}">
                  <a16:creationId xmlns:a16="http://schemas.microsoft.com/office/drawing/2014/main" id="{569A3BD7-79D1-4E16-BD3A-833518A7D4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51" y="2597"/>
              <a:ext cx="20" cy="50"/>
            </a:xfrm>
            <a:prstGeom prst="rect">
              <a:avLst/>
            </a:pr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+mj-lt"/>
              </a:endParaRPr>
            </a:p>
          </p:txBody>
        </p:sp>
        <p:sp>
          <p:nvSpPr>
            <p:cNvPr id="52" name="Rectangle 77">
              <a:extLst>
                <a:ext uri="{FF2B5EF4-FFF2-40B4-BE49-F238E27FC236}">
                  <a16:creationId xmlns:a16="http://schemas.microsoft.com/office/drawing/2014/main" id="{5C2D116B-2925-4633-959B-AEBED7165F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51" y="1981"/>
              <a:ext cx="20" cy="48"/>
            </a:xfrm>
            <a:prstGeom prst="rect">
              <a:avLst/>
            </a:pr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+mj-lt"/>
              </a:endParaRPr>
            </a:p>
          </p:txBody>
        </p:sp>
        <p:sp>
          <p:nvSpPr>
            <p:cNvPr id="53" name="Freeform 78">
              <a:extLst>
                <a:ext uri="{FF2B5EF4-FFF2-40B4-BE49-F238E27FC236}">
                  <a16:creationId xmlns:a16="http://schemas.microsoft.com/office/drawing/2014/main" id="{2EB834E6-8C84-447D-9FA4-F02091E73B4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09" y="2137"/>
              <a:ext cx="50" cy="48"/>
            </a:xfrm>
            <a:custGeom>
              <a:avLst/>
              <a:gdLst>
                <a:gd name="T0" fmla="*/ 14 w 50"/>
                <a:gd name="T1" fmla="*/ 48 h 48"/>
                <a:gd name="T2" fmla="*/ 0 w 50"/>
                <a:gd name="T3" fmla="*/ 36 h 48"/>
                <a:gd name="T4" fmla="*/ 36 w 50"/>
                <a:gd name="T5" fmla="*/ 0 h 48"/>
                <a:gd name="T6" fmla="*/ 50 w 50"/>
                <a:gd name="T7" fmla="*/ 14 h 48"/>
                <a:gd name="T8" fmla="*/ 14 w 50"/>
                <a:gd name="T9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48">
                  <a:moveTo>
                    <a:pt x="14" y="48"/>
                  </a:moveTo>
                  <a:lnTo>
                    <a:pt x="0" y="36"/>
                  </a:lnTo>
                  <a:lnTo>
                    <a:pt x="36" y="0"/>
                  </a:lnTo>
                  <a:lnTo>
                    <a:pt x="50" y="14"/>
                  </a:lnTo>
                  <a:lnTo>
                    <a:pt x="14" y="48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+mj-lt"/>
              </a:endParaRPr>
            </a:p>
          </p:txBody>
        </p:sp>
        <p:sp>
          <p:nvSpPr>
            <p:cNvPr id="54" name="Freeform 79">
              <a:extLst>
                <a:ext uri="{FF2B5EF4-FFF2-40B4-BE49-F238E27FC236}">
                  <a16:creationId xmlns:a16="http://schemas.microsoft.com/office/drawing/2014/main" id="{8568E4E7-133D-4907-802A-5F2C1D053F2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5" y="2447"/>
              <a:ext cx="48" cy="50"/>
            </a:xfrm>
            <a:custGeom>
              <a:avLst/>
              <a:gdLst>
                <a:gd name="T0" fmla="*/ 14 w 48"/>
                <a:gd name="T1" fmla="*/ 50 h 50"/>
                <a:gd name="T2" fmla="*/ 0 w 48"/>
                <a:gd name="T3" fmla="*/ 36 h 50"/>
                <a:gd name="T4" fmla="*/ 36 w 48"/>
                <a:gd name="T5" fmla="*/ 0 h 50"/>
                <a:gd name="T6" fmla="*/ 48 w 48"/>
                <a:gd name="T7" fmla="*/ 14 h 50"/>
                <a:gd name="T8" fmla="*/ 14 w 48"/>
                <a:gd name="T9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50">
                  <a:moveTo>
                    <a:pt x="14" y="50"/>
                  </a:moveTo>
                  <a:lnTo>
                    <a:pt x="0" y="36"/>
                  </a:lnTo>
                  <a:lnTo>
                    <a:pt x="36" y="0"/>
                  </a:lnTo>
                  <a:lnTo>
                    <a:pt x="48" y="14"/>
                  </a:lnTo>
                  <a:lnTo>
                    <a:pt x="14" y="5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+mj-lt"/>
              </a:endParaRPr>
            </a:p>
          </p:txBody>
        </p:sp>
        <p:sp>
          <p:nvSpPr>
            <p:cNvPr id="55" name="Freeform 80">
              <a:extLst>
                <a:ext uri="{FF2B5EF4-FFF2-40B4-BE49-F238E27FC236}">
                  <a16:creationId xmlns:a16="http://schemas.microsoft.com/office/drawing/2014/main" id="{2DF8FA72-559C-4404-A190-AC405F6C141D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5" y="2137"/>
              <a:ext cx="48" cy="48"/>
            </a:xfrm>
            <a:custGeom>
              <a:avLst/>
              <a:gdLst>
                <a:gd name="T0" fmla="*/ 36 w 48"/>
                <a:gd name="T1" fmla="*/ 48 h 48"/>
                <a:gd name="T2" fmla="*/ 0 w 48"/>
                <a:gd name="T3" fmla="*/ 14 h 48"/>
                <a:gd name="T4" fmla="*/ 14 w 48"/>
                <a:gd name="T5" fmla="*/ 0 h 48"/>
                <a:gd name="T6" fmla="*/ 48 w 48"/>
                <a:gd name="T7" fmla="*/ 36 h 48"/>
                <a:gd name="T8" fmla="*/ 36 w 48"/>
                <a:gd name="T9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48">
                  <a:moveTo>
                    <a:pt x="36" y="48"/>
                  </a:moveTo>
                  <a:lnTo>
                    <a:pt x="0" y="14"/>
                  </a:lnTo>
                  <a:lnTo>
                    <a:pt x="14" y="0"/>
                  </a:lnTo>
                  <a:lnTo>
                    <a:pt x="48" y="36"/>
                  </a:lnTo>
                  <a:lnTo>
                    <a:pt x="36" y="48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+mj-lt"/>
              </a:endParaRPr>
            </a:p>
          </p:txBody>
        </p:sp>
        <p:sp>
          <p:nvSpPr>
            <p:cNvPr id="56" name="Freeform 81">
              <a:extLst>
                <a:ext uri="{FF2B5EF4-FFF2-40B4-BE49-F238E27FC236}">
                  <a16:creationId xmlns:a16="http://schemas.microsoft.com/office/drawing/2014/main" id="{AC2C2A03-6F6B-4480-9AB2-44E53E14588F}"/>
                </a:ext>
              </a:extLst>
            </p:cNvPr>
            <p:cNvSpPr>
              <a:spLocks/>
            </p:cNvSpPr>
            <p:nvPr/>
          </p:nvSpPr>
          <p:spPr bwMode="auto">
            <a:xfrm>
              <a:off x="2509" y="2447"/>
              <a:ext cx="50" cy="50"/>
            </a:xfrm>
            <a:custGeom>
              <a:avLst/>
              <a:gdLst>
                <a:gd name="T0" fmla="*/ 36 w 50"/>
                <a:gd name="T1" fmla="*/ 50 h 50"/>
                <a:gd name="T2" fmla="*/ 0 w 50"/>
                <a:gd name="T3" fmla="*/ 14 h 50"/>
                <a:gd name="T4" fmla="*/ 14 w 50"/>
                <a:gd name="T5" fmla="*/ 0 h 50"/>
                <a:gd name="T6" fmla="*/ 50 w 50"/>
                <a:gd name="T7" fmla="*/ 36 h 50"/>
                <a:gd name="T8" fmla="*/ 36 w 50"/>
                <a:gd name="T9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50">
                  <a:moveTo>
                    <a:pt x="36" y="50"/>
                  </a:moveTo>
                  <a:lnTo>
                    <a:pt x="0" y="14"/>
                  </a:lnTo>
                  <a:lnTo>
                    <a:pt x="14" y="0"/>
                  </a:lnTo>
                  <a:lnTo>
                    <a:pt x="50" y="36"/>
                  </a:lnTo>
                  <a:lnTo>
                    <a:pt x="36" y="5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+mj-lt"/>
              </a:endParaRPr>
            </a:p>
          </p:txBody>
        </p:sp>
      </p:grpSp>
      <p:sp>
        <p:nvSpPr>
          <p:cNvPr id="57" name="Rectangle 56">
            <a:extLst>
              <a:ext uri="{FF2B5EF4-FFF2-40B4-BE49-F238E27FC236}">
                <a16:creationId xmlns:a16="http://schemas.microsoft.com/office/drawing/2014/main" id="{B62B315A-EBC6-492A-AFF6-004B7357CAB8}"/>
              </a:ext>
            </a:extLst>
          </p:cNvPr>
          <p:cNvSpPr/>
          <p:nvPr/>
        </p:nvSpPr>
        <p:spPr>
          <a:xfrm>
            <a:off x="1155773" y="4427622"/>
            <a:ext cx="322565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chemeClr val="tx2"/>
                </a:solidFill>
                <a:latin typeface="+mj-lt"/>
              </a:rPr>
              <a:t>Телекоммуникационная аппаратура и электрические устройства</a:t>
            </a:r>
            <a:endParaRPr lang="en-US" sz="1200" b="1" dirty="0">
              <a:solidFill>
                <a:schemeClr val="tx2"/>
              </a:solidFill>
              <a:latin typeface="+mj-lt"/>
            </a:endParaRPr>
          </a:p>
        </p:txBody>
      </p:sp>
      <p:grpSp>
        <p:nvGrpSpPr>
          <p:cNvPr id="58" name="Group 4">
            <a:extLst>
              <a:ext uri="{FF2B5EF4-FFF2-40B4-BE49-F238E27FC236}">
                <a16:creationId xmlns:a16="http://schemas.microsoft.com/office/drawing/2014/main" id="{7AAC67B1-1433-4574-82D2-0FB0F6A5ACE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16198" y="5218237"/>
            <a:ext cx="596087" cy="408501"/>
            <a:chOff x="4416" y="916"/>
            <a:chExt cx="872" cy="602"/>
          </a:xfrm>
        </p:grpSpPr>
        <p:sp>
          <p:nvSpPr>
            <p:cNvPr id="59" name="AutoShape 3">
              <a:extLst>
                <a:ext uri="{FF2B5EF4-FFF2-40B4-BE49-F238E27FC236}">
                  <a16:creationId xmlns:a16="http://schemas.microsoft.com/office/drawing/2014/main" id="{D47B2F28-C07B-4E9C-8D2B-7CEF6D96D66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416" y="916"/>
              <a:ext cx="872" cy="6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+mj-lt"/>
              </a:endParaRPr>
            </a:p>
          </p:txBody>
        </p:sp>
        <p:sp>
          <p:nvSpPr>
            <p:cNvPr id="60" name="Freeform 5">
              <a:extLst>
                <a:ext uri="{FF2B5EF4-FFF2-40B4-BE49-F238E27FC236}">
                  <a16:creationId xmlns:a16="http://schemas.microsoft.com/office/drawing/2014/main" id="{C5BBB754-48F8-456F-9199-E5909A492105}"/>
                </a:ext>
              </a:extLst>
            </p:cNvPr>
            <p:cNvSpPr>
              <a:spLocks/>
            </p:cNvSpPr>
            <p:nvPr/>
          </p:nvSpPr>
          <p:spPr bwMode="auto">
            <a:xfrm>
              <a:off x="4698" y="916"/>
              <a:ext cx="310" cy="486"/>
            </a:xfrm>
            <a:custGeom>
              <a:avLst/>
              <a:gdLst>
                <a:gd name="T0" fmla="*/ 262 w 310"/>
                <a:gd name="T1" fmla="*/ 486 h 486"/>
                <a:gd name="T2" fmla="*/ 0 w 310"/>
                <a:gd name="T3" fmla="*/ 486 h 486"/>
                <a:gd name="T4" fmla="*/ 0 w 310"/>
                <a:gd name="T5" fmla="*/ 468 h 486"/>
                <a:gd name="T6" fmla="*/ 262 w 310"/>
                <a:gd name="T7" fmla="*/ 468 h 486"/>
                <a:gd name="T8" fmla="*/ 262 w 310"/>
                <a:gd name="T9" fmla="*/ 468 h 486"/>
                <a:gd name="T10" fmla="*/ 274 w 310"/>
                <a:gd name="T11" fmla="*/ 466 h 486"/>
                <a:gd name="T12" fmla="*/ 284 w 310"/>
                <a:gd name="T13" fmla="*/ 458 h 486"/>
                <a:gd name="T14" fmla="*/ 290 w 310"/>
                <a:gd name="T15" fmla="*/ 450 h 486"/>
                <a:gd name="T16" fmla="*/ 292 w 310"/>
                <a:gd name="T17" fmla="*/ 438 h 486"/>
                <a:gd name="T18" fmla="*/ 292 w 310"/>
                <a:gd name="T19" fmla="*/ 48 h 486"/>
                <a:gd name="T20" fmla="*/ 292 w 310"/>
                <a:gd name="T21" fmla="*/ 48 h 486"/>
                <a:gd name="T22" fmla="*/ 290 w 310"/>
                <a:gd name="T23" fmla="*/ 36 h 486"/>
                <a:gd name="T24" fmla="*/ 284 w 310"/>
                <a:gd name="T25" fmla="*/ 28 h 486"/>
                <a:gd name="T26" fmla="*/ 274 w 310"/>
                <a:gd name="T27" fmla="*/ 22 h 486"/>
                <a:gd name="T28" fmla="*/ 262 w 310"/>
                <a:gd name="T29" fmla="*/ 18 h 486"/>
                <a:gd name="T30" fmla="*/ 162 w 310"/>
                <a:gd name="T31" fmla="*/ 18 h 486"/>
                <a:gd name="T32" fmla="*/ 162 w 310"/>
                <a:gd name="T33" fmla="*/ 0 h 486"/>
                <a:gd name="T34" fmla="*/ 262 w 310"/>
                <a:gd name="T35" fmla="*/ 0 h 486"/>
                <a:gd name="T36" fmla="*/ 262 w 310"/>
                <a:gd name="T37" fmla="*/ 0 h 486"/>
                <a:gd name="T38" fmla="*/ 272 w 310"/>
                <a:gd name="T39" fmla="*/ 2 h 486"/>
                <a:gd name="T40" fmla="*/ 280 w 310"/>
                <a:gd name="T41" fmla="*/ 4 h 486"/>
                <a:gd name="T42" fmla="*/ 288 w 310"/>
                <a:gd name="T43" fmla="*/ 8 h 486"/>
                <a:gd name="T44" fmla="*/ 296 w 310"/>
                <a:gd name="T45" fmla="*/ 14 h 486"/>
                <a:gd name="T46" fmla="*/ 302 w 310"/>
                <a:gd name="T47" fmla="*/ 22 h 486"/>
                <a:gd name="T48" fmla="*/ 306 w 310"/>
                <a:gd name="T49" fmla="*/ 30 h 486"/>
                <a:gd name="T50" fmla="*/ 308 w 310"/>
                <a:gd name="T51" fmla="*/ 38 h 486"/>
                <a:gd name="T52" fmla="*/ 310 w 310"/>
                <a:gd name="T53" fmla="*/ 48 h 486"/>
                <a:gd name="T54" fmla="*/ 310 w 310"/>
                <a:gd name="T55" fmla="*/ 438 h 486"/>
                <a:gd name="T56" fmla="*/ 310 w 310"/>
                <a:gd name="T57" fmla="*/ 438 h 486"/>
                <a:gd name="T58" fmla="*/ 308 w 310"/>
                <a:gd name="T59" fmla="*/ 448 h 486"/>
                <a:gd name="T60" fmla="*/ 306 w 310"/>
                <a:gd name="T61" fmla="*/ 456 h 486"/>
                <a:gd name="T62" fmla="*/ 302 w 310"/>
                <a:gd name="T63" fmla="*/ 464 h 486"/>
                <a:gd name="T64" fmla="*/ 296 w 310"/>
                <a:gd name="T65" fmla="*/ 472 h 486"/>
                <a:gd name="T66" fmla="*/ 288 w 310"/>
                <a:gd name="T67" fmla="*/ 478 h 486"/>
                <a:gd name="T68" fmla="*/ 280 w 310"/>
                <a:gd name="T69" fmla="*/ 482 h 486"/>
                <a:gd name="T70" fmla="*/ 272 w 310"/>
                <a:gd name="T71" fmla="*/ 484 h 486"/>
                <a:gd name="T72" fmla="*/ 262 w 310"/>
                <a:gd name="T73" fmla="*/ 486 h 486"/>
                <a:gd name="T74" fmla="*/ 262 w 310"/>
                <a:gd name="T75" fmla="*/ 486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10" h="486">
                  <a:moveTo>
                    <a:pt x="262" y="486"/>
                  </a:moveTo>
                  <a:lnTo>
                    <a:pt x="0" y="486"/>
                  </a:lnTo>
                  <a:lnTo>
                    <a:pt x="0" y="468"/>
                  </a:lnTo>
                  <a:lnTo>
                    <a:pt x="262" y="468"/>
                  </a:lnTo>
                  <a:lnTo>
                    <a:pt x="262" y="468"/>
                  </a:lnTo>
                  <a:lnTo>
                    <a:pt x="274" y="466"/>
                  </a:lnTo>
                  <a:lnTo>
                    <a:pt x="284" y="458"/>
                  </a:lnTo>
                  <a:lnTo>
                    <a:pt x="290" y="450"/>
                  </a:lnTo>
                  <a:lnTo>
                    <a:pt x="292" y="438"/>
                  </a:lnTo>
                  <a:lnTo>
                    <a:pt x="292" y="48"/>
                  </a:lnTo>
                  <a:lnTo>
                    <a:pt x="292" y="48"/>
                  </a:lnTo>
                  <a:lnTo>
                    <a:pt x="290" y="36"/>
                  </a:lnTo>
                  <a:lnTo>
                    <a:pt x="284" y="28"/>
                  </a:lnTo>
                  <a:lnTo>
                    <a:pt x="274" y="22"/>
                  </a:lnTo>
                  <a:lnTo>
                    <a:pt x="262" y="18"/>
                  </a:lnTo>
                  <a:lnTo>
                    <a:pt x="162" y="18"/>
                  </a:lnTo>
                  <a:lnTo>
                    <a:pt x="162" y="0"/>
                  </a:lnTo>
                  <a:lnTo>
                    <a:pt x="262" y="0"/>
                  </a:lnTo>
                  <a:lnTo>
                    <a:pt x="262" y="0"/>
                  </a:lnTo>
                  <a:lnTo>
                    <a:pt x="272" y="2"/>
                  </a:lnTo>
                  <a:lnTo>
                    <a:pt x="280" y="4"/>
                  </a:lnTo>
                  <a:lnTo>
                    <a:pt x="288" y="8"/>
                  </a:lnTo>
                  <a:lnTo>
                    <a:pt x="296" y="14"/>
                  </a:lnTo>
                  <a:lnTo>
                    <a:pt x="302" y="22"/>
                  </a:lnTo>
                  <a:lnTo>
                    <a:pt x="306" y="30"/>
                  </a:lnTo>
                  <a:lnTo>
                    <a:pt x="308" y="38"/>
                  </a:lnTo>
                  <a:lnTo>
                    <a:pt x="310" y="48"/>
                  </a:lnTo>
                  <a:lnTo>
                    <a:pt x="310" y="438"/>
                  </a:lnTo>
                  <a:lnTo>
                    <a:pt x="310" y="438"/>
                  </a:lnTo>
                  <a:lnTo>
                    <a:pt x="308" y="448"/>
                  </a:lnTo>
                  <a:lnTo>
                    <a:pt x="306" y="456"/>
                  </a:lnTo>
                  <a:lnTo>
                    <a:pt x="302" y="464"/>
                  </a:lnTo>
                  <a:lnTo>
                    <a:pt x="296" y="472"/>
                  </a:lnTo>
                  <a:lnTo>
                    <a:pt x="288" y="478"/>
                  </a:lnTo>
                  <a:lnTo>
                    <a:pt x="280" y="482"/>
                  </a:lnTo>
                  <a:lnTo>
                    <a:pt x="272" y="484"/>
                  </a:lnTo>
                  <a:lnTo>
                    <a:pt x="262" y="486"/>
                  </a:lnTo>
                  <a:lnTo>
                    <a:pt x="262" y="486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+mj-lt"/>
              </a:endParaRPr>
            </a:p>
          </p:txBody>
        </p:sp>
        <p:sp>
          <p:nvSpPr>
            <p:cNvPr id="61" name="Freeform 6">
              <a:extLst>
                <a:ext uri="{FF2B5EF4-FFF2-40B4-BE49-F238E27FC236}">
                  <a16:creationId xmlns:a16="http://schemas.microsoft.com/office/drawing/2014/main" id="{9915B221-922A-4AF7-AABF-B4B020B1B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6" y="916"/>
              <a:ext cx="462" cy="486"/>
            </a:xfrm>
            <a:custGeom>
              <a:avLst/>
              <a:gdLst>
                <a:gd name="T0" fmla="*/ 190 w 462"/>
                <a:gd name="T1" fmla="*/ 486 h 486"/>
                <a:gd name="T2" fmla="*/ 46 w 462"/>
                <a:gd name="T3" fmla="*/ 486 h 486"/>
                <a:gd name="T4" fmla="*/ 46 w 462"/>
                <a:gd name="T5" fmla="*/ 486 h 486"/>
                <a:gd name="T6" fmla="*/ 38 w 462"/>
                <a:gd name="T7" fmla="*/ 484 h 486"/>
                <a:gd name="T8" fmla="*/ 28 w 462"/>
                <a:gd name="T9" fmla="*/ 482 h 486"/>
                <a:gd name="T10" fmla="*/ 20 w 462"/>
                <a:gd name="T11" fmla="*/ 478 h 486"/>
                <a:gd name="T12" fmla="*/ 14 w 462"/>
                <a:gd name="T13" fmla="*/ 472 h 486"/>
                <a:gd name="T14" fmla="*/ 8 w 462"/>
                <a:gd name="T15" fmla="*/ 464 h 486"/>
                <a:gd name="T16" fmla="*/ 4 w 462"/>
                <a:gd name="T17" fmla="*/ 456 h 486"/>
                <a:gd name="T18" fmla="*/ 0 w 462"/>
                <a:gd name="T19" fmla="*/ 448 h 486"/>
                <a:gd name="T20" fmla="*/ 0 w 462"/>
                <a:gd name="T21" fmla="*/ 438 h 486"/>
                <a:gd name="T22" fmla="*/ 0 w 462"/>
                <a:gd name="T23" fmla="*/ 48 h 486"/>
                <a:gd name="T24" fmla="*/ 0 w 462"/>
                <a:gd name="T25" fmla="*/ 48 h 486"/>
                <a:gd name="T26" fmla="*/ 0 w 462"/>
                <a:gd name="T27" fmla="*/ 38 h 486"/>
                <a:gd name="T28" fmla="*/ 4 w 462"/>
                <a:gd name="T29" fmla="*/ 30 h 486"/>
                <a:gd name="T30" fmla="*/ 8 w 462"/>
                <a:gd name="T31" fmla="*/ 22 h 486"/>
                <a:gd name="T32" fmla="*/ 14 w 462"/>
                <a:gd name="T33" fmla="*/ 14 h 486"/>
                <a:gd name="T34" fmla="*/ 20 w 462"/>
                <a:gd name="T35" fmla="*/ 8 h 486"/>
                <a:gd name="T36" fmla="*/ 28 w 462"/>
                <a:gd name="T37" fmla="*/ 4 h 486"/>
                <a:gd name="T38" fmla="*/ 38 w 462"/>
                <a:gd name="T39" fmla="*/ 2 h 486"/>
                <a:gd name="T40" fmla="*/ 46 w 462"/>
                <a:gd name="T41" fmla="*/ 0 h 486"/>
                <a:gd name="T42" fmla="*/ 462 w 462"/>
                <a:gd name="T43" fmla="*/ 0 h 486"/>
                <a:gd name="T44" fmla="*/ 462 w 462"/>
                <a:gd name="T45" fmla="*/ 18 h 486"/>
                <a:gd name="T46" fmla="*/ 46 w 462"/>
                <a:gd name="T47" fmla="*/ 18 h 486"/>
                <a:gd name="T48" fmla="*/ 46 w 462"/>
                <a:gd name="T49" fmla="*/ 18 h 486"/>
                <a:gd name="T50" fmla="*/ 36 w 462"/>
                <a:gd name="T51" fmla="*/ 22 h 486"/>
                <a:gd name="T52" fmla="*/ 26 w 462"/>
                <a:gd name="T53" fmla="*/ 28 h 486"/>
                <a:gd name="T54" fmla="*/ 20 w 462"/>
                <a:gd name="T55" fmla="*/ 36 h 486"/>
                <a:gd name="T56" fmla="*/ 18 w 462"/>
                <a:gd name="T57" fmla="*/ 48 h 486"/>
                <a:gd name="T58" fmla="*/ 18 w 462"/>
                <a:gd name="T59" fmla="*/ 438 h 486"/>
                <a:gd name="T60" fmla="*/ 18 w 462"/>
                <a:gd name="T61" fmla="*/ 438 h 486"/>
                <a:gd name="T62" fmla="*/ 20 w 462"/>
                <a:gd name="T63" fmla="*/ 450 h 486"/>
                <a:gd name="T64" fmla="*/ 26 w 462"/>
                <a:gd name="T65" fmla="*/ 458 h 486"/>
                <a:gd name="T66" fmla="*/ 36 w 462"/>
                <a:gd name="T67" fmla="*/ 466 h 486"/>
                <a:gd name="T68" fmla="*/ 46 w 462"/>
                <a:gd name="T69" fmla="*/ 468 h 486"/>
                <a:gd name="T70" fmla="*/ 190 w 462"/>
                <a:gd name="T71" fmla="*/ 468 h 486"/>
                <a:gd name="T72" fmla="*/ 190 w 462"/>
                <a:gd name="T73" fmla="*/ 486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62" h="486">
                  <a:moveTo>
                    <a:pt x="190" y="486"/>
                  </a:moveTo>
                  <a:lnTo>
                    <a:pt x="46" y="486"/>
                  </a:lnTo>
                  <a:lnTo>
                    <a:pt x="46" y="486"/>
                  </a:lnTo>
                  <a:lnTo>
                    <a:pt x="38" y="484"/>
                  </a:lnTo>
                  <a:lnTo>
                    <a:pt x="28" y="482"/>
                  </a:lnTo>
                  <a:lnTo>
                    <a:pt x="20" y="478"/>
                  </a:lnTo>
                  <a:lnTo>
                    <a:pt x="14" y="472"/>
                  </a:lnTo>
                  <a:lnTo>
                    <a:pt x="8" y="464"/>
                  </a:lnTo>
                  <a:lnTo>
                    <a:pt x="4" y="456"/>
                  </a:lnTo>
                  <a:lnTo>
                    <a:pt x="0" y="448"/>
                  </a:lnTo>
                  <a:lnTo>
                    <a:pt x="0" y="43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38"/>
                  </a:lnTo>
                  <a:lnTo>
                    <a:pt x="4" y="30"/>
                  </a:lnTo>
                  <a:lnTo>
                    <a:pt x="8" y="22"/>
                  </a:lnTo>
                  <a:lnTo>
                    <a:pt x="14" y="14"/>
                  </a:lnTo>
                  <a:lnTo>
                    <a:pt x="20" y="8"/>
                  </a:lnTo>
                  <a:lnTo>
                    <a:pt x="28" y="4"/>
                  </a:lnTo>
                  <a:lnTo>
                    <a:pt x="38" y="2"/>
                  </a:lnTo>
                  <a:lnTo>
                    <a:pt x="46" y="0"/>
                  </a:lnTo>
                  <a:lnTo>
                    <a:pt x="462" y="0"/>
                  </a:lnTo>
                  <a:lnTo>
                    <a:pt x="462" y="18"/>
                  </a:lnTo>
                  <a:lnTo>
                    <a:pt x="46" y="18"/>
                  </a:lnTo>
                  <a:lnTo>
                    <a:pt x="46" y="18"/>
                  </a:lnTo>
                  <a:lnTo>
                    <a:pt x="36" y="22"/>
                  </a:lnTo>
                  <a:lnTo>
                    <a:pt x="26" y="28"/>
                  </a:lnTo>
                  <a:lnTo>
                    <a:pt x="20" y="36"/>
                  </a:lnTo>
                  <a:lnTo>
                    <a:pt x="18" y="48"/>
                  </a:lnTo>
                  <a:lnTo>
                    <a:pt x="18" y="438"/>
                  </a:lnTo>
                  <a:lnTo>
                    <a:pt x="18" y="438"/>
                  </a:lnTo>
                  <a:lnTo>
                    <a:pt x="20" y="450"/>
                  </a:lnTo>
                  <a:lnTo>
                    <a:pt x="26" y="458"/>
                  </a:lnTo>
                  <a:lnTo>
                    <a:pt x="36" y="466"/>
                  </a:lnTo>
                  <a:lnTo>
                    <a:pt x="46" y="468"/>
                  </a:lnTo>
                  <a:lnTo>
                    <a:pt x="190" y="468"/>
                  </a:lnTo>
                  <a:lnTo>
                    <a:pt x="190" y="486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+mj-lt"/>
              </a:endParaRPr>
            </a:p>
          </p:txBody>
        </p:sp>
        <p:sp>
          <p:nvSpPr>
            <p:cNvPr id="62" name="Freeform 7">
              <a:extLst>
                <a:ext uri="{FF2B5EF4-FFF2-40B4-BE49-F238E27FC236}">
                  <a16:creationId xmlns:a16="http://schemas.microsoft.com/office/drawing/2014/main" id="{C62BAA20-EEFE-4432-9ECF-FC75A86E4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0" y="1110"/>
              <a:ext cx="278" cy="284"/>
            </a:xfrm>
            <a:custGeom>
              <a:avLst/>
              <a:gdLst>
                <a:gd name="T0" fmla="*/ 252 w 278"/>
                <a:gd name="T1" fmla="*/ 284 h 284"/>
                <a:gd name="T2" fmla="*/ 244 w 278"/>
                <a:gd name="T3" fmla="*/ 284 h 284"/>
                <a:gd name="T4" fmla="*/ 244 w 278"/>
                <a:gd name="T5" fmla="*/ 266 h 284"/>
                <a:gd name="T6" fmla="*/ 252 w 278"/>
                <a:gd name="T7" fmla="*/ 266 h 284"/>
                <a:gd name="T8" fmla="*/ 252 w 278"/>
                <a:gd name="T9" fmla="*/ 266 h 284"/>
                <a:gd name="T10" fmla="*/ 256 w 278"/>
                <a:gd name="T11" fmla="*/ 266 h 284"/>
                <a:gd name="T12" fmla="*/ 258 w 278"/>
                <a:gd name="T13" fmla="*/ 264 h 284"/>
                <a:gd name="T14" fmla="*/ 260 w 278"/>
                <a:gd name="T15" fmla="*/ 262 h 284"/>
                <a:gd name="T16" fmla="*/ 260 w 278"/>
                <a:gd name="T17" fmla="*/ 258 h 284"/>
                <a:gd name="T18" fmla="*/ 260 w 278"/>
                <a:gd name="T19" fmla="*/ 178 h 284"/>
                <a:gd name="T20" fmla="*/ 260 w 278"/>
                <a:gd name="T21" fmla="*/ 178 h 284"/>
                <a:gd name="T22" fmla="*/ 260 w 278"/>
                <a:gd name="T23" fmla="*/ 174 h 284"/>
                <a:gd name="T24" fmla="*/ 186 w 278"/>
                <a:gd name="T25" fmla="*/ 22 h 284"/>
                <a:gd name="T26" fmla="*/ 186 w 278"/>
                <a:gd name="T27" fmla="*/ 22 h 284"/>
                <a:gd name="T28" fmla="*/ 182 w 278"/>
                <a:gd name="T29" fmla="*/ 18 h 284"/>
                <a:gd name="T30" fmla="*/ 178 w 278"/>
                <a:gd name="T31" fmla="*/ 18 h 284"/>
                <a:gd name="T32" fmla="*/ 26 w 278"/>
                <a:gd name="T33" fmla="*/ 18 h 284"/>
                <a:gd name="T34" fmla="*/ 26 w 278"/>
                <a:gd name="T35" fmla="*/ 18 h 284"/>
                <a:gd name="T36" fmla="*/ 22 w 278"/>
                <a:gd name="T37" fmla="*/ 18 h 284"/>
                <a:gd name="T38" fmla="*/ 20 w 278"/>
                <a:gd name="T39" fmla="*/ 20 h 284"/>
                <a:gd name="T40" fmla="*/ 18 w 278"/>
                <a:gd name="T41" fmla="*/ 22 h 284"/>
                <a:gd name="T42" fmla="*/ 18 w 278"/>
                <a:gd name="T43" fmla="*/ 26 h 284"/>
                <a:gd name="T44" fmla="*/ 18 w 278"/>
                <a:gd name="T45" fmla="*/ 234 h 284"/>
                <a:gd name="T46" fmla="*/ 0 w 278"/>
                <a:gd name="T47" fmla="*/ 234 h 284"/>
                <a:gd name="T48" fmla="*/ 0 w 278"/>
                <a:gd name="T49" fmla="*/ 26 h 284"/>
                <a:gd name="T50" fmla="*/ 0 w 278"/>
                <a:gd name="T51" fmla="*/ 26 h 284"/>
                <a:gd name="T52" fmla="*/ 2 w 278"/>
                <a:gd name="T53" fmla="*/ 16 h 284"/>
                <a:gd name="T54" fmla="*/ 8 w 278"/>
                <a:gd name="T55" fmla="*/ 8 h 284"/>
                <a:gd name="T56" fmla="*/ 16 w 278"/>
                <a:gd name="T57" fmla="*/ 2 h 284"/>
                <a:gd name="T58" fmla="*/ 26 w 278"/>
                <a:gd name="T59" fmla="*/ 0 h 284"/>
                <a:gd name="T60" fmla="*/ 178 w 278"/>
                <a:gd name="T61" fmla="*/ 0 h 284"/>
                <a:gd name="T62" fmla="*/ 178 w 278"/>
                <a:gd name="T63" fmla="*/ 0 h 284"/>
                <a:gd name="T64" fmla="*/ 186 w 278"/>
                <a:gd name="T65" fmla="*/ 0 h 284"/>
                <a:gd name="T66" fmla="*/ 192 w 278"/>
                <a:gd name="T67" fmla="*/ 4 h 284"/>
                <a:gd name="T68" fmla="*/ 198 w 278"/>
                <a:gd name="T69" fmla="*/ 8 h 284"/>
                <a:gd name="T70" fmla="*/ 202 w 278"/>
                <a:gd name="T71" fmla="*/ 14 h 284"/>
                <a:gd name="T72" fmla="*/ 276 w 278"/>
                <a:gd name="T73" fmla="*/ 166 h 284"/>
                <a:gd name="T74" fmla="*/ 276 w 278"/>
                <a:gd name="T75" fmla="*/ 166 h 284"/>
                <a:gd name="T76" fmla="*/ 278 w 278"/>
                <a:gd name="T77" fmla="*/ 172 h 284"/>
                <a:gd name="T78" fmla="*/ 278 w 278"/>
                <a:gd name="T79" fmla="*/ 178 h 284"/>
                <a:gd name="T80" fmla="*/ 278 w 278"/>
                <a:gd name="T81" fmla="*/ 258 h 284"/>
                <a:gd name="T82" fmla="*/ 278 w 278"/>
                <a:gd name="T83" fmla="*/ 258 h 284"/>
                <a:gd name="T84" fmla="*/ 276 w 278"/>
                <a:gd name="T85" fmla="*/ 268 h 284"/>
                <a:gd name="T86" fmla="*/ 272 w 278"/>
                <a:gd name="T87" fmla="*/ 278 h 284"/>
                <a:gd name="T88" fmla="*/ 262 w 278"/>
                <a:gd name="T89" fmla="*/ 282 h 284"/>
                <a:gd name="T90" fmla="*/ 252 w 278"/>
                <a:gd name="T91" fmla="*/ 284 h 284"/>
                <a:gd name="T92" fmla="*/ 252 w 278"/>
                <a:gd name="T93" fmla="*/ 284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78" h="284">
                  <a:moveTo>
                    <a:pt x="252" y="284"/>
                  </a:moveTo>
                  <a:lnTo>
                    <a:pt x="244" y="284"/>
                  </a:lnTo>
                  <a:lnTo>
                    <a:pt x="244" y="266"/>
                  </a:lnTo>
                  <a:lnTo>
                    <a:pt x="252" y="266"/>
                  </a:lnTo>
                  <a:lnTo>
                    <a:pt x="252" y="266"/>
                  </a:lnTo>
                  <a:lnTo>
                    <a:pt x="256" y="266"/>
                  </a:lnTo>
                  <a:lnTo>
                    <a:pt x="258" y="264"/>
                  </a:lnTo>
                  <a:lnTo>
                    <a:pt x="260" y="262"/>
                  </a:lnTo>
                  <a:lnTo>
                    <a:pt x="260" y="258"/>
                  </a:lnTo>
                  <a:lnTo>
                    <a:pt x="260" y="178"/>
                  </a:lnTo>
                  <a:lnTo>
                    <a:pt x="260" y="178"/>
                  </a:lnTo>
                  <a:lnTo>
                    <a:pt x="260" y="174"/>
                  </a:lnTo>
                  <a:lnTo>
                    <a:pt x="186" y="22"/>
                  </a:lnTo>
                  <a:lnTo>
                    <a:pt x="186" y="22"/>
                  </a:lnTo>
                  <a:lnTo>
                    <a:pt x="182" y="18"/>
                  </a:lnTo>
                  <a:lnTo>
                    <a:pt x="178" y="1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2" y="18"/>
                  </a:lnTo>
                  <a:lnTo>
                    <a:pt x="20" y="20"/>
                  </a:lnTo>
                  <a:lnTo>
                    <a:pt x="18" y="22"/>
                  </a:lnTo>
                  <a:lnTo>
                    <a:pt x="18" y="26"/>
                  </a:lnTo>
                  <a:lnTo>
                    <a:pt x="18" y="234"/>
                  </a:lnTo>
                  <a:lnTo>
                    <a:pt x="0" y="234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8" y="8"/>
                  </a:lnTo>
                  <a:lnTo>
                    <a:pt x="16" y="2"/>
                  </a:lnTo>
                  <a:lnTo>
                    <a:pt x="26" y="0"/>
                  </a:lnTo>
                  <a:lnTo>
                    <a:pt x="178" y="0"/>
                  </a:lnTo>
                  <a:lnTo>
                    <a:pt x="178" y="0"/>
                  </a:lnTo>
                  <a:lnTo>
                    <a:pt x="186" y="0"/>
                  </a:lnTo>
                  <a:lnTo>
                    <a:pt x="192" y="4"/>
                  </a:lnTo>
                  <a:lnTo>
                    <a:pt x="198" y="8"/>
                  </a:lnTo>
                  <a:lnTo>
                    <a:pt x="202" y="14"/>
                  </a:lnTo>
                  <a:lnTo>
                    <a:pt x="276" y="166"/>
                  </a:lnTo>
                  <a:lnTo>
                    <a:pt x="276" y="166"/>
                  </a:lnTo>
                  <a:lnTo>
                    <a:pt x="278" y="172"/>
                  </a:lnTo>
                  <a:lnTo>
                    <a:pt x="278" y="178"/>
                  </a:lnTo>
                  <a:lnTo>
                    <a:pt x="278" y="258"/>
                  </a:lnTo>
                  <a:lnTo>
                    <a:pt x="278" y="258"/>
                  </a:lnTo>
                  <a:lnTo>
                    <a:pt x="276" y="268"/>
                  </a:lnTo>
                  <a:lnTo>
                    <a:pt x="272" y="278"/>
                  </a:lnTo>
                  <a:lnTo>
                    <a:pt x="262" y="282"/>
                  </a:lnTo>
                  <a:lnTo>
                    <a:pt x="252" y="284"/>
                  </a:lnTo>
                  <a:lnTo>
                    <a:pt x="252" y="284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+mj-lt"/>
              </a:endParaRPr>
            </a:p>
          </p:txBody>
        </p:sp>
        <p:sp>
          <p:nvSpPr>
            <p:cNvPr id="63" name="Freeform 8">
              <a:extLst>
                <a:ext uri="{FF2B5EF4-FFF2-40B4-BE49-F238E27FC236}">
                  <a16:creationId xmlns:a16="http://schemas.microsoft.com/office/drawing/2014/main" id="{D577C680-1214-4348-BCD8-69BE108248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58" y="1144"/>
              <a:ext cx="154" cy="116"/>
            </a:xfrm>
            <a:custGeom>
              <a:avLst/>
              <a:gdLst>
                <a:gd name="T0" fmla="*/ 136 w 154"/>
                <a:gd name="T1" fmla="*/ 116 h 116"/>
                <a:gd name="T2" fmla="*/ 18 w 154"/>
                <a:gd name="T3" fmla="*/ 116 h 116"/>
                <a:gd name="T4" fmla="*/ 18 w 154"/>
                <a:gd name="T5" fmla="*/ 116 h 116"/>
                <a:gd name="T6" fmla="*/ 10 w 154"/>
                <a:gd name="T7" fmla="*/ 116 h 116"/>
                <a:gd name="T8" fmla="*/ 4 w 154"/>
                <a:gd name="T9" fmla="*/ 112 h 116"/>
                <a:gd name="T10" fmla="*/ 0 w 154"/>
                <a:gd name="T11" fmla="*/ 106 h 116"/>
                <a:gd name="T12" fmla="*/ 0 w 154"/>
                <a:gd name="T13" fmla="*/ 98 h 116"/>
                <a:gd name="T14" fmla="*/ 0 w 154"/>
                <a:gd name="T15" fmla="*/ 18 h 116"/>
                <a:gd name="T16" fmla="*/ 0 w 154"/>
                <a:gd name="T17" fmla="*/ 18 h 116"/>
                <a:gd name="T18" fmla="*/ 0 w 154"/>
                <a:gd name="T19" fmla="*/ 10 h 116"/>
                <a:gd name="T20" fmla="*/ 4 w 154"/>
                <a:gd name="T21" fmla="*/ 4 h 116"/>
                <a:gd name="T22" fmla="*/ 10 w 154"/>
                <a:gd name="T23" fmla="*/ 0 h 116"/>
                <a:gd name="T24" fmla="*/ 18 w 154"/>
                <a:gd name="T25" fmla="*/ 0 h 116"/>
                <a:gd name="T26" fmla="*/ 96 w 154"/>
                <a:gd name="T27" fmla="*/ 0 h 116"/>
                <a:gd name="T28" fmla="*/ 96 w 154"/>
                <a:gd name="T29" fmla="*/ 0 h 116"/>
                <a:gd name="T30" fmla="*/ 102 w 154"/>
                <a:gd name="T31" fmla="*/ 0 h 116"/>
                <a:gd name="T32" fmla="*/ 106 w 154"/>
                <a:gd name="T33" fmla="*/ 2 h 116"/>
                <a:gd name="T34" fmla="*/ 110 w 154"/>
                <a:gd name="T35" fmla="*/ 6 h 116"/>
                <a:gd name="T36" fmla="*/ 112 w 154"/>
                <a:gd name="T37" fmla="*/ 10 h 116"/>
                <a:gd name="T38" fmla="*/ 152 w 154"/>
                <a:gd name="T39" fmla="*/ 90 h 116"/>
                <a:gd name="T40" fmla="*/ 152 w 154"/>
                <a:gd name="T41" fmla="*/ 90 h 116"/>
                <a:gd name="T42" fmla="*/ 154 w 154"/>
                <a:gd name="T43" fmla="*/ 94 h 116"/>
                <a:gd name="T44" fmla="*/ 154 w 154"/>
                <a:gd name="T45" fmla="*/ 98 h 116"/>
                <a:gd name="T46" fmla="*/ 154 w 154"/>
                <a:gd name="T47" fmla="*/ 104 h 116"/>
                <a:gd name="T48" fmla="*/ 152 w 154"/>
                <a:gd name="T49" fmla="*/ 108 h 116"/>
                <a:gd name="T50" fmla="*/ 152 w 154"/>
                <a:gd name="T51" fmla="*/ 108 h 116"/>
                <a:gd name="T52" fmla="*/ 150 w 154"/>
                <a:gd name="T53" fmla="*/ 112 h 116"/>
                <a:gd name="T54" fmla="*/ 146 w 154"/>
                <a:gd name="T55" fmla="*/ 114 h 116"/>
                <a:gd name="T56" fmla="*/ 142 w 154"/>
                <a:gd name="T57" fmla="*/ 116 h 116"/>
                <a:gd name="T58" fmla="*/ 136 w 154"/>
                <a:gd name="T59" fmla="*/ 116 h 116"/>
                <a:gd name="T60" fmla="*/ 136 w 154"/>
                <a:gd name="T61" fmla="*/ 116 h 116"/>
                <a:gd name="T62" fmla="*/ 18 w 154"/>
                <a:gd name="T63" fmla="*/ 18 h 116"/>
                <a:gd name="T64" fmla="*/ 18 w 154"/>
                <a:gd name="T65" fmla="*/ 98 h 116"/>
                <a:gd name="T66" fmla="*/ 136 w 154"/>
                <a:gd name="T67" fmla="*/ 98 h 116"/>
                <a:gd name="T68" fmla="*/ 136 w 154"/>
                <a:gd name="T69" fmla="*/ 98 h 116"/>
                <a:gd name="T70" fmla="*/ 136 w 154"/>
                <a:gd name="T71" fmla="*/ 98 h 116"/>
                <a:gd name="T72" fmla="*/ 96 w 154"/>
                <a:gd name="T73" fmla="*/ 18 h 116"/>
                <a:gd name="T74" fmla="*/ 18 w 154"/>
                <a:gd name="T75" fmla="*/ 1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54" h="116">
                  <a:moveTo>
                    <a:pt x="136" y="116"/>
                  </a:moveTo>
                  <a:lnTo>
                    <a:pt x="18" y="116"/>
                  </a:lnTo>
                  <a:lnTo>
                    <a:pt x="18" y="116"/>
                  </a:lnTo>
                  <a:lnTo>
                    <a:pt x="10" y="116"/>
                  </a:lnTo>
                  <a:lnTo>
                    <a:pt x="4" y="112"/>
                  </a:lnTo>
                  <a:lnTo>
                    <a:pt x="0" y="106"/>
                  </a:lnTo>
                  <a:lnTo>
                    <a:pt x="0" y="9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0"/>
                  </a:lnTo>
                  <a:lnTo>
                    <a:pt x="4" y="4"/>
                  </a:lnTo>
                  <a:lnTo>
                    <a:pt x="10" y="0"/>
                  </a:lnTo>
                  <a:lnTo>
                    <a:pt x="18" y="0"/>
                  </a:lnTo>
                  <a:lnTo>
                    <a:pt x="96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06" y="2"/>
                  </a:lnTo>
                  <a:lnTo>
                    <a:pt x="110" y="6"/>
                  </a:lnTo>
                  <a:lnTo>
                    <a:pt x="112" y="10"/>
                  </a:lnTo>
                  <a:lnTo>
                    <a:pt x="152" y="90"/>
                  </a:lnTo>
                  <a:lnTo>
                    <a:pt x="152" y="90"/>
                  </a:lnTo>
                  <a:lnTo>
                    <a:pt x="154" y="94"/>
                  </a:lnTo>
                  <a:lnTo>
                    <a:pt x="154" y="98"/>
                  </a:lnTo>
                  <a:lnTo>
                    <a:pt x="154" y="104"/>
                  </a:lnTo>
                  <a:lnTo>
                    <a:pt x="152" y="108"/>
                  </a:lnTo>
                  <a:lnTo>
                    <a:pt x="152" y="108"/>
                  </a:lnTo>
                  <a:lnTo>
                    <a:pt x="150" y="112"/>
                  </a:lnTo>
                  <a:lnTo>
                    <a:pt x="146" y="114"/>
                  </a:lnTo>
                  <a:lnTo>
                    <a:pt x="142" y="116"/>
                  </a:lnTo>
                  <a:lnTo>
                    <a:pt x="136" y="116"/>
                  </a:lnTo>
                  <a:lnTo>
                    <a:pt x="136" y="116"/>
                  </a:lnTo>
                  <a:close/>
                  <a:moveTo>
                    <a:pt x="18" y="18"/>
                  </a:moveTo>
                  <a:lnTo>
                    <a:pt x="18" y="98"/>
                  </a:lnTo>
                  <a:lnTo>
                    <a:pt x="136" y="98"/>
                  </a:lnTo>
                  <a:lnTo>
                    <a:pt x="136" y="98"/>
                  </a:lnTo>
                  <a:lnTo>
                    <a:pt x="136" y="98"/>
                  </a:lnTo>
                  <a:lnTo>
                    <a:pt x="96" y="18"/>
                  </a:lnTo>
                  <a:lnTo>
                    <a:pt x="18" y="18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+mj-lt"/>
              </a:endParaRPr>
            </a:p>
          </p:txBody>
        </p:sp>
        <p:sp>
          <p:nvSpPr>
            <p:cNvPr id="64" name="Freeform 9">
              <a:extLst>
                <a:ext uri="{FF2B5EF4-FFF2-40B4-BE49-F238E27FC236}">
                  <a16:creationId xmlns:a16="http://schemas.microsoft.com/office/drawing/2014/main" id="{1446E9CB-07EA-495F-A1C9-8D74AD54179C}"/>
                </a:ext>
              </a:extLst>
            </p:cNvPr>
            <p:cNvSpPr>
              <a:spLocks/>
            </p:cNvSpPr>
            <p:nvPr/>
          </p:nvSpPr>
          <p:spPr bwMode="auto">
            <a:xfrm>
              <a:off x="5150" y="1376"/>
              <a:ext cx="138" cy="74"/>
            </a:xfrm>
            <a:custGeom>
              <a:avLst/>
              <a:gdLst>
                <a:gd name="T0" fmla="*/ 114 w 138"/>
                <a:gd name="T1" fmla="*/ 74 h 74"/>
                <a:gd name="T2" fmla="*/ 0 w 138"/>
                <a:gd name="T3" fmla="*/ 74 h 74"/>
                <a:gd name="T4" fmla="*/ 0 w 138"/>
                <a:gd name="T5" fmla="*/ 56 h 74"/>
                <a:gd name="T6" fmla="*/ 114 w 138"/>
                <a:gd name="T7" fmla="*/ 56 h 74"/>
                <a:gd name="T8" fmla="*/ 114 w 138"/>
                <a:gd name="T9" fmla="*/ 56 h 74"/>
                <a:gd name="T10" fmla="*/ 118 w 138"/>
                <a:gd name="T11" fmla="*/ 54 h 74"/>
                <a:gd name="T12" fmla="*/ 120 w 138"/>
                <a:gd name="T13" fmla="*/ 50 h 74"/>
                <a:gd name="T14" fmla="*/ 120 w 138"/>
                <a:gd name="T15" fmla="*/ 24 h 74"/>
                <a:gd name="T16" fmla="*/ 120 w 138"/>
                <a:gd name="T17" fmla="*/ 24 h 74"/>
                <a:gd name="T18" fmla="*/ 118 w 138"/>
                <a:gd name="T19" fmla="*/ 20 h 74"/>
                <a:gd name="T20" fmla="*/ 114 w 138"/>
                <a:gd name="T21" fmla="*/ 18 h 74"/>
                <a:gd name="T22" fmla="*/ 12 w 138"/>
                <a:gd name="T23" fmla="*/ 18 h 74"/>
                <a:gd name="T24" fmla="*/ 12 w 138"/>
                <a:gd name="T25" fmla="*/ 0 h 74"/>
                <a:gd name="T26" fmla="*/ 114 w 138"/>
                <a:gd name="T27" fmla="*/ 0 h 74"/>
                <a:gd name="T28" fmla="*/ 114 w 138"/>
                <a:gd name="T29" fmla="*/ 0 h 74"/>
                <a:gd name="T30" fmla="*/ 124 w 138"/>
                <a:gd name="T31" fmla="*/ 2 h 74"/>
                <a:gd name="T32" fmla="*/ 130 w 138"/>
                <a:gd name="T33" fmla="*/ 8 h 74"/>
                <a:gd name="T34" fmla="*/ 136 w 138"/>
                <a:gd name="T35" fmla="*/ 14 h 74"/>
                <a:gd name="T36" fmla="*/ 138 w 138"/>
                <a:gd name="T37" fmla="*/ 24 h 74"/>
                <a:gd name="T38" fmla="*/ 138 w 138"/>
                <a:gd name="T39" fmla="*/ 50 h 74"/>
                <a:gd name="T40" fmla="*/ 138 w 138"/>
                <a:gd name="T41" fmla="*/ 50 h 74"/>
                <a:gd name="T42" fmla="*/ 136 w 138"/>
                <a:gd name="T43" fmla="*/ 60 h 74"/>
                <a:gd name="T44" fmla="*/ 130 w 138"/>
                <a:gd name="T45" fmla="*/ 66 h 74"/>
                <a:gd name="T46" fmla="*/ 124 w 138"/>
                <a:gd name="T47" fmla="*/ 72 h 74"/>
                <a:gd name="T48" fmla="*/ 114 w 138"/>
                <a:gd name="T49" fmla="*/ 74 h 74"/>
                <a:gd name="T50" fmla="*/ 114 w 138"/>
                <a:gd name="T51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38" h="74">
                  <a:moveTo>
                    <a:pt x="114" y="74"/>
                  </a:moveTo>
                  <a:lnTo>
                    <a:pt x="0" y="74"/>
                  </a:lnTo>
                  <a:lnTo>
                    <a:pt x="0" y="56"/>
                  </a:lnTo>
                  <a:lnTo>
                    <a:pt x="114" y="56"/>
                  </a:lnTo>
                  <a:lnTo>
                    <a:pt x="114" y="56"/>
                  </a:lnTo>
                  <a:lnTo>
                    <a:pt x="118" y="54"/>
                  </a:lnTo>
                  <a:lnTo>
                    <a:pt x="120" y="50"/>
                  </a:lnTo>
                  <a:lnTo>
                    <a:pt x="120" y="24"/>
                  </a:lnTo>
                  <a:lnTo>
                    <a:pt x="120" y="24"/>
                  </a:lnTo>
                  <a:lnTo>
                    <a:pt x="118" y="20"/>
                  </a:lnTo>
                  <a:lnTo>
                    <a:pt x="114" y="18"/>
                  </a:lnTo>
                  <a:lnTo>
                    <a:pt x="12" y="18"/>
                  </a:lnTo>
                  <a:lnTo>
                    <a:pt x="12" y="0"/>
                  </a:lnTo>
                  <a:lnTo>
                    <a:pt x="114" y="0"/>
                  </a:lnTo>
                  <a:lnTo>
                    <a:pt x="114" y="0"/>
                  </a:lnTo>
                  <a:lnTo>
                    <a:pt x="124" y="2"/>
                  </a:lnTo>
                  <a:lnTo>
                    <a:pt x="130" y="8"/>
                  </a:lnTo>
                  <a:lnTo>
                    <a:pt x="136" y="14"/>
                  </a:lnTo>
                  <a:lnTo>
                    <a:pt x="138" y="24"/>
                  </a:lnTo>
                  <a:lnTo>
                    <a:pt x="138" y="50"/>
                  </a:lnTo>
                  <a:lnTo>
                    <a:pt x="138" y="50"/>
                  </a:lnTo>
                  <a:lnTo>
                    <a:pt x="136" y="60"/>
                  </a:lnTo>
                  <a:lnTo>
                    <a:pt x="130" y="66"/>
                  </a:lnTo>
                  <a:lnTo>
                    <a:pt x="124" y="72"/>
                  </a:lnTo>
                  <a:lnTo>
                    <a:pt x="114" y="74"/>
                  </a:lnTo>
                  <a:lnTo>
                    <a:pt x="114" y="74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+mj-lt"/>
              </a:endParaRPr>
            </a:p>
          </p:txBody>
        </p:sp>
        <p:sp>
          <p:nvSpPr>
            <p:cNvPr id="65" name="Freeform 10">
              <a:extLst>
                <a:ext uri="{FF2B5EF4-FFF2-40B4-BE49-F238E27FC236}">
                  <a16:creationId xmlns:a16="http://schemas.microsoft.com/office/drawing/2014/main" id="{44B8C5DB-27D5-4D09-AD57-83DA5C3C11D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6" y="1384"/>
              <a:ext cx="82" cy="72"/>
            </a:xfrm>
            <a:custGeom>
              <a:avLst/>
              <a:gdLst>
                <a:gd name="T0" fmla="*/ 82 w 82"/>
                <a:gd name="T1" fmla="*/ 72 h 72"/>
                <a:gd name="T2" fmla="*/ 24 w 82"/>
                <a:gd name="T3" fmla="*/ 72 h 72"/>
                <a:gd name="T4" fmla="*/ 24 w 82"/>
                <a:gd name="T5" fmla="*/ 72 h 72"/>
                <a:gd name="T6" fmla="*/ 14 w 82"/>
                <a:gd name="T7" fmla="*/ 70 h 72"/>
                <a:gd name="T8" fmla="*/ 8 w 82"/>
                <a:gd name="T9" fmla="*/ 66 h 72"/>
                <a:gd name="T10" fmla="*/ 2 w 82"/>
                <a:gd name="T11" fmla="*/ 58 h 72"/>
                <a:gd name="T12" fmla="*/ 0 w 82"/>
                <a:gd name="T13" fmla="*/ 48 h 72"/>
                <a:gd name="T14" fmla="*/ 0 w 82"/>
                <a:gd name="T15" fmla="*/ 0 h 72"/>
                <a:gd name="T16" fmla="*/ 18 w 82"/>
                <a:gd name="T17" fmla="*/ 0 h 72"/>
                <a:gd name="T18" fmla="*/ 18 w 82"/>
                <a:gd name="T19" fmla="*/ 48 h 72"/>
                <a:gd name="T20" fmla="*/ 18 w 82"/>
                <a:gd name="T21" fmla="*/ 48 h 72"/>
                <a:gd name="T22" fmla="*/ 20 w 82"/>
                <a:gd name="T23" fmla="*/ 52 h 72"/>
                <a:gd name="T24" fmla="*/ 24 w 82"/>
                <a:gd name="T25" fmla="*/ 54 h 72"/>
                <a:gd name="T26" fmla="*/ 82 w 82"/>
                <a:gd name="T27" fmla="*/ 54 h 72"/>
                <a:gd name="T28" fmla="*/ 82 w 82"/>
                <a:gd name="T29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2" h="72">
                  <a:moveTo>
                    <a:pt x="82" y="72"/>
                  </a:moveTo>
                  <a:lnTo>
                    <a:pt x="24" y="72"/>
                  </a:lnTo>
                  <a:lnTo>
                    <a:pt x="24" y="72"/>
                  </a:lnTo>
                  <a:lnTo>
                    <a:pt x="14" y="70"/>
                  </a:lnTo>
                  <a:lnTo>
                    <a:pt x="8" y="66"/>
                  </a:lnTo>
                  <a:lnTo>
                    <a:pt x="2" y="58"/>
                  </a:lnTo>
                  <a:lnTo>
                    <a:pt x="0" y="48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20" y="52"/>
                  </a:lnTo>
                  <a:lnTo>
                    <a:pt x="24" y="54"/>
                  </a:lnTo>
                  <a:lnTo>
                    <a:pt x="82" y="54"/>
                  </a:lnTo>
                  <a:lnTo>
                    <a:pt x="82" y="72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+mj-lt"/>
              </a:endParaRPr>
            </a:p>
          </p:txBody>
        </p:sp>
        <p:sp>
          <p:nvSpPr>
            <p:cNvPr id="66" name="Freeform 11">
              <a:extLst>
                <a:ext uri="{FF2B5EF4-FFF2-40B4-BE49-F238E27FC236}">
                  <a16:creationId xmlns:a16="http://schemas.microsoft.com/office/drawing/2014/main" id="{BF726FFC-5CEA-4585-9899-311E652172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74" y="1362"/>
              <a:ext cx="156" cy="156"/>
            </a:xfrm>
            <a:custGeom>
              <a:avLst/>
              <a:gdLst>
                <a:gd name="T0" fmla="*/ 78 w 156"/>
                <a:gd name="T1" fmla="*/ 156 h 156"/>
                <a:gd name="T2" fmla="*/ 48 w 156"/>
                <a:gd name="T3" fmla="*/ 150 h 156"/>
                <a:gd name="T4" fmla="*/ 22 w 156"/>
                <a:gd name="T5" fmla="*/ 134 h 156"/>
                <a:gd name="T6" fmla="*/ 6 w 156"/>
                <a:gd name="T7" fmla="*/ 108 h 156"/>
                <a:gd name="T8" fmla="*/ 0 w 156"/>
                <a:gd name="T9" fmla="*/ 78 h 156"/>
                <a:gd name="T10" fmla="*/ 2 w 156"/>
                <a:gd name="T11" fmla="*/ 64 h 156"/>
                <a:gd name="T12" fmla="*/ 12 w 156"/>
                <a:gd name="T13" fmla="*/ 36 h 156"/>
                <a:gd name="T14" fmla="*/ 34 w 156"/>
                <a:gd name="T15" fmla="*/ 14 h 156"/>
                <a:gd name="T16" fmla="*/ 62 w 156"/>
                <a:gd name="T17" fmla="*/ 2 h 156"/>
                <a:gd name="T18" fmla="*/ 78 w 156"/>
                <a:gd name="T19" fmla="*/ 0 h 156"/>
                <a:gd name="T20" fmla="*/ 108 w 156"/>
                <a:gd name="T21" fmla="*/ 8 h 156"/>
                <a:gd name="T22" fmla="*/ 132 w 156"/>
                <a:gd name="T23" fmla="*/ 24 h 156"/>
                <a:gd name="T24" fmla="*/ 150 w 156"/>
                <a:gd name="T25" fmla="*/ 48 h 156"/>
                <a:gd name="T26" fmla="*/ 156 w 156"/>
                <a:gd name="T27" fmla="*/ 78 h 156"/>
                <a:gd name="T28" fmla="*/ 154 w 156"/>
                <a:gd name="T29" fmla="*/ 94 h 156"/>
                <a:gd name="T30" fmla="*/ 142 w 156"/>
                <a:gd name="T31" fmla="*/ 122 h 156"/>
                <a:gd name="T32" fmla="*/ 120 w 156"/>
                <a:gd name="T33" fmla="*/ 144 h 156"/>
                <a:gd name="T34" fmla="*/ 94 w 156"/>
                <a:gd name="T35" fmla="*/ 154 h 156"/>
                <a:gd name="T36" fmla="*/ 78 w 156"/>
                <a:gd name="T37" fmla="*/ 156 h 156"/>
                <a:gd name="T38" fmla="*/ 78 w 156"/>
                <a:gd name="T39" fmla="*/ 18 h 156"/>
                <a:gd name="T40" fmla="*/ 54 w 156"/>
                <a:gd name="T41" fmla="*/ 24 h 156"/>
                <a:gd name="T42" fmla="*/ 36 w 156"/>
                <a:gd name="T43" fmla="*/ 36 h 156"/>
                <a:gd name="T44" fmla="*/ 22 w 156"/>
                <a:gd name="T45" fmla="*/ 56 h 156"/>
                <a:gd name="T46" fmla="*/ 18 w 156"/>
                <a:gd name="T47" fmla="*/ 78 h 156"/>
                <a:gd name="T48" fmla="*/ 18 w 156"/>
                <a:gd name="T49" fmla="*/ 90 h 156"/>
                <a:gd name="T50" fmla="*/ 28 w 156"/>
                <a:gd name="T51" fmla="*/ 112 h 156"/>
                <a:gd name="T52" fmla="*/ 44 w 156"/>
                <a:gd name="T53" fmla="*/ 128 h 156"/>
                <a:gd name="T54" fmla="*/ 66 w 156"/>
                <a:gd name="T55" fmla="*/ 138 h 156"/>
                <a:gd name="T56" fmla="*/ 78 w 156"/>
                <a:gd name="T57" fmla="*/ 138 h 156"/>
                <a:gd name="T58" fmla="*/ 100 w 156"/>
                <a:gd name="T59" fmla="*/ 134 h 156"/>
                <a:gd name="T60" fmla="*/ 120 w 156"/>
                <a:gd name="T61" fmla="*/ 120 h 156"/>
                <a:gd name="T62" fmla="*/ 132 w 156"/>
                <a:gd name="T63" fmla="*/ 102 h 156"/>
                <a:gd name="T64" fmla="*/ 138 w 156"/>
                <a:gd name="T65" fmla="*/ 78 h 156"/>
                <a:gd name="T66" fmla="*/ 136 w 156"/>
                <a:gd name="T67" fmla="*/ 66 h 156"/>
                <a:gd name="T68" fmla="*/ 126 w 156"/>
                <a:gd name="T69" fmla="*/ 46 h 156"/>
                <a:gd name="T70" fmla="*/ 110 w 156"/>
                <a:gd name="T71" fmla="*/ 30 h 156"/>
                <a:gd name="T72" fmla="*/ 90 w 156"/>
                <a:gd name="T73" fmla="*/ 20 h 156"/>
                <a:gd name="T74" fmla="*/ 78 w 156"/>
                <a:gd name="T75" fmla="*/ 18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56" h="156">
                  <a:moveTo>
                    <a:pt x="78" y="156"/>
                  </a:moveTo>
                  <a:lnTo>
                    <a:pt x="78" y="156"/>
                  </a:lnTo>
                  <a:lnTo>
                    <a:pt x="62" y="154"/>
                  </a:lnTo>
                  <a:lnTo>
                    <a:pt x="48" y="150"/>
                  </a:lnTo>
                  <a:lnTo>
                    <a:pt x="34" y="144"/>
                  </a:lnTo>
                  <a:lnTo>
                    <a:pt x="22" y="134"/>
                  </a:lnTo>
                  <a:lnTo>
                    <a:pt x="12" y="122"/>
                  </a:lnTo>
                  <a:lnTo>
                    <a:pt x="6" y="108"/>
                  </a:lnTo>
                  <a:lnTo>
                    <a:pt x="2" y="94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2" y="64"/>
                  </a:lnTo>
                  <a:lnTo>
                    <a:pt x="6" y="48"/>
                  </a:lnTo>
                  <a:lnTo>
                    <a:pt x="12" y="36"/>
                  </a:lnTo>
                  <a:lnTo>
                    <a:pt x="22" y="24"/>
                  </a:lnTo>
                  <a:lnTo>
                    <a:pt x="34" y="14"/>
                  </a:lnTo>
                  <a:lnTo>
                    <a:pt x="48" y="8"/>
                  </a:lnTo>
                  <a:lnTo>
                    <a:pt x="62" y="2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94" y="2"/>
                  </a:lnTo>
                  <a:lnTo>
                    <a:pt x="108" y="8"/>
                  </a:lnTo>
                  <a:lnTo>
                    <a:pt x="120" y="14"/>
                  </a:lnTo>
                  <a:lnTo>
                    <a:pt x="132" y="24"/>
                  </a:lnTo>
                  <a:lnTo>
                    <a:pt x="142" y="36"/>
                  </a:lnTo>
                  <a:lnTo>
                    <a:pt x="150" y="48"/>
                  </a:lnTo>
                  <a:lnTo>
                    <a:pt x="154" y="64"/>
                  </a:lnTo>
                  <a:lnTo>
                    <a:pt x="156" y="78"/>
                  </a:lnTo>
                  <a:lnTo>
                    <a:pt x="156" y="78"/>
                  </a:lnTo>
                  <a:lnTo>
                    <a:pt x="154" y="94"/>
                  </a:lnTo>
                  <a:lnTo>
                    <a:pt x="150" y="108"/>
                  </a:lnTo>
                  <a:lnTo>
                    <a:pt x="142" y="122"/>
                  </a:lnTo>
                  <a:lnTo>
                    <a:pt x="132" y="134"/>
                  </a:lnTo>
                  <a:lnTo>
                    <a:pt x="120" y="144"/>
                  </a:lnTo>
                  <a:lnTo>
                    <a:pt x="108" y="150"/>
                  </a:lnTo>
                  <a:lnTo>
                    <a:pt x="94" y="154"/>
                  </a:lnTo>
                  <a:lnTo>
                    <a:pt x="78" y="156"/>
                  </a:lnTo>
                  <a:lnTo>
                    <a:pt x="78" y="156"/>
                  </a:lnTo>
                  <a:close/>
                  <a:moveTo>
                    <a:pt x="78" y="18"/>
                  </a:moveTo>
                  <a:lnTo>
                    <a:pt x="78" y="18"/>
                  </a:lnTo>
                  <a:lnTo>
                    <a:pt x="66" y="20"/>
                  </a:lnTo>
                  <a:lnTo>
                    <a:pt x="54" y="24"/>
                  </a:lnTo>
                  <a:lnTo>
                    <a:pt x="44" y="30"/>
                  </a:lnTo>
                  <a:lnTo>
                    <a:pt x="36" y="36"/>
                  </a:lnTo>
                  <a:lnTo>
                    <a:pt x="28" y="46"/>
                  </a:lnTo>
                  <a:lnTo>
                    <a:pt x="22" y="56"/>
                  </a:lnTo>
                  <a:lnTo>
                    <a:pt x="18" y="66"/>
                  </a:lnTo>
                  <a:lnTo>
                    <a:pt x="18" y="78"/>
                  </a:lnTo>
                  <a:lnTo>
                    <a:pt x="18" y="78"/>
                  </a:lnTo>
                  <a:lnTo>
                    <a:pt x="18" y="90"/>
                  </a:lnTo>
                  <a:lnTo>
                    <a:pt x="22" y="102"/>
                  </a:lnTo>
                  <a:lnTo>
                    <a:pt x="28" y="112"/>
                  </a:lnTo>
                  <a:lnTo>
                    <a:pt x="36" y="120"/>
                  </a:lnTo>
                  <a:lnTo>
                    <a:pt x="44" y="128"/>
                  </a:lnTo>
                  <a:lnTo>
                    <a:pt x="54" y="134"/>
                  </a:lnTo>
                  <a:lnTo>
                    <a:pt x="66" y="138"/>
                  </a:lnTo>
                  <a:lnTo>
                    <a:pt x="78" y="138"/>
                  </a:lnTo>
                  <a:lnTo>
                    <a:pt x="78" y="138"/>
                  </a:lnTo>
                  <a:lnTo>
                    <a:pt x="90" y="138"/>
                  </a:lnTo>
                  <a:lnTo>
                    <a:pt x="100" y="134"/>
                  </a:lnTo>
                  <a:lnTo>
                    <a:pt x="110" y="128"/>
                  </a:lnTo>
                  <a:lnTo>
                    <a:pt x="120" y="120"/>
                  </a:lnTo>
                  <a:lnTo>
                    <a:pt x="126" y="112"/>
                  </a:lnTo>
                  <a:lnTo>
                    <a:pt x="132" y="102"/>
                  </a:lnTo>
                  <a:lnTo>
                    <a:pt x="136" y="90"/>
                  </a:lnTo>
                  <a:lnTo>
                    <a:pt x="138" y="78"/>
                  </a:lnTo>
                  <a:lnTo>
                    <a:pt x="138" y="78"/>
                  </a:lnTo>
                  <a:lnTo>
                    <a:pt x="136" y="66"/>
                  </a:lnTo>
                  <a:lnTo>
                    <a:pt x="132" y="56"/>
                  </a:lnTo>
                  <a:lnTo>
                    <a:pt x="126" y="46"/>
                  </a:lnTo>
                  <a:lnTo>
                    <a:pt x="120" y="36"/>
                  </a:lnTo>
                  <a:lnTo>
                    <a:pt x="110" y="30"/>
                  </a:lnTo>
                  <a:lnTo>
                    <a:pt x="100" y="24"/>
                  </a:lnTo>
                  <a:lnTo>
                    <a:pt x="90" y="20"/>
                  </a:lnTo>
                  <a:lnTo>
                    <a:pt x="78" y="18"/>
                  </a:lnTo>
                  <a:lnTo>
                    <a:pt x="78" y="18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+mj-lt"/>
              </a:endParaRPr>
            </a:p>
          </p:txBody>
        </p:sp>
        <p:sp>
          <p:nvSpPr>
            <p:cNvPr id="67" name="Freeform 12">
              <a:extLst>
                <a:ext uri="{FF2B5EF4-FFF2-40B4-BE49-F238E27FC236}">
                  <a16:creationId xmlns:a16="http://schemas.microsoft.com/office/drawing/2014/main" id="{BEEB2B2F-412C-4CA5-8E09-377482D433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12" y="1362"/>
              <a:ext cx="156" cy="156"/>
            </a:xfrm>
            <a:custGeom>
              <a:avLst/>
              <a:gdLst>
                <a:gd name="T0" fmla="*/ 78 w 156"/>
                <a:gd name="T1" fmla="*/ 156 h 156"/>
                <a:gd name="T2" fmla="*/ 48 w 156"/>
                <a:gd name="T3" fmla="*/ 150 h 156"/>
                <a:gd name="T4" fmla="*/ 22 w 156"/>
                <a:gd name="T5" fmla="*/ 134 h 156"/>
                <a:gd name="T6" fmla="*/ 6 w 156"/>
                <a:gd name="T7" fmla="*/ 108 h 156"/>
                <a:gd name="T8" fmla="*/ 0 w 156"/>
                <a:gd name="T9" fmla="*/ 78 h 156"/>
                <a:gd name="T10" fmla="*/ 2 w 156"/>
                <a:gd name="T11" fmla="*/ 64 h 156"/>
                <a:gd name="T12" fmla="*/ 14 w 156"/>
                <a:gd name="T13" fmla="*/ 36 h 156"/>
                <a:gd name="T14" fmla="*/ 34 w 156"/>
                <a:gd name="T15" fmla="*/ 14 h 156"/>
                <a:gd name="T16" fmla="*/ 62 w 156"/>
                <a:gd name="T17" fmla="*/ 2 h 156"/>
                <a:gd name="T18" fmla="*/ 78 w 156"/>
                <a:gd name="T19" fmla="*/ 0 h 156"/>
                <a:gd name="T20" fmla="*/ 108 w 156"/>
                <a:gd name="T21" fmla="*/ 8 h 156"/>
                <a:gd name="T22" fmla="*/ 132 w 156"/>
                <a:gd name="T23" fmla="*/ 24 h 156"/>
                <a:gd name="T24" fmla="*/ 150 w 156"/>
                <a:gd name="T25" fmla="*/ 48 h 156"/>
                <a:gd name="T26" fmla="*/ 156 w 156"/>
                <a:gd name="T27" fmla="*/ 78 h 156"/>
                <a:gd name="T28" fmla="*/ 154 w 156"/>
                <a:gd name="T29" fmla="*/ 94 h 156"/>
                <a:gd name="T30" fmla="*/ 142 w 156"/>
                <a:gd name="T31" fmla="*/ 122 h 156"/>
                <a:gd name="T32" fmla="*/ 122 w 156"/>
                <a:gd name="T33" fmla="*/ 144 h 156"/>
                <a:gd name="T34" fmla="*/ 94 w 156"/>
                <a:gd name="T35" fmla="*/ 154 h 156"/>
                <a:gd name="T36" fmla="*/ 78 w 156"/>
                <a:gd name="T37" fmla="*/ 156 h 156"/>
                <a:gd name="T38" fmla="*/ 78 w 156"/>
                <a:gd name="T39" fmla="*/ 18 h 156"/>
                <a:gd name="T40" fmla="*/ 54 w 156"/>
                <a:gd name="T41" fmla="*/ 24 h 156"/>
                <a:gd name="T42" fmla="*/ 36 w 156"/>
                <a:gd name="T43" fmla="*/ 36 h 156"/>
                <a:gd name="T44" fmla="*/ 22 w 156"/>
                <a:gd name="T45" fmla="*/ 56 h 156"/>
                <a:gd name="T46" fmla="*/ 18 w 156"/>
                <a:gd name="T47" fmla="*/ 78 h 156"/>
                <a:gd name="T48" fmla="*/ 20 w 156"/>
                <a:gd name="T49" fmla="*/ 90 h 156"/>
                <a:gd name="T50" fmla="*/ 28 w 156"/>
                <a:gd name="T51" fmla="*/ 112 h 156"/>
                <a:gd name="T52" fmla="*/ 44 w 156"/>
                <a:gd name="T53" fmla="*/ 128 h 156"/>
                <a:gd name="T54" fmla="*/ 66 w 156"/>
                <a:gd name="T55" fmla="*/ 138 h 156"/>
                <a:gd name="T56" fmla="*/ 78 w 156"/>
                <a:gd name="T57" fmla="*/ 138 h 156"/>
                <a:gd name="T58" fmla="*/ 100 w 156"/>
                <a:gd name="T59" fmla="*/ 134 h 156"/>
                <a:gd name="T60" fmla="*/ 120 w 156"/>
                <a:gd name="T61" fmla="*/ 120 h 156"/>
                <a:gd name="T62" fmla="*/ 132 w 156"/>
                <a:gd name="T63" fmla="*/ 102 h 156"/>
                <a:gd name="T64" fmla="*/ 138 w 156"/>
                <a:gd name="T65" fmla="*/ 78 h 156"/>
                <a:gd name="T66" fmla="*/ 136 w 156"/>
                <a:gd name="T67" fmla="*/ 66 h 156"/>
                <a:gd name="T68" fmla="*/ 128 w 156"/>
                <a:gd name="T69" fmla="*/ 46 h 156"/>
                <a:gd name="T70" fmla="*/ 112 w 156"/>
                <a:gd name="T71" fmla="*/ 30 h 156"/>
                <a:gd name="T72" fmla="*/ 90 w 156"/>
                <a:gd name="T73" fmla="*/ 20 h 156"/>
                <a:gd name="T74" fmla="*/ 78 w 156"/>
                <a:gd name="T75" fmla="*/ 18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56" h="156">
                  <a:moveTo>
                    <a:pt x="78" y="156"/>
                  </a:moveTo>
                  <a:lnTo>
                    <a:pt x="78" y="156"/>
                  </a:lnTo>
                  <a:lnTo>
                    <a:pt x="62" y="154"/>
                  </a:lnTo>
                  <a:lnTo>
                    <a:pt x="48" y="150"/>
                  </a:lnTo>
                  <a:lnTo>
                    <a:pt x="34" y="144"/>
                  </a:lnTo>
                  <a:lnTo>
                    <a:pt x="22" y="134"/>
                  </a:lnTo>
                  <a:lnTo>
                    <a:pt x="14" y="122"/>
                  </a:lnTo>
                  <a:lnTo>
                    <a:pt x="6" y="108"/>
                  </a:lnTo>
                  <a:lnTo>
                    <a:pt x="2" y="94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2" y="64"/>
                  </a:lnTo>
                  <a:lnTo>
                    <a:pt x="6" y="48"/>
                  </a:lnTo>
                  <a:lnTo>
                    <a:pt x="14" y="36"/>
                  </a:lnTo>
                  <a:lnTo>
                    <a:pt x="22" y="24"/>
                  </a:lnTo>
                  <a:lnTo>
                    <a:pt x="34" y="14"/>
                  </a:lnTo>
                  <a:lnTo>
                    <a:pt x="48" y="8"/>
                  </a:lnTo>
                  <a:lnTo>
                    <a:pt x="62" y="2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94" y="2"/>
                  </a:lnTo>
                  <a:lnTo>
                    <a:pt x="108" y="8"/>
                  </a:lnTo>
                  <a:lnTo>
                    <a:pt x="122" y="14"/>
                  </a:lnTo>
                  <a:lnTo>
                    <a:pt x="132" y="24"/>
                  </a:lnTo>
                  <a:lnTo>
                    <a:pt x="142" y="36"/>
                  </a:lnTo>
                  <a:lnTo>
                    <a:pt x="150" y="48"/>
                  </a:lnTo>
                  <a:lnTo>
                    <a:pt x="154" y="64"/>
                  </a:lnTo>
                  <a:lnTo>
                    <a:pt x="156" y="78"/>
                  </a:lnTo>
                  <a:lnTo>
                    <a:pt x="156" y="78"/>
                  </a:lnTo>
                  <a:lnTo>
                    <a:pt x="154" y="94"/>
                  </a:lnTo>
                  <a:lnTo>
                    <a:pt x="150" y="108"/>
                  </a:lnTo>
                  <a:lnTo>
                    <a:pt x="142" y="122"/>
                  </a:lnTo>
                  <a:lnTo>
                    <a:pt x="132" y="134"/>
                  </a:lnTo>
                  <a:lnTo>
                    <a:pt x="122" y="144"/>
                  </a:lnTo>
                  <a:lnTo>
                    <a:pt x="108" y="150"/>
                  </a:lnTo>
                  <a:lnTo>
                    <a:pt x="94" y="154"/>
                  </a:lnTo>
                  <a:lnTo>
                    <a:pt x="78" y="156"/>
                  </a:lnTo>
                  <a:lnTo>
                    <a:pt x="78" y="156"/>
                  </a:lnTo>
                  <a:close/>
                  <a:moveTo>
                    <a:pt x="78" y="18"/>
                  </a:moveTo>
                  <a:lnTo>
                    <a:pt x="78" y="18"/>
                  </a:lnTo>
                  <a:lnTo>
                    <a:pt x="66" y="20"/>
                  </a:lnTo>
                  <a:lnTo>
                    <a:pt x="54" y="24"/>
                  </a:lnTo>
                  <a:lnTo>
                    <a:pt x="44" y="30"/>
                  </a:lnTo>
                  <a:lnTo>
                    <a:pt x="36" y="36"/>
                  </a:lnTo>
                  <a:lnTo>
                    <a:pt x="28" y="46"/>
                  </a:lnTo>
                  <a:lnTo>
                    <a:pt x="22" y="56"/>
                  </a:lnTo>
                  <a:lnTo>
                    <a:pt x="20" y="66"/>
                  </a:lnTo>
                  <a:lnTo>
                    <a:pt x="18" y="78"/>
                  </a:lnTo>
                  <a:lnTo>
                    <a:pt x="18" y="78"/>
                  </a:lnTo>
                  <a:lnTo>
                    <a:pt x="20" y="90"/>
                  </a:lnTo>
                  <a:lnTo>
                    <a:pt x="22" y="102"/>
                  </a:lnTo>
                  <a:lnTo>
                    <a:pt x="28" y="112"/>
                  </a:lnTo>
                  <a:lnTo>
                    <a:pt x="36" y="120"/>
                  </a:lnTo>
                  <a:lnTo>
                    <a:pt x="44" y="128"/>
                  </a:lnTo>
                  <a:lnTo>
                    <a:pt x="54" y="134"/>
                  </a:lnTo>
                  <a:lnTo>
                    <a:pt x="66" y="138"/>
                  </a:lnTo>
                  <a:lnTo>
                    <a:pt x="78" y="138"/>
                  </a:lnTo>
                  <a:lnTo>
                    <a:pt x="78" y="138"/>
                  </a:lnTo>
                  <a:lnTo>
                    <a:pt x="90" y="138"/>
                  </a:lnTo>
                  <a:lnTo>
                    <a:pt x="100" y="134"/>
                  </a:lnTo>
                  <a:lnTo>
                    <a:pt x="112" y="128"/>
                  </a:lnTo>
                  <a:lnTo>
                    <a:pt x="120" y="120"/>
                  </a:lnTo>
                  <a:lnTo>
                    <a:pt x="128" y="112"/>
                  </a:lnTo>
                  <a:lnTo>
                    <a:pt x="132" y="102"/>
                  </a:lnTo>
                  <a:lnTo>
                    <a:pt x="136" y="90"/>
                  </a:lnTo>
                  <a:lnTo>
                    <a:pt x="138" y="78"/>
                  </a:lnTo>
                  <a:lnTo>
                    <a:pt x="138" y="78"/>
                  </a:lnTo>
                  <a:lnTo>
                    <a:pt x="136" y="66"/>
                  </a:lnTo>
                  <a:lnTo>
                    <a:pt x="132" y="56"/>
                  </a:lnTo>
                  <a:lnTo>
                    <a:pt x="128" y="46"/>
                  </a:lnTo>
                  <a:lnTo>
                    <a:pt x="120" y="36"/>
                  </a:lnTo>
                  <a:lnTo>
                    <a:pt x="112" y="30"/>
                  </a:lnTo>
                  <a:lnTo>
                    <a:pt x="100" y="24"/>
                  </a:lnTo>
                  <a:lnTo>
                    <a:pt x="90" y="20"/>
                  </a:lnTo>
                  <a:lnTo>
                    <a:pt x="78" y="18"/>
                  </a:lnTo>
                  <a:lnTo>
                    <a:pt x="78" y="18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+mj-lt"/>
              </a:endParaRPr>
            </a:p>
          </p:txBody>
        </p:sp>
        <p:sp>
          <p:nvSpPr>
            <p:cNvPr id="68" name="Rectangle 13">
              <a:extLst>
                <a:ext uri="{FF2B5EF4-FFF2-40B4-BE49-F238E27FC236}">
                  <a16:creationId xmlns:a16="http://schemas.microsoft.com/office/drawing/2014/main" id="{44CB738F-1275-4E39-8743-9CD458D89C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12" y="1432"/>
              <a:ext cx="318" cy="18"/>
            </a:xfrm>
            <a:prstGeom prst="rect">
              <a:avLst/>
            </a:pr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+mj-lt"/>
              </a:endParaRPr>
            </a:p>
          </p:txBody>
        </p:sp>
        <p:sp>
          <p:nvSpPr>
            <p:cNvPr id="69" name="Freeform 14">
              <a:extLst>
                <a:ext uri="{FF2B5EF4-FFF2-40B4-BE49-F238E27FC236}">
                  <a16:creationId xmlns:a16="http://schemas.microsoft.com/office/drawing/2014/main" id="{1CEC8CE4-067C-4F45-A233-9DCB520D7FB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14" y="1404"/>
              <a:ext cx="74" cy="74"/>
            </a:xfrm>
            <a:custGeom>
              <a:avLst/>
              <a:gdLst>
                <a:gd name="T0" fmla="*/ 38 w 74"/>
                <a:gd name="T1" fmla="*/ 74 h 74"/>
                <a:gd name="T2" fmla="*/ 38 w 74"/>
                <a:gd name="T3" fmla="*/ 74 h 74"/>
                <a:gd name="T4" fmla="*/ 30 w 74"/>
                <a:gd name="T5" fmla="*/ 72 h 74"/>
                <a:gd name="T6" fmla="*/ 24 w 74"/>
                <a:gd name="T7" fmla="*/ 70 h 74"/>
                <a:gd name="T8" fmla="*/ 16 w 74"/>
                <a:gd name="T9" fmla="*/ 68 h 74"/>
                <a:gd name="T10" fmla="*/ 12 w 74"/>
                <a:gd name="T11" fmla="*/ 62 h 74"/>
                <a:gd name="T12" fmla="*/ 6 w 74"/>
                <a:gd name="T13" fmla="*/ 58 h 74"/>
                <a:gd name="T14" fmla="*/ 4 w 74"/>
                <a:gd name="T15" fmla="*/ 52 h 74"/>
                <a:gd name="T16" fmla="*/ 2 w 74"/>
                <a:gd name="T17" fmla="*/ 44 h 74"/>
                <a:gd name="T18" fmla="*/ 0 w 74"/>
                <a:gd name="T19" fmla="*/ 36 h 74"/>
                <a:gd name="T20" fmla="*/ 0 w 74"/>
                <a:gd name="T21" fmla="*/ 36 h 74"/>
                <a:gd name="T22" fmla="*/ 2 w 74"/>
                <a:gd name="T23" fmla="*/ 30 h 74"/>
                <a:gd name="T24" fmla="*/ 4 w 74"/>
                <a:gd name="T25" fmla="*/ 22 h 74"/>
                <a:gd name="T26" fmla="*/ 6 w 74"/>
                <a:gd name="T27" fmla="*/ 16 h 74"/>
                <a:gd name="T28" fmla="*/ 12 w 74"/>
                <a:gd name="T29" fmla="*/ 10 h 74"/>
                <a:gd name="T30" fmla="*/ 16 w 74"/>
                <a:gd name="T31" fmla="*/ 6 h 74"/>
                <a:gd name="T32" fmla="*/ 24 w 74"/>
                <a:gd name="T33" fmla="*/ 2 h 74"/>
                <a:gd name="T34" fmla="*/ 30 w 74"/>
                <a:gd name="T35" fmla="*/ 0 h 74"/>
                <a:gd name="T36" fmla="*/ 38 w 74"/>
                <a:gd name="T37" fmla="*/ 0 h 74"/>
                <a:gd name="T38" fmla="*/ 38 w 74"/>
                <a:gd name="T39" fmla="*/ 0 h 74"/>
                <a:gd name="T40" fmla="*/ 44 w 74"/>
                <a:gd name="T41" fmla="*/ 0 h 74"/>
                <a:gd name="T42" fmla="*/ 52 w 74"/>
                <a:gd name="T43" fmla="*/ 2 h 74"/>
                <a:gd name="T44" fmla="*/ 58 w 74"/>
                <a:gd name="T45" fmla="*/ 6 h 74"/>
                <a:gd name="T46" fmla="*/ 64 w 74"/>
                <a:gd name="T47" fmla="*/ 10 h 74"/>
                <a:gd name="T48" fmla="*/ 68 w 74"/>
                <a:gd name="T49" fmla="*/ 16 h 74"/>
                <a:gd name="T50" fmla="*/ 72 w 74"/>
                <a:gd name="T51" fmla="*/ 22 h 74"/>
                <a:gd name="T52" fmla="*/ 74 w 74"/>
                <a:gd name="T53" fmla="*/ 30 h 74"/>
                <a:gd name="T54" fmla="*/ 74 w 74"/>
                <a:gd name="T55" fmla="*/ 36 h 74"/>
                <a:gd name="T56" fmla="*/ 74 w 74"/>
                <a:gd name="T57" fmla="*/ 36 h 74"/>
                <a:gd name="T58" fmla="*/ 74 w 74"/>
                <a:gd name="T59" fmla="*/ 44 h 74"/>
                <a:gd name="T60" fmla="*/ 72 w 74"/>
                <a:gd name="T61" fmla="*/ 52 h 74"/>
                <a:gd name="T62" fmla="*/ 68 w 74"/>
                <a:gd name="T63" fmla="*/ 58 h 74"/>
                <a:gd name="T64" fmla="*/ 64 w 74"/>
                <a:gd name="T65" fmla="*/ 62 h 74"/>
                <a:gd name="T66" fmla="*/ 58 w 74"/>
                <a:gd name="T67" fmla="*/ 68 h 74"/>
                <a:gd name="T68" fmla="*/ 52 w 74"/>
                <a:gd name="T69" fmla="*/ 70 h 74"/>
                <a:gd name="T70" fmla="*/ 44 w 74"/>
                <a:gd name="T71" fmla="*/ 72 h 74"/>
                <a:gd name="T72" fmla="*/ 38 w 74"/>
                <a:gd name="T73" fmla="*/ 74 h 74"/>
                <a:gd name="T74" fmla="*/ 38 w 74"/>
                <a:gd name="T75" fmla="*/ 74 h 74"/>
                <a:gd name="T76" fmla="*/ 38 w 74"/>
                <a:gd name="T77" fmla="*/ 18 h 74"/>
                <a:gd name="T78" fmla="*/ 38 w 74"/>
                <a:gd name="T79" fmla="*/ 18 h 74"/>
                <a:gd name="T80" fmla="*/ 30 w 74"/>
                <a:gd name="T81" fmla="*/ 20 h 74"/>
                <a:gd name="T82" fmla="*/ 24 w 74"/>
                <a:gd name="T83" fmla="*/ 24 h 74"/>
                <a:gd name="T84" fmla="*/ 20 w 74"/>
                <a:gd name="T85" fmla="*/ 30 h 74"/>
                <a:gd name="T86" fmla="*/ 18 w 74"/>
                <a:gd name="T87" fmla="*/ 36 h 74"/>
                <a:gd name="T88" fmla="*/ 18 w 74"/>
                <a:gd name="T89" fmla="*/ 36 h 74"/>
                <a:gd name="T90" fmla="*/ 20 w 74"/>
                <a:gd name="T91" fmla="*/ 44 h 74"/>
                <a:gd name="T92" fmla="*/ 24 w 74"/>
                <a:gd name="T93" fmla="*/ 50 h 74"/>
                <a:gd name="T94" fmla="*/ 30 w 74"/>
                <a:gd name="T95" fmla="*/ 54 h 74"/>
                <a:gd name="T96" fmla="*/ 38 w 74"/>
                <a:gd name="T97" fmla="*/ 56 h 74"/>
                <a:gd name="T98" fmla="*/ 38 w 74"/>
                <a:gd name="T99" fmla="*/ 56 h 74"/>
                <a:gd name="T100" fmla="*/ 44 w 74"/>
                <a:gd name="T101" fmla="*/ 54 h 74"/>
                <a:gd name="T102" fmla="*/ 50 w 74"/>
                <a:gd name="T103" fmla="*/ 50 h 74"/>
                <a:gd name="T104" fmla="*/ 54 w 74"/>
                <a:gd name="T105" fmla="*/ 44 h 74"/>
                <a:gd name="T106" fmla="*/ 56 w 74"/>
                <a:gd name="T107" fmla="*/ 36 h 74"/>
                <a:gd name="T108" fmla="*/ 56 w 74"/>
                <a:gd name="T109" fmla="*/ 36 h 74"/>
                <a:gd name="T110" fmla="*/ 54 w 74"/>
                <a:gd name="T111" fmla="*/ 30 h 74"/>
                <a:gd name="T112" fmla="*/ 50 w 74"/>
                <a:gd name="T113" fmla="*/ 24 h 74"/>
                <a:gd name="T114" fmla="*/ 44 w 74"/>
                <a:gd name="T115" fmla="*/ 20 h 74"/>
                <a:gd name="T116" fmla="*/ 38 w 74"/>
                <a:gd name="T117" fmla="*/ 18 h 74"/>
                <a:gd name="T118" fmla="*/ 38 w 74"/>
                <a:gd name="T119" fmla="*/ 18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4" h="74">
                  <a:moveTo>
                    <a:pt x="38" y="74"/>
                  </a:moveTo>
                  <a:lnTo>
                    <a:pt x="38" y="74"/>
                  </a:lnTo>
                  <a:lnTo>
                    <a:pt x="30" y="72"/>
                  </a:lnTo>
                  <a:lnTo>
                    <a:pt x="24" y="70"/>
                  </a:lnTo>
                  <a:lnTo>
                    <a:pt x="16" y="68"/>
                  </a:lnTo>
                  <a:lnTo>
                    <a:pt x="12" y="62"/>
                  </a:lnTo>
                  <a:lnTo>
                    <a:pt x="6" y="58"/>
                  </a:lnTo>
                  <a:lnTo>
                    <a:pt x="4" y="52"/>
                  </a:lnTo>
                  <a:lnTo>
                    <a:pt x="2" y="44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2" y="30"/>
                  </a:lnTo>
                  <a:lnTo>
                    <a:pt x="4" y="22"/>
                  </a:lnTo>
                  <a:lnTo>
                    <a:pt x="6" y="16"/>
                  </a:lnTo>
                  <a:lnTo>
                    <a:pt x="12" y="10"/>
                  </a:lnTo>
                  <a:lnTo>
                    <a:pt x="16" y="6"/>
                  </a:lnTo>
                  <a:lnTo>
                    <a:pt x="24" y="2"/>
                  </a:lnTo>
                  <a:lnTo>
                    <a:pt x="30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44" y="0"/>
                  </a:lnTo>
                  <a:lnTo>
                    <a:pt x="52" y="2"/>
                  </a:lnTo>
                  <a:lnTo>
                    <a:pt x="58" y="6"/>
                  </a:lnTo>
                  <a:lnTo>
                    <a:pt x="64" y="10"/>
                  </a:lnTo>
                  <a:lnTo>
                    <a:pt x="68" y="16"/>
                  </a:lnTo>
                  <a:lnTo>
                    <a:pt x="72" y="22"/>
                  </a:lnTo>
                  <a:lnTo>
                    <a:pt x="74" y="30"/>
                  </a:lnTo>
                  <a:lnTo>
                    <a:pt x="74" y="36"/>
                  </a:lnTo>
                  <a:lnTo>
                    <a:pt x="74" y="36"/>
                  </a:lnTo>
                  <a:lnTo>
                    <a:pt x="74" y="44"/>
                  </a:lnTo>
                  <a:lnTo>
                    <a:pt x="72" y="52"/>
                  </a:lnTo>
                  <a:lnTo>
                    <a:pt x="68" y="58"/>
                  </a:lnTo>
                  <a:lnTo>
                    <a:pt x="64" y="62"/>
                  </a:lnTo>
                  <a:lnTo>
                    <a:pt x="58" y="68"/>
                  </a:lnTo>
                  <a:lnTo>
                    <a:pt x="52" y="70"/>
                  </a:lnTo>
                  <a:lnTo>
                    <a:pt x="44" y="72"/>
                  </a:lnTo>
                  <a:lnTo>
                    <a:pt x="38" y="74"/>
                  </a:lnTo>
                  <a:lnTo>
                    <a:pt x="38" y="74"/>
                  </a:lnTo>
                  <a:close/>
                  <a:moveTo>
                    <a:pt x="38" y="18"/>
                  </a:moveTo>
                  <a:lnTo>
                    <a:pt x="38" y="18"/>
                  </a:lnTo>
                  <a:lnTo>
                    <a:pt x="30" y="20"/>
                  </a:lnTo>
                  <a:lnTo>
                    <a:pt x="24" y="24"/>
                  </a:lnTo>
                  <a:lnTo>
                    <a:pt x="20" y="30"/>
                  </a:lnTo>
                  <a:lnTo>
                    <a:pt x="18" y="36"/>
                  </a:lnTo>
                  <a:lnTo>
                    <a:pt x="18" y="36"/>
                  </a:lnTo>
                  <a:lnTo>
                    <a:pt x="20" y="44"/>
                  </a:lnTo>
                  <a:lnTo>
                    <a:pt x="24" y="50"/>
                  </a:lnTo>
                  <a:lnTo>
                    <a:pt x="30" y="54"/>
                  </a:lnTo>
                  <a:lnTo>
                    <a:pt x="38" y="56"/>
                  </a:lnTo>
                  <a:lnTo>
                    <a:pt x="38" y="56"/>
                  </a:lnTo>
                  <a:lnTo>
                    <a:pt x="44" y="54"/>
                  </a:lnTo>
                  <a:lnTo>
                    <a:pt x="50" y="50"/>
                  </a:lnTo>
                  <a:lnTo>
                    <a:pt x="54" y="44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4" y="30"/>
                  </a:lnTo>
                  <a:lnTo>
                    <a:pt x="50" y="24"/>
                  </a:lnTo>
                  <a:lnTo>
                    <a:pt x="44" y="20"/>
                  </a:lnTo>
                  <a:lnTo>
                    <a:pt x="38" y="18"/>
                  </a:lnTo>
                  <a:lnTo>
                    <a:pt x="38" y="18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+mj-lt"/>
              </a:endParaRPr>
            </a:p>
          </p:txBody>
        </p:sp>
        <p:sp>
          <p:nvSpPr>
            <p:cNvPr id="70" name="Freeform 15">
              <a:extLst>
                <a:ext uri="{FF2B5EF4-FFF2-40B4-BE49-F238E27FC236}">
                  <a16:creationId xmlns:a16="http://schemas.microsoft.com/office/drawing/2014/main" id="{273E4E97-D8CD-4E7B-9A8E-BF54F898E1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52" y="1404"/>
              <a:ext cx="74" cy="74"/>
            </a:xfrm>
            <a:custGeom>
              <a:avLst/>
              <a:gdLst>
                <a:gd name="T0" fmla="*/ 38 w 74"/>
                <a:gd name="T1" fmla="*/ 74 h 74"/>
                <a:gd name="T2" fmla="*/ 38 w 74"/>
                <a:gd name="T3" fmla="*/ 74 h 74"/>
                <a:gd name="T4" fmla="*/ 30 w 74"/>
                <a:gd name="T5" fmla="*/ 72 h 74"/>
                <a:gd name="T6" fmla="*/ 24 w 74"/>
                <a:gd name="T7" fmla="*/ 70 h 74"/>
                <a:gd name="T8" fmla="*/ 18 w 74"/>
                <a:gd name="T9" fmla="*/ 68 h 74"/>
                <a:gd name="T10" fmla="*/ 12 w 74"/>
                <a:gd name="T11" fmla="*/ 62 h 74"/>
                <a:gd name="T12" fmla="*/ 8 w 74"/>
                <a:gd name="T13" fmla="*/ 58 h 74"/>
                <a:gd name="T14" fmla="*/ 4 w 74"/>
                <a:gd name="T15" fmla="*/ 52 h 74"/>
                <a:gd name="T16" fmla="*/ 2 w 74"/>
                <a:gd name="T17" fmla="*/ 44 h 74"/>
                <a:gd name="T18" fmla="*/ 0 w 74"/>
                <a:gd name="T19" fmla="*/ 36 h 74"/>
                <a:gd name="T20" fmla="*/ 0 w 74"/>
                <a:gd name="T21" fmla="*/ 36 h 74"/>
                <a:gd name="T22" fmla="*/ 2 w 74"/>
                <a:gd name="T23" fmla="*/ 30 h 74"/>
                <a:gd name="T24" fmla="*/ 4 w 74"/>
                <a:gd name="T25" fmla="*/ 22 h 74"/>
                <a:gd name="T26" fmla="*/ 8 w 74"/>
                <a:gd name="T27" fmla="*/ 16 h 74"/>
                <a:gd name="T28" fmla="*/ 12 w 74"/>
                <a:gd name="T29" fmla="*/ 10 h 74"/>
                <a:gd name="T30" fmla="*/ 18 w 74"/>
                <a:gd name="T31" fmla="*/ 6 h 74"/>
                <a:gd name="T32" fmla="*/ 24 w 74"/>
                <a:gd name="T33" fmla="*/ 2 h 74"/>
                <a:gd name="T34" fmla="*/ 30 w 74"/>
                <a:gd name="T35" fmla="*/ 0 h 74"/>
                <a:gd name="T36" fmla="*/ 38 w 74"/>
                <a:gd name="T37" fmla="*/ 0 h 74"/>
                <a:gd name="T38" fmla="*/ 38 w 74"/>
                <a:gd name="T39" fmla="*/ 0 h 74"/>
                <a:gd name="T40" fmla="*/ 46 w 74"/>
                <a:gd name="T41" fmla="*/ 0 h 74"/>
                <a:gd name="T42" fmla="*/ 52 w 74"/>
                <a:gd name="T43" fmla="*/ 2 h 74"/>
                <a:gd name="T44" fmla="*/ 58 w 74"/>
                <a:gd name="T45" fmla="*/ 6 h 74"/>
                <a:gd name="T46" fmla="*/ 64 w 74"/>
                <a:gd name="T47" fmla="*/ 10 h 74"/>
                <a:gd name="T48" fmla="*/ 68 w 74"/>
                <a:gd name="T49" fmla="*/ 16 h 74"/>
                <a:gd name="T50" fmla="*/ 72 w 74"/>
                <a:gd name="T51" fmla="*/ 22 h 74"/>
                <a:gd name="T52" fmla="*/ 74 w 74"/>
                <a:gd name="T53" fmla="*/ 30 h 74"/>
                <a:gd name="T54" fmla="*/ 74 w 74"/>
                <a:gd name="T55" fmla="*/ 36 h 74"/>
                <a:gd name="T56" fmla="*/ 74 w 74"/>
                <a:gd name="T57" fmla="*/ 36 h 74"/>
                <a:gd name="T58" fmla="*/ 74 w 74"/>
                <a:gd name="T59" fmla="*/ 44 h 74"/>
                <a:gd name="T60" fmla="*/ 72 w 74"/>
                <a:gd name="T61" fmla="*/ 52 h 74"/>
                <a:gd name="T62" fmla="*/ 68 w 74"/>
                <a:gd name="T63" fmla="*/ 58 h 74"/>
                <a:gd name="T64" fmla="*/ 64 w 74"/>
                <a:gd name="T65" fmla="*/ 62 h 74"/>
                <a:gd name="T66" fmla="*/ 58 w 74"/>
                <a:gd name="T67" fmla="*/ 68 h 74"/>
                <a:gd name="T68" fmla="*/ 52 w 74"/>
                <a:gd name="T69" fmla="*/ 70 h 74"/>
                <a:gd name="T70" fmla="*/ 46 w 74"/>
                <a:gd name="T71" fmla="*/ 72 h 74"/>
                <a:gd name="T72" fmla="*/ 38 w 74"/>
                <a:gd name="T73" fmla="*/ 74 h 74"/>
                <a:gd name="T74" fmla="*/ 38 w 74"/>
                <a:gd name="T75" fmla="*/ 74 h 74"/>
                <a:gd name="T76" fmla="*/ 38 w 74"/>
                <a:gd name="T77" fmla="*/ 18 h 74"/>
                <a:gd name="T78" fmla="*/ 38 w 74"/>
                <a:gd name="T79" fmla="*/ 18 h 74"/>
                <a:gd name="T80" fmla="*/ 30 w 74"/>
                <a:gd name="T81" fmla="*/ 20 h 74"/>
                <a:gd name="T82" fmla="*/ 24 w 74"/>
                <a:gd name="T83" fmla="*/ 24 h 74"/>
                <a:gd name="T84" fmla="*/ 20 w 74"/>
                <a:gd name="T85" fmla="*/ 30 h 74"/>
                <a:gd name="T86" fmla="*/ 18 w 74"/>
                <a:gd name="T87" fmla="*/ 36 h 74"/>
                <a:gd name="T88" fmla="*/ 18 w 74"/>
                <a:gd name="T89" fmla="*/ 36 h 74"/>
                <a:gd name="T90" fmla="*/ 20 w 74"/>
                <a:gd name="T91" fmla="*/ 44 h 74"/>
                <a:gd name="T92" fmla="*/ 24 w 74"/>
                <a:gd name="T93" fmla="*/ 50 h 74"/>
                <a:gd name="T94" fmla="*/ 30 w 74"/>
                <a:gd name="T95" fmla="*/ 54 h 74"/>
                <a:gd name="T96" fmla="*/ 38 w 74"/>
                <a:gd name="T97" fmla="*/ 56 h 74"/>
                <a:gd name="T98" fmla="*/ 38 w 74"/>
                <a:gd name="T99" fmla="*/ 56 h 74"/>
                <a:gd name="T100" fmla="*/ 44 w 74"/>
                <a:gd name="T101" fmla="*/ 54 h 74"/>
                <a:gd name="T102" fmla="*/ 50 w 74"/>
                <a:gd name="T103" fmla="*/ 50 h 74"/>
                <a:gd name="T104" fmla="*/ 54 w 74"/>
                <a:gd name="T105" fmla="*/ 44 h 74"/>
                <a:gd name="T106" fmla="*/ 56 w 74"/>
                <a:gd name="T107" fmla="*/ 36 h 74"/>
                <a:gd name="T108" fmla="*/ 56 w 74"/>
                <a:gd name="T109" fmla="*/ 36 h 74"/>
                <a:gd name="T110" fmla="*/ 54 w 74"/>
                <a:gd name="T111" fmla="*/ 30 h 74"/>
                <a:gd name="T112" fmla="*/ 50 w 74"/>
                <a:gd name="T113" fmla="*/ 24 h 74"/>
                <a:gd name="T114" fmla="*/ 44 w 74"/>
                <a:gd name="T115" fmla="*/ 20 h 74"/>
                <a:gd name="T116" fmla="*/ 38 w 74"/>
                <a:gd name="T117" fmla="*/ 18 h 74"/>
                <a:gd name="T118" fmla="*/ 38 w 74"/>
                <a:gd name="T119" fmla="*/ 18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4" h="74">
                  <a:moveTo>
                    <a:pt x="38" y="74"/>
                  </a:moveTo>
                  <a:lnTo>
                    <a:pt x="38" y="74"/>
                  </a:lnTo>
                  <a:lnTo>
                    <a:pt x="30" y="72"/>
                  </a:lnTo>
                  <a:lnTo>
                    <a:pt x="24" y="70"/>
                  </a:lnTo>
                  <a:lnTo>
                    <a:pt x="18" y="68"/>
                  </a:lnTo>
                  <a:lnTo>
                    <a:pt x="12" y="62"/>
                  </a:lnTo>
                  <a:lnTo>
                    <a:pt x="8" y="58"/>
                  </a:lnTo>
                  <a:lnTo>
                    <a:pt x="4" y="52"/>
                  </a:lnTo>
                  <a:lnTo>
                    <a:pt x="2" y="44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2" y="30"/>
                  </a:lnTo>
                  <a:lnTo>
                    <a:pt x="4" y="22"/>
                  </a:lnTo>
                  <a:lnTo>
                    <a:pt x="8" y="16"/>
                  </a:lnTo>
                  <a:lnTo>
                    <a:pt x="12" y="10"/>
                  </a:lnTo>
                  <a:lnTo>
                    <a:pt x="18" y="6"/>
                  </a:lnTo>
                  <a:lnTo>
                    <a:pt x="24" y="2"/>
                  </a:lnTo>
                  <a:lnTo>
                    <a:pt x="30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46" y="0"/>
                  </a:lnTo>
                  <a:lnTo>
                    <a:pt x="52" y="2"/>
                  </a:lnTo>
                  <a:lnTo>
                    <a:pt x="58" y="6"/>
                  </a:lnTo>
                  <a:lnTo>
                    <a:pt x="64" y="10"/>
                  </a:lnTo>
                  <a:lnTo>
                    <a:pt x="68" y="16"/>
                  </a:lnTo>
                  <a:lnTo>
                    <a:pt x="72" y="22"/>
                  </a:lnTo>
                  <a:lnTo>
                    <a:pt x="74" y="30"/>
                  </a:lnTo>
                  <a:lnTo>
                    <a:pt x="74" y="36"/>
                  </a:lnTo>
                  <a:lnTo>
                    <a:pt x="74" y="36"/>
                  </a:lnTo>
                  <a:lnTo>
                    <a:pt x="74" y="44"/>
                  </a:lnTo>
                  <a:lnTo>
                    <a:pt x="72" y="52"/>
                  </a:lnTo>
                  <a:lnTo>
                    <a:pt x="68" y="58"/>
                  </a:lnTo>
                  <a:lnTo>
                    <a:pt x="64" y="62"/>
                  </a:lnTo>
                  <a:lnTo>
                    <a:pt x="58" y="68"/>
                  </a:lnTo>
                  <a:lnTo>
                    <a:pt x="52" y="70"/>
                  </a:lnTo>
                  <a:lnTo>
                    <a:pt x="46" y="72"/>
                  </a:lnTo>
                  <a:lnTo>
                    <a:pt x="38" y="74"/>
                  </a:lnTo>
                  <a:lnTo>
                    <a:pt x="38" y="74"/>
                  </a:lnTo>
                  <a:close/>
                  <a:moveTo>
                    <a:pt x="38" y="18"/>
                  </a:moveTo>
                  <a:lnTo>
                    <a:pt x="38" y="18"/>
                  </a:lnTo>
                  <a:lnTo>
                    <a:pt x="30" y="20"/>
                  </a:lnTo>
                  <a:lnTo>
                    <a:pt x="24" y="24"/>
                  </a:lnTo>
                  <a:lnTo>
                    <a:pt x="20" y="30"/>
                  </a:lnTo>
                  <a:lnTo>
                    <a:pt x="18" y="36"/>
                  </a:lnTo>
                  <a:lnTo>
                    <a:pt x="18" y="36"/>
                  </a:lnTo>
                  <a:lnTo>
                    <a:pt x="20" y="44"/>
                  </a:lnTo>
                  <a:lnTo>
                    <a:pt x="24" y="50"/>
                  </a:lnTo>
                  <a:lnTo>
                    <a:pt x="30" y="54"/>
                  </a:lnTo>
                  <a:lnTo>
                    <a:pt x="38" y="56"/>
                  </a:lnTo>
                  <a:lnTo>
                    <a:pt x="38" y="56"/>
                  </a:lnTo>
                  <a:lnTo>
                    <a:pt x="44" y="54"/>
                  </a:lnTo>
                  <a:lnTo>
                    <a:pt x="50" y="50"/>
                  </a:lnTo>
                  <a:lnTo>
                    <a:pt x="54" y="44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4" y="30"/>
                  </a:lnTo>
                  <a:lnTo>
                    <a:pt x="50" y="24"/>
                  </a:lnTo>
                  <a:lnTo>
                    <a:pt x="44" y="20"/>
                  </a:lnTo>
                  <a:lnTo>
                    <a:pt x="38" y="18"/>
                  </a:lnTo>
                  <a:lnTo>
                    <a:pt x="38" y="18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+mj-lt"/>
              </a:endParaRPr>
            </a:p>
          </p:txBody>
        </p:sp>
        <p:sp>
          <p:nvSpPr>
            <p:cNvPr id="71" name="Rectangle 16">
              <a:extLst>
                <a:ext uri="{FF2B5EF4-FFF2-40B4-BE49-F238E27FC236}">
                  <a16:creationId xmlns:a16="http://schemas.microsoft.com/office/drawing/2014/main" id="{0B3E4843-0F23-4463-9CC9-D34D1B1FE7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66" y="1278"/>
              <a:ext cx="54" cy="18"/>
            </a:xfrm>
            <a:prstGeom prst="rect">
              <a:avLst/>
            </a:pr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+mj-lt"/>
              </a:endParaRPr>
            </a:p>
          </p:txBody>
        </p:sp>
        <p:sp>
          <p:nvSpPr>
            <p:cNvPr id="72" name="Freeform 17">
              <a:extLst>
                <a:ext uri="{FF2B5EF4-FFF2-40B4-BE49-F238E27FC236}">
                  <a16:creationId xmlns:a16="http://schemas.microsoft.com/office/drawing/2014/main" id="{CF23A89A-99D6-41A6-9273-A043723C15CE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8" y="1272"/>
              <a:ext cx="182" cy="18"/>
            </a:xfrm>
            <a:custGeom>
              <a:avLst/>
              <a:gdLst>
                <a:gd name="T0" fmla="*/ 174 w 182"/>
                <a:gd name="T1" fmla="*/ 18 h 18"/>
                <a:gd name="T2" fmla="*/ 10 w 182"/>
                <a:gd name="T3" fmla="*/ 18 h 18"/>
                <a:gd name="T4" fmla="*/ 10 w 182"/>
                <a:gd name="T5" fmla="*/ 18 h 18"/>
                <a:gd name="T6" fmla="*/ 6 w 182"/>
                <a:gd name="T7" fmla="*/ 18 h 18"/>
                <a:gd name="T8" fmla="*/ 4 w 182"/>
                <a:gd name="T9" fmla="*/ 16 h 18"/>
                <a:gd name="T10" fmla="*/ 2 w 182"/>
                <a:gd name="T11" fmla="*/ 14 h 18"/>
                <a:gd name="T12" fmla="*/ 0 w 182"/>
                <a:gd name="T13" fmla="*/ 10 h 18"/>
                <a:gd name="T14" fmla="*/ 0 w 182"/>
                <a:gd name="T15" fmla="*/ 10 h 18"/>
                <a:gd name="T16" fmla="*/ 2 w 182"/>
                <a:gd name="T17" fmla="*/ 6 h 18"/>
                <a:gd name="T18" fmla="*/ 4 w 182"/>
                <a:gd name="T19" fmla="*/ 4 h 18"/>
                <a:gd name="T20" fmla="*/ 6 w 182"/>
                <a:gd name="T21" fmla="*/ 2 h 18"/>
                <a:gd name="T22" fmla="*/ 10 w 182"/>
                <a:gd name="T23" fmla="*/ 0 h 18"/>
                <a:gd name="T24" fmla="*/ 174 w 182"/>
                <a:gd name="T25" fmla="*/ 0 h 18"/>
                <a:gd name="T26" fmla="*/ 174 w 182"/>
                <a:gd name="T27" fmla="*/ 0 h 18"/>
                <a:gd name="T28" fmla="*/ 176 w 182"/>
                <a:gd name="T29" fmla="*/ 2 h 18"/>
                <a:gd name="T30" fmla="*/ 180 w 182"/>
                <a:gd name="T31" fmla="*/ 4 h 18"/>
                <a:gd name="T32" fmla="*/ 182 w 182"/>
                <a:gd name="T33" fmla="*/ 6 h 18"/>
                <a:gd name="T34" fmla="*/ 182 w 182"/>
                <a:gd name="T35" fmla="*/ 10 h 18"/>
                <a:gd name="T36" fmla="*/ 182 w 182"/>
                <a:gd name="T37" fmla="*/ 10 h 18"/>
                <a:gd name="T38" fmla="*/ 182 w 182"/>
                <a:gd name="T39" fmla="*/ 14 h 18"/>
                <a:gd name="T40" fmla="*/ 180 w 182"/>
                <a:gd name="T41" fmla="*/ 16 h 18"/>
                <a:gd name="T42" fmla="*/ 176 w 182"/>
                <a:gd name="T43" fmla="*/ 18 h 18"/>
                <a:gd name="T44" fmla="*/ 174 w 182"/>
                <a:gd name="T45" fmla="*/ 18 h 18"/>
                <a:gd name="T46" fmla="*/ 174 w 182"/>
                <a:gd name="T4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82" h="18">
                  <a:moveTo>
                    <a:pt x="174" y="18"/>
                  </a:moveTo>
                  <a:lnTo>
                    <a:pt x="10" y="18"/>
                  </a:lnTo>
                  <a:lnTo>
                    <a:pt x="10" y="18"/>
                  </a:lnTo>
                  <a:lnTo>
                    <a:pt x="6" y="18"/>
                  </a:lnTo>
                  <a:lnTo>
                    <a:pt x="4" y="16"/>
                  </a:lnTo>
                  <a:lnTo>
                    <a:pt x="2" y="14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2" y="6"/>
                  </a:lnTo>
                  <a:lnTo>
                    <a:pt x="4" y="4"/>
                  </a:lnTo>
                  <a:lnTo>
                    <a:pt x="6" y="2"/>
                  </a:lnTo>
                  <a:lnTo>
                    <a:pt x="10" y="0"/>
                  </a:lnTo>
                  <a:lnTo>
                    <a:pt x="174" y="0"/>
                  </a:lnTo>
                  <a:lnTo>
                    <a:pt x="174" y="0"/>
                  </a:lnTo>
                  <a:lnTo>
                    <a:pt x="176" y="2"/>
                  </a:lnTo>
                  <a:lnTo>
                    <a:pt x="180" y="4"/>
                  </a:lnTo>
                  <a:lnTo>
                    <a:pt x="182" y="6"/>
                  </a:lnTo>
                  <a:lnTo>
                    <a:pt x="182" y="10"/>
                  </a:lnTo>
                  <a:lnTo>
                    <a:pt x="182" y="10"/>
                  </a:lnTo>
                  <a:lnTo>
                    <a:pt x="182" y="14"/>
                  </a:lnTo>
                  <a:lnTo>
                    <a:pt x="180" y="16"/>
                  </a:lnTo>
                  <a:lnTo>
                    <a:pt x="176" y="18"/>
                  </a:lnTo>
                  <a:lnTo>
                    <a:pt x="174" y="18"/>
                  </a:lnTo>
                  <a:lnTo>
                    <a:pt x="174" y="18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+mj-lt"/>
              </a:endParaRPr>
            </a:p>
          </p:txBody>
        </p:sp>
        <p:sp>
          <p:nvSpPr>
            <p:cNvPr id="73" name="Freeform 18">
              <a:extLst>
                <a:ext uri="{FF2B5EF4-FFF2-40B4-BE49-F238E27FC236}">
                  <a16:creationId xmlns:a16="http://schemas.microsoft.com/office/drawing/2014/main" id="{F6814B17-AE31-41DD-B7D3-AEAA48CFCA2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90" y="1208"/>
              <a:ext cx="164" cy="18"/>
            </a:xfrm>
            <a:custGeom>
              <a:avLst/>
              <a:gdLst>
                <a:gd name="T0" fmla="*/ 156 w 164"/>
                <a:gd name="T1" fmla="*/ 18 h 18"/>
                <a:gd name="T2" fmla="*/ 8 w 164"/>
                <a:gd name="T3" fmla="*/ 18 h 18"/>
                <a:gd name="T4" fmla="*/ 8 w 164"/>
                <a:gd name="T5" fmla="*/ 18 h 18"/>
                <a:gd name="T6" fmla="*/ 6 w 164"/>
                <a:gd name="T7" fmla="*/ 18 h 18"/>
                <a:gd name="T8" fmla="*/ 2 w 164"/>
                <a:gd name="T9" fmla="*/ 16 h 18"/>
                <a:gd name="T10" fmla="*/ 0 w 164"/>
                <a:gd name="T11" fmla="*/ 12 h 18"/>
                <a:gd name="T12" fmla="*/ 0 w 164"/>
                <a:gd name="T13" fmla="*/ 8 h 18"/>
                <a:gd name="T14" fmla="*/ 0 w 164"/>
                <a:gd name="T15" fmla="*/ 8 h 18"/>
                <a:gd name="T16" fmla="*/ 0 w 164"/>
                <a:gd name="T17" fmla="*/ 6 h 18"/>
                <a:gd name="T18" fmla="*/ 2 w 164"/>
                <a:gd name="T19" fmla="*/ 2 h 18"/>
                <a:gd name="T20" fmla="*/ 6 w 164"/>
                <a:gd name="T21" fmla="*/ 0 h 18"/>
                <a:gd name="T22" fmla="*/ 8 w 164"/>
                <a:gd name="T23" fmla="*/ 0 h 18"/>
                <a:gd name="T24" fmla="*/ 156 w 164"/>
                <a:gd name="T25" fmla="*/ 0 h 18"/>
                <a:gd name="T26" fmla="*/ 156 w 164"/>
                <a:gd name="T27" fmla="*/ 0 h 18"/>
                <a:gd name="T28" fmla="*/ 158 w 164"/>
                <a:gd name="T29" fmla="*/ 0 h 18"/>
                <a:gd name="T30" fmla="*/ 162 w 164"/>
                <a:gd name="T31" fmla="*/ 2 h 18"/>
                <a:gd name="T32" fmla="*/ 164 w 164"/>
                <a:gd name="T33" fmla="*/ 6 h 18"/>
                <a:gd name="T34" fmla="*/ 164 w 164"/>
                <a:gd name="T35" fmla="*/ 8 h 18"/>
                <a:gd name="T36" fmla="*/ 164 w 164"/>
                <a:gd name="T37" fmla="*/ 8 h 18"/>
                <a:gd name="T38" fmla="*/ 164 w 164"/>
                <a:gd name="T39" fmla="*/ 12 h 18"/>
                <a:gd name="T40" fmla="*/ 162 w 164"/>
                <a:gd name="T41" fmla="*/ 16 h 18"/>
                <a:gd name="T42" fmla="*/ 158 w 164"/>
                <a:gd name="T43" fmla="*/ 18 h 18"/>
                <a:gd name="T44" fmla="*/ 156 w 164"/>
                <a:gd name="T45" fmla="*/ 18 h 18"/>
                <a:gd name="T46" fmla="*/ 156 w 164"/>
                <a:gd name="T4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64" h="18">
                  <a:moveTo>
                    <a:pt x="156" y="18"/>
                  </a:moveTo>
                  <a:lnTo>
                    <a:pt x="8" y="18"/>
                  </a:lnTo>
                  <a:lnTo>
                    <a:pt x="8" y="18"/>
                  </a:lnTo>
                  <a:lnTo>
                    <a:pt x="6" y="18"/>
                  </a:lnTo>
                  <a:lnTo>
                    <a:pt x="2" y="16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6"/>
                  </a:lnTo>
                  <a:lnTo>
                    <a:pt x="2" y="2"/>
                  </a:lnTo>
                  <a:lnTo>
                    <a:pt x="6" y="0"/>
                  </a:lnTo>
                  <a:lnTo>
                    <a:pt x="8" y="0"/>
                  </a:lnTo>
                  <a:lnTo>
                    <a:pt x="156" y="0"/>
                  </a:lnTo>
                  <a:lnTo>
                    <a:pt x="156" y="0"/>
                  </a:lnTo>
                  <a:lnTo>
                    <a:pt x="158" y="0"/>
                  </a:lnTo>
                  <a:lnTo>
                    <a:pt x="162" y="2"/>
                  </a:lnTo>
                  <a:lnTo>
                    <a:pt x="164" y="6"/>
                  </a:lnTo>
                  <a:lnTo>
                    <a:pt x="164" y="8"/>
                  </a:lnTo>
                  <a:lnTo>
                    <a:pt x="164" y="8"/>
                  </a:lnTo>
                  <a:lnTo>
                    <a:pt x="164" y="12"/>
                  </a:lnTo>
                  <a:lnTo>
                    <a:pt x="162" y="16"/>
                  </a:lnTo>
                  <a:lnTo>
                    <a:pt x="158" y="18"/>
                  </a:lnTo>
                  <a:lnTo>
                    <a:pt x="156" y="18"/>
                  </a:lnTo>
                  <a:lnTo>
                    <a:pt x="156" y="18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+mj-lt"/>
              </a:endParaRPr>
            </a:p>
          </p:txBody>
        </p:sp>
        <p:sp>
          <p:nvSpPr>
            <p:cNvPr id="74" name="Freeform 19">
              <a:extLst>
                <a:ext uri="{FF2B5EF4-FFF2-40B4-BE49-F238E27FC236}">
                  <a16:creationId xmlns:a16="http://schemas.microsoft.com/office/drawing/2014/main" id="{3CE5CCA3-9CE1-4770-BA54-C66BE9522C55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8" y="1144"/>
              <a:ext cx="152" cy="18"/>
            </a:xfrm>
            <a:custGeom>
              <a:avLst/>
              <a:gdLst>
                <a:gd name="T0" fmla="*/ 144 w 152"/>
                <a:gd name="T1" fmla="*/ 18 h 18"/>
                <a:gd name="T2" fmla="*/ 8 w 152"/>
                <a:gd name="T3" fmla="*/ 18 h 18"/>
                <a:gd name="T4" fmla="*/ 8 w 152"/>
                <a:gd name="T5" fmla="*/ 18 h 18"/>
                <a:gd name="T6" fmla="*/ 4 w 152"/>
                <a:gd name="T7" fmla="*/ 16 h 18"/>
                <a:gd name="T8" fmla="*/ 2 w 152"/>
                <a:gd name="T9" fmla="*/ 14 h 18"/>
                <a:gd name="T10" fmla="*/ 0 w 152"/>
                <a:gd name="T11" fmla="*/ 12 h 18"/>
                <a:gd name="T12" fmla="*/ 0 w 152"/>
                <a:gd name="T13" fmla="*/ 8 h 18"/>
                <a:gd name="T14" fmla="*/ 0 w 152"/>
                <a:gd name="T15" fmla="*/ 8 h 18"/>
                <a:gd name="T16" fmla="*/ 0 w 152"/>
                <a:gd name="T17" fmla="*/ 4 h 18"/>
                <a:gd name="T18" fmla="*/ 2 w 152"/>
                <a:gd name="T19" fmla="*/ 2 h 18"/>
                <a:gd name="T20" fmla="*/ 4 w 152"/>
                <a:gd name="T21" fmla="*/ 0 h 18"/>
                <a:gd name="T22" fmla="*/ 8 w 152"/>
                <a:gd name="T23" fmla="*/ 0 h 18"/>
                <a:gd name="T24" fmla="*/ 144 w 152"/>
                <a:gd name="T25" fmla="*/ 0 h 18"/>
                <a:gd name="T26" fmla="*/ 144 w 152"/>
                <a:gd name="T27" fmla="*/ 0 h 18"/>
                <a:gd name="T28" fmla="*/ 146 w 152"/>
                <a:gd name="T29" fmla="*/ 0 h 18"/>
                <a:gd name="T30" fmla="*/ 150 w 152"/>
                <a:gd name="T31" fmla="*/ 2 h 18"/>
                <a:gd name="T32" fmla="*/ 152 w 152"/>
                <a:gd name="T33" fmla="*/ 4 h 18"/>
                <a:gd name="T34" fmla="*/ 152 w 152"/>
                <a:gd name="T35" fmla="*/ 8 h 18"/>
                <a:gd name="T36" fmla="*/ 152 w 152"/>
                <a:gd name="T37" fmla="*/ 8 h 18"/>
                <a:gd name="T38" fmla="*/ 152 w 152"/>
                <a:gd name="T39" fmla="*/ 12 h 18"/>
                <a:gd name="T40" fmla="*/ 150 w 152"/>
                <a:gd name="T41" fmla="*/ 14 h 18"/>
                <a:gd name="T42" fmla="*/ 146 w 152"/>
                <a:gd name="T43" fmla="*/ 16 h 18"/>
                <a:gd name="T44" fmla="*/ 144 w 152"/>
                <a:gd name="T45" fmla="*/ 18 h 18"/>
                <a:gd name="T46" fmla="*/ 144 w 152"/>
                <a:gd name="T4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52" h="18">
                  <a:moveTo>
                    <a:pt x="144" y="18"/>
                  </a:moveTo>
                  <a:lnTo>
                    <a:pt x="8" y="18"/>
                  </a:lnTo>
                  <a:lnTo>
                    <a:pt x="8" y="18"/>
                  </a:lnTo>
                  <a:lnTo>
                    <a:pt x="4" y="16"/>
                  </a:lnTo>
                  <a:lnTo>
                    <a:pt x="2" y="14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2" y="2"/>
                  </a:lnTo>
                  <a:lnTo>
                    <a:pt x="4" y="0"/>
                  </a:lnTo>
                  <a:lnTo>
                    <a:pt x="8" y="0"/>
                  </a:lnTo>
                  <a:lnTo>
                    <a:pt x="144" y="0"/>
                  </a:lnTo>
                  <a:lnTo>
                    <a:pt x="144" y="0"/>
                  </a:lnTo>
                  <a:lnTo>
                    <a:pt x="146" y="0"/>
                  </a:lnTo>
                  <a:lnTo>
                    <a:pt x="150" y="2"/>
                  </a:lnTo>
                  <a:lnTo>
                    <a:pt x="152" y="4"/>
                  </a:lnTo>
                  <a:lnTo>
                    <a:pt x="152" y="8"/>
                  </a:lnTo>
                  <a:lnTo>
                    <a:pt x="152" y="8"/>
                  </a:lnTo>
                  <a:lnTo>
                    <a:pt x="152" y="12"/>
                  </a:lnTo>
                  <a:lnTo>
                    <a:pt x="150" y="14"/>
                  </a:lnTo>
                  <a:lnTo>
                    <a:pt x="146" y="16"/>
                  </a:lnTo>
                  <a:lnTo>
                    <a:pt x="144" y="18"/>
                  </a:lnTo>
                  <a:lnTo>
                    <a:pt x="144" y="18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+mj-lt"/>
              </a:endParaRPr>
            </a:p>
          </p:txBody>
        </p:sp>
        <p:sp>
          <p:nvSpPr>
            <p:cNvPr id="75" name="Freeform 20">
              <a:extLst>
                <a:ext uri="{FF2B5EF4-FFF2-40B4-BE49-F238E27FC236}">
                  <a16:creationId xmlns:a16="http://schemas.microsoft.com/office/drawing/2014/main" id="{4C259284-579D-4BD2-8787-368CC022A6A2}"/>
                </a:ext>
              </a:extLst>
            </p:cNvPr>
            <p:cNvSpPr>
              <a:spLocks/>
            </p:cNvSpPr>
            <p:nvPr/>
          </p:nvSpPr>
          <p:spPr bwMode="auto">
            <a:xfrm>
              <a:off x="4590" y="1078"/>
              <a:ext cx="164" cy="18"/>
            </a:xfrm>
            <a:custGeom>
              <a:avLst/>
              <a:gdLst>
                <a:gd name="T0" fmla="*/ 156 w 164"/>
                <a:gd name="T1" fmla="*/ 18 h 18"/>
                <a:gd name="T2" fmla="*/ 8 w 164"/>
                <a:gd name="T3" fmla="*/ 18 h 18"/>
                <a:gd name="T4" fmla="*/ 8 w 164"/>
                <a:gd name="T5" fmla="*/ 18 h 18"/>
                <a:gd name="T6" fmla="*/ 6 w 164"/>
                <a:gd name="T7" fmla="*/ 18 h 18"/>
                <a:gd name="T8" fmla="*/ 2 w 164"/>
                <a:gd name="T9" fmla="*/ 16 h 18"/>
                <a:gd name="T10" fmla="*/ 0 w 164"/>
                <a:gd name="T11" fmla="*/ 14 h 18"/>
                <a:gd name="T12" fmla="*/ 0 w 164"/>
                <a:gd name="T13" fmla="*/ 10 h 18"/>
                <a:gd name="T14" fmla="*/ 0 w 164"/>
                <a:gd name="T15" fmla="*/ 10 h 18"/>
                <a:gd name="T16" fmla="*/ 0 w 164"/>
                <a:gd name="T17" fmla="*/ 6 h 18"/>
                <a:gd name="T18" fmla="*/ 2 w 164"/>
                <a:gd name="T19" fmla="*/ 4 h 18"/>
                <a:gd name="T20" fmla="*/ 6 w 164"/>
                <a:gd name="T21" fmla="*/ 2 h 18"/>
                <a:gd name="T22" fmla="*/ 8 w 164"/>
                <a:gd name="T23" fmla="*/ 0 h 18"/>
                <a:gd name="T24" fmla="*/ 156 w 164"/>
                <a:gd name="T25" fmla="*/ 0 h 18"/>
                <a:gd name="T26" fmla="*/ 156 w 164"/>
                <a:gd name="T27" fmla="*/ 0 h 18"/>
                <a:gd name="T28" fmla="*/ 158 w 164"/>
                <a:gd name="T29" fmla="*/ 2 h 18"/>
                <a:gd name="T30" fmla="*/ 162 w 164"/>
                <a:gd name="T31" fmla="*/ 4 h 18"/>
                <a:gd name="T32" fmla="*/ 164 w 164"/>
                <a:gd name="T33" fmla="*/ 6 h 18"/>
                <a:gd name="T34" fmla="*/ 164 w 164"/>
                <a:gd name="T35" fmla="*/ 10 h 18"/>
                <a:gd name="T36" fmla="*/ 164 w 164"/>
                <a:gd name="T37" fmla="*/ 10 h 18"/>
                <a:gd name="T38" fmla="*/ 164 w 164"/>
                <a:gd name="T39" fmla="*/ 14 h 18"/>
                <a:gd name="T40" fmla="*/ 162 w 164"/>
                <a:gd name="T41" fmla="*/ 16 h 18"/>
                <a:gd name="T42" fmla="*/ 158 w 164"/>
                <a:gd name="T43" fmla="*/ 18 h 18"/>
                <a:gd name="T44" fmla="*/ 156 w 164"/>
                <a:gd name="T45" fmla="*/ 18 h 18"/>
                <a:gd name="T46" fmla="*/ 156 w 164"/>
                <a:gd name="T4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64" h="18">
                  <a:moveTo>
                    <a:pt x="156" y="18"/>
                  </a:moveTo>
                  <a:lnTo>
                    <a:pt x="8" y="18"/>
                  </a:lnTo>
                  <a:lnTo>
                    <a:pt x="8" y="18"/>
                  </a:lnTo>
                  <a:lnTo>
                    <a:pt x="6" y="18"/>
                  </a:lnTo>
                  <a:lnTo>
                    <a:pt x="2" y="16"/>
                  </a:lnTo>
                  <a:lnTo>
                    <a:pt x="0" y="14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6"/>
                  </a:lnTo>
                  <a:lnTo>
                    <a:pt x="2" y="4"/>
                  </a:lnTo>
                  <a:lnTo>
                    <a:pt x="6" y="2"/>
                  </a:lnTo>
                  <a:lnTo>
                    <a:pt x="8" y="0"/>
                  </a:lnTo>
                  <a:lnTo>
                    <a:pt x="156" y="0"/>
                  </a:lnTo>
                  <a:lnTo>
                    <a:pt x="156" y="0"/>
                  </a:lnTo>
                  <a:lnTo>
                    <a:pt x="158" y="2"/>
                  </a:lnTo>
                  <a:lnTo>
                    <a:pt x="162" y="4"/>
                  </a:lnTo>
                  <a:lnTo>
                    <a:pt x="164" y="6"/>
                  </a:lnTo>
                  <a:lnTo>
                    <a:pt x="164" y="10"/>
                  </a:lnTo>
                  <a:lnTo>
                    <a:pt x="164" y="10"/>
                  </a:lnTo>
                  <a:lnTo>
                    <a:pt x="164" y="14"/>
                  </a:lnTo>
                  <a:lnTo>
                    <a:pt x="162" y="16"/>
                  </a:lnTo>
                  <a:lnTo>
                    <a:pt x="158" y="18"/>
                  </a:lnTo>
                  <a:lnTo>
                    <a:pt x="156" y="18"/>
                  </a:lnTo>
                  <a:lnTo>
                    <a:pt x="156" y="18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+mj-lt"/>
              </a:endParaRPr>
            </a:p>
          </p:txBody>
        </p:sp>
        <p:sp>
          <p:nvSpPr>
            <p:cNvPr id="76" name="Freeform 21">
              <a:extLst>
                <a:ext uri="{FF2B5EF4-FFF2-40B4-BE49-F238E27FC236}">
                  <a16:creationId xmlns:a16="http://schemas.microsoft.com/office/drawing/2014/main" id="{BC254482-6018-46FF-B0A5-1ACB8B305FE4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8" y="1014"/>
              <a:ext cx="182" cy="18"/>
            </a:xfrm>
            <a:custGeom>
              <a:avLst/>
              <a:gdLst>
                <a:gd name="T0" fmla="*/ 174 w 182"/>
                <a:gd name="T1" fmla="*/ 18 h 18"/>
                <a:gd name="T2" fmla="*/ 10 w 182"/>
                <a:gd name="T3" fmla="*/ 18 h 18"/>
                <a:gd name="T4" fmla="*/ 10 w 182"/>
                <a:gd name="T5" fmla="*/ 18 h 18"/>
                <a:gd name="T6" fmla="*/ 6 w 182"/>
                <a:gd name="T7" fmla="*/ 18 h 18"/>
                <a:gd name="T8" fmla="*/ 4 w 182"/>
                <a:gd name="T9" fmla="*/ 16 h 18"/>
                <a:gd name="T10" fmla="*/ 2 w 182"/>
                <a:gd name="T11" fmla="*/ 12 h 18"/>
                <a:gd name="T12" fmla="*/ 0 w 182"/>
                <a:gd name="T13" fmla="*/ 8 h 18"/>
                <a:gd name="T14" fmla="*/ 0 w 182"/>
                <a:gd name="T15" fmla="*/ 8 h 18"/>
                <a:gd name="T16" fmla="*/ 2 w 182"/>
                <a:gd name="T17" fmla="*/ 6 h 18"/>
                <a:gd name="T18" fmla="*/ 4 w 182"/>
                <a:gd name="T19" fmla="*/ 2 h 18"/>
                <a:gd name="T20" fmla="*/ 6 w 182"/>
                <a:gd name="T21" fmla="*/ 0 h 18"/>
                <a:gd name="T22" fmla="*/ 10 w 182"/>
                <a:gd name="T23" fmla="*/ 0 h 18"/>
                <a:gd name="T24" fmla="*/ 174 w 182"/>
                <a:gd name="T25" fmla="*/ 0 h 18"/>
                <a:gd name="T26" fmla="*/ 174 w 182"/>
                <a:gd name="T27" fmla="*/ 0 h 18"/>
                <a:gd name="T28" fmla="*/ 176 w 182"/>
                <a:gd name="T29" fmla="*/ 0 h 18"/>
                <a:gd name="T30" fmla="*/ 180 w 182"/>
                <a:gd name="T31" fmla="*/ 2 h 18"/>
                <a:gd name="T32" fmla="*/ 182 w 182"/>
                <a:gd name="T33" fmla="*/ 6 h 18"/>
                <a:gd name="T34" fmla="*/ 182 w 182"/>
                <a:gd name="T35" fmla="*/ 8 h 18"/>
                <a:gd name="T36" fmla="*/ 182 w 182"/>
                <a:gd name="T37" fmla="*/ 8 h 18"/>
                <a:gd name="T38" fmla="*/ 182 w 182"/>
                <a:gd name="T39" fmla="*/ 12 h 18"/>
                <a:gd name="T40" fmla="*/ 180 w 182"/>
                <a:gd name="T41" fmla="*/ 16 h 18"/>
                <a:gd name="T42" fmla="*/ 176 w 182"/>
                <a:gd name="T43" fmla="*/ 18 h 18"/>
                <a:gd name="T44" fmla="*/ 174 w 182"/>
                <a:gd name="T45" fmla="*/ 18 h 18"/>
                <a:gd name="T46" fmla="*/ 174 w 182"/>
                <a:gd name="T4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82" h="18">
                  <a:moveTo>
                    <a:pt x="174" y="18"/>
                  </a:moveTo>
                  <a:lnTo>
                    <a:pt x="10" y="18"/>
                  </a:lnTo>
                  <a:lnTo>
                    <a:pt x="10" y="18"/>
                  </a:lnTo>
                  <a:lnTo>
                    <a:pt x="6" y="18"/>
                  </a:lnTo>
                  <a:lnTo>
                    <a:pt x="4" y="16"/>
                  </a:lnTo>
                  <a:lnTo>
                    <a:pt x="2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2" y="6"/>
                  </a:lnTo>
                  <a:lnTo>
                    <a:pt x="4" y="2"/>
                  </a:lnTo>
                  <a:lnTo>
                    <a:pt x="6" y="0"/>
                  </a:lnTo>
                  <a:lnTo>
                    <a:pt x="10" y="0"/>
                  </a:lnTo>
                  <a:lnTo>
                    <a:pt x="174" y="0"/>
                  </a:lnTo>
                  <a:lnTo>
                    <a:pt x="174" y="0"/>
                  </a:lnTo>
                  <a:lnTo>
                    <a:pt x="176" y="0"/>
                  </a:lnTo>
                  <a:lnTo>
                    <a:pt x="180" y="2"/>
                  </a:lnTo>
                  <a:lnTo>
                    <a:pt x="182" y="6"/>
                  </a:lnTo>
                  <a:lnTo>
                    <a:pt x="182" y="8"/>
                  </a:lnTo>
                  <a:lnTo>
                    <a:pt x="182" y="8"/>
                  </a:lnTo>
                  <a:lnTo>
                    <a:pt x="182" y="12"/>
                  </a:lnTo>
                  <a:lnTo>
                    <a:pt x="180" y="16"/>
                  </a:lnTo>
                  <a:lnTo>
                    <a:pt x="176" y="18"/>
                  </a:lnTo>
                  <a:lnTo>
                    <a:pt x="174" y="18"/>
                  </a:lnTo>
                  <a:lnTo>
                    <a:pt x="174" y="18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+mj-lt"/>
              </a:endParaRPr>
            </a:p>
          </p:txBody>
        </p:sp>
      </p:grpSp>
      <p:sp>
        <p:nvSpPr>
          <p:cNvPr id="77" name="Rectangle 76">
            <a:extLst>
              <a:ext uri="{FF2B5EF4-FFF2-40B4-BE49-F238E27FC236}">
                <a16:creationId xmlns:a16="http://schemas.microsoft.com/office/drawing/2014/main" id="{D0C93DFF-5CE3-4702-AA46-2AAC87DAD370}"/>
              </a:ext>
            </a:extLst>
          </p:cNvPr>
          <p:cNvSpPr/>
          <p:nvPr/>
        </p:nvSpPr>
        <p:spPr>
          <a:xfrm>
            <a:off x="1157413" y="5245534"/>
            <a:ext cx="311906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chemeClr val="tx2"/>
                </a:solidFill>
                <a:latin typeface="+mj-lt"/>
              </a:rPr>
              <a:t>Транспортные средства и комплектующие, контейнеры и др.</a:t>
            </a:r>
            <a:endParaRPr lang="en-US" sz="1200" b="1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BF642A26-7361-459A-896F-454508CA00C0}"/>
              </a:ext>
            </a:extLst>
          </p:cNvPr>
          <p:cNvSpPr/>
          <p:nvPr/>
        </p:nvSpPr>
        <p:spPr>
          <a:xfrm>
            <a:off x="1166477" y="5944808"/>
            <a:ext cx="327969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chemeClr val="tx2"/>
                </a:solidFill>
                <a:latin typeface="+mj-lt"/>
              </a:rPr>
              <a:t>Сельскохозяйственная техника и части к ней</a:t>
            </a:r>
            <a:endParaRPr lang="en-US" sz="1200" b="1" dirty="0">
              <a:solidFill>
                <a:schemeClr val="tx2"/>
              </a:solidFill>
              <a:latin typeface="+mj-lt"/>
            </a:endParaRPr>
          </a:p>
        </p:txBody>
      </p:sp>
      <p:grpSp>
        <p:nvGrpSpPr>
          <p:cNvPr id="79" name="Group 89">
            <a:extLst>
              <a:ext uri="{FF2B5EF4-FFF2-40B4-BE49-F238E27FC236}">
                <a16:creationId xmlns:a16="http://schemas.microsoft.com/office/drawing/2014/main" id="{15C783B7-17BA-4D96-A3DA-A4A08551128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68339" y="5944808"/>
            <a:ext cx="439823" cy="409001"/>
            <a:chOff x="4445" y="3018"/>
            <a:chExt cx="742" cy="690"/>
          </a:xfrm>
        </p:grpSpPr>
        <p:sp>
          <p:nvSpPr>
            <p:cNvPr id="80" name="AutoShape 88">
              <a:extLst>
                <a:ext uri="{FF2B5EF4-FFF2-40B4-BE49-F238E27FC236}">
                  <a16:creationId xmlns:a16="http://schemas.microsoft.com/office/drawing/2014/main" id="{AEE044F6-0440-419A-91E3-FDD8B5F542E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445" y="3018"/>
              <a:ext cx="742" cy="6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+mj-lt"/>
              </a:endParaRPr>
            </a:p>
          </p:txBody>
        </p:sp>
        <p:sp>
          <p:nvSpPr>
            <p:cNvPr id="81" name="Freeform 90">
              <a:extLst>
                <a:ext uri="{FF2B5EF4-FFF2-40B4-BE49-F238E27FC236}">
                  <a16:creationId xmlns:a16="http://schemas.microsoft.com/office/drawing/2014/main" id="{444F53D9-8970-4FBC-8AD2-873A2C99E707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3" y="3424"/>
              <a:ext cx="396" cy="168"/>
            </a:xfrm>
            <a:custGeom>
              <a:avLst/>
              <a:gdLst>
                <a:gd name="T0" fmla="*/ 172 w 396"/>
                <a:gd name="T1" fmla="*/ 168 h 168"/>
                <a:gd name="T2" fmla="*/ 172 w 396"/>
                <a:gd name="T3" fmla="*/ 160 h 168"/>
                <a:gd name="T4" fmla="*/ 180 w 396"/>
                <a:gd name="T5" fmla="*/ 138 h 168"/>
                <a:gd name="T6" fmla="*/ 194 w 396"/>
                <a:gd name="T7" fmla="*/ 126 h 168"/>
                <a:gd name="T8" fmla="*/ 218 w 396"/>
                <a:gd name="T9" fmla="*/ 116 h 168"/>
                <a:gd name="T10" fmla="*/ 346 w 396"/>
                <a:gd name="T11" fmla="*/ 116 h 168"/>
                <a:gd name="T12" fmla="*/ 360 w 396"/>
                <a:gd name="T13" fmla="*/ 116 h 168"/>
                <a:gd name="T14" fmla="*/ 374 w 396"/>
                <a:gd name="T15" fmla="*/ 110 h 168"/>
                <a:gd name="T16" fmla="*/ 378 w 396"/>
                <a:gd name="T17" fmla="*/ 104 h 168"/>
                <a:gd name="T18" fmla="*/ 378 w 396"/>
                <a:gd name="T19" fmla="*/ 96 h 168"/>
                <a:gd name="T20" fmla="*/ 372 w 396"/>
                <a:gd name="T21" fmla="*/ 78 h 168"/>
                <a:gd name="T22" fmla="*/ 360 w 396"/>
                <a:gd name="T23" fmla="*/ 66 h 168"/>
                <a:gd name="T24" fmla="*/ 352 w 396"/>
                <a:gd name="T25" fmla="*/ 64 h 168"/>
                <a:gd name="T26" fmla="*/ 230 w 396"/>
                <a:gd name="T27" fmla="*/ 64 h 168"/>
                <a:gd name="T28" fmla="*/ 202 w 396"/>
                <a:gd name="T29" fmla="*/ 58 h 168"/>
                <a:gd name="T30" fmla="*/ 116 w 396"/>
                <a:gd name="T31" fmla="*/ 20 h 168"/>
                <a:gd name="T32" fmla="*/ 0 w 396"/>
                <a:gd name="T33" fmla="*/ 18 h 168"/>
                <a:gd name="T34" fmla="*/ 108 w 396"/>
                <a:gd name="T35" fmla="*/ 0 h 168"/>
                <a:gd name="T36" fmla="*/ 116 w 396"/>
                <a:gd name="T37" fmla="*/ 0 h 168"/>
                <a:gd name="T38" fmla="*/ 210 w 396"/>
                <a:gd name="T39" fmla="*/ 42 h 168"/>
                <a:gd name="T40" fmla="*/ 220 w 396"/>
                <a:gd name="T41" fmla="*/ 46 h 168"/>
                <a:gd name="T42" fmla="*/ 352 w 396"/>
                <a:gd name="T43" fmla="*/ 46 h 168"/>
                <a:gd name="T44" fmla="*/ 360 w 396"/>
                <a:gd name="T45" fmla="*/ 48 h 168"/>
                <a:gd name="T46" fmla="*/ 368 w 396"/>
                <a:gd name="T47" fmla="*/ 50 h 168"/>
                <a:gd name="T48" fmla="*/ 388 w 396"/>
                <a:gd name="T49" fmla="*/ 70 h 168"/>
                <a:gd name="T50" fmla="*/ 396 w 396"/>
                <a:gd name="T51" fmla="*/ 96 h 168"/>
                <a:gd name="T52" fmla="*/ 396 w 396"/>
                <a:gd name="T53" fmla="*/ 104 h 168"/>
                <a:gd name="T54" fmla="*/ 390 w 396"/>
                <a:gd name="T55" fmla="*/ 116 h 168"/>
                <a:gd name="T56" fmla="*/ 386 w 396"/>
                <a:gd name="T57" fmla="*/ 122 h 168"/>
                <a:gd name="T58" fmla="*/ 374 w 396"/>
                <a:gd name="T59" fmla="*/ 130 h 168"/>
                <a:gd name="T60" fmla="*/ 352 w 396"/>
                <a:gd name="T61" fmla="*/ 134 h 168"/>
                <a:gd name="T62" fmla="*/ 220 w 396"/>
                <a:gd name="T63" fmla="*/ 134 h 168"/>
                <a:gd name="T64" fmla="*/ 214 w 396"/>
                <a:gd name="T65" fmla="*/ 136 h 168"/>
                <a:gd name="T66" fmla="*/ 194 w 396"/>
                <a:gd name="T67" fmla="*/ 148 h 168"/>
                <a:gd name="T68" fmla="*/ 190 w 396"/>
                <a:gd name="T69" fmla="*/ 16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96" h="168">
                  <a:moveTo>
                    <a:pt x="190" y="168"/>
                  </a:moveTo>
                  <a:lnTo>
                    <a:pt x="172" y="168"/>
                  </a:lnTo>
                  <a:lnTo>
                    <a:pt x="172" y="160"/>
                  </a:lnTo>
                  <a:lnTo>
                    <a:pt x="172" y="160"/>
                  </a:lnTo>
                  <a:lnTo>
                    <a:pt x="174" y="148"/>
                  </a:lnTo>
                  <a:lnTo>
                    <a:pt x="180" y="138"/>
                  </a:lnTo>
                  <a:lnTo>
                    <a:pt x="186" y="132"/>
                  </a:lnTo>
                  <a:lnTo>
                    <a:pt x="194" y="126"/>
                  </a:lnTo>
                  <a:lnTo>
                    <a:pt x="210" y="118"/>
                  </a:lnTo>
                  <a:lnTo>
                    <a:pt x="218" y="116"/>
                  </a:lnTo>
                  <a:lnTo>
                    <a:pt x="218" y="116"/>
                  </a:lnTo>
                  <a:lnTo>
                    <a:pt x="346" y="116"/>
                  </a:lnTo>
                  <a:lnTo>
                    <a:pt x="346" y="116"/>
                  </a:lnTo>
                  <a:lnTo>
                    <a:pt x="360" y="116"/>
                  </a:lnTo>
                  <a:lnTo>
                    <a:pt x="366" y="114"/>
                  </a:lnTo>
                  <a:lnTo>
                    <a:pt x="374" y="110"/>
                  </a:lnTo>
                  <a:lnTo>
                    <a:pt x="374" y="110"/>
                  </a:lnTo>
                  <a:lnTo>
                    <a:pt x="378" y="104"/>
                  </a:lnTo>
                  <a:lnTo>
                    <a:pt x="378" y="96"/>
                  </a:lnTo>
                  <a:lnTo>
                    <a:pt x="378" y="96"/>
                  </a:lnTo>
                  <a:lnTo>
                    <a:pt x="376" y="86"/>
                  </a:lnTo>
                  <a:lnTo>
                    <a:pt x="372" y="78"/>
                  </a:lnTo>
                  <a:lnTo>
                    <a:pt x="366" y="70"/>
                  </a:lnTo>
                  <a:lnTo>
                    <a:pt x="360" y="66"/>
                  </a:lnTo>
                  <a:lnTo>
                    <a:pt x="360" y="66"/>
                  </a:lnTo>
                  <a:lnTo>
                    <a:pt x="352" y="64"/>
                  </a:lnTo>
                  <a:lnTo>
                    <a:pt x="230" y="64"/>
                  </a:lnTo>
                  <a:lnTo>
                    <a:pt x="230" y="64"/>
                  </a:lnTo>
                  <a:lnTo>
                    <a:pt x="216" y="64"/>
                  </a:lnTo>
                  <a:lnTo>
                    <a:pt x="202" y="58"/>
                  </a:lnTo>
                  <a:lnTo>
                    <a:pt x="116" y="20"/>
                  </a:lnTo>
                  <a:lnTo>
                    <a:pt x="116" y="20"/>
                  </a:lnTo>
                  <a:lnTo>
                    <a:pt x="108" y="1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116" y="0"/>
                  </a:lnTo>
                  <a:lnTo>
                    <a:pt x="124" y="2"/>
                  </a:lnTo>
                  <a:lnTo>
                    <a:pt x="210" y="42"/>
                  </a:lnTo>
                  <a:lnTo>
                    <a:pt x="210" y="42"/>
                  </a:lnTo>
                  <a:lnTo>
                    <a:pt x="220" y="46"/>
                  </a:lnTo>
                  <a:lnTo>
                    <a:pt x="230" y="46"/>
                  </a:lnTo>
                  <a:lnTo>
                    <a:pt x="352" y="46"/>
                  </a:lnTo>
                  <a:lnTo>
                    <a:pt x="352" y="46"/>
                  </a:lnTo>
                  <a:lnTo>
                    <a:pt x="360" y="48"/>
                  </a:lnTo>
                  <a:lnTo>
                    <a:pt x="368" y="50"/>
                  </a:lnTo>
                  <a:lnTo>
                    <a:pt x="368" y="50"/>
                  </a:lnTo>
                  <a:lnTo>
                    <a:pt x="380" y="58"/>
                  </a:lnTo>
                  <a:lnTo>
                    <a:pt x="388" y="70"/>
                  </a:lnTo>
                  <a:lnTo>
                    <a:pt x="394" y="82"/>
                  </a:lnTo>
                  <a:lnTo>
                    <a:pt x="396" y="96"/>
                  </a:lnTo>
                  <a:lnTo>
                    <a:pt x="396" y="96"/>
                  </a:lnTo>
                  <a:lnTo>
                    <a:pt x="396" y="104"/>
                  </a:lnTo>
                  <a:lnTo>
                    <a:pt x="394" y="110"/>
                  </a:lnTo>
                  <a:lnTo>
                    <a:pt x="390" y="116"/>
                  </a:lnTo>
                  <a:lnTo>
                    <a:pt x="386" y="122"/>
                  </a:lnTo>
                  <a:lnTo>
                    <a:pt x="386" y="122"/>
                  </a:lnTo>
                  <a:lnTo>
                    <a:pt x="380" y="126"/>
                  </a:lnTo>
                  <a:lnTo>
                    <a:pt x="374" y="130"/>
                  </a:lnTo>
                  <a:lnTo>
                    <a:pt x="362" y="134"/>
                  </a:lnTo>
                  <a:lnTo>
                    <a:pt x="352" y="134"/>
                  </a:lnTo>
                  <a:lnTo>
                    <a:pt x="346" y="134"/>
                  </a:lnTo>
                  <a:lnTo>
                    <a:pt x="220" y="134"/>
                  </a:lnTo>
                  <a:lnTo>
                    <a:pt x="220" y="134"/>
                  </a:lnTo>
                  <a:lnTo>
                    <a:pt x="214" y="136"/>
                  </a:lnTo>
                  <a:lnTo>
                    <a:pt x="204" y="142"/>
                  </a:lnTo>
                  <a:lnTo>
                    <a:pt x="194" y="148"/>
                  </a:lnTo>
                  <a:lnTo>
                    <a:pt x="192" y="154"/>
                  </a:lnTo>
                  <a:lnTo>
                    <a:pt x="190" y="160"/>
                  </a:lnTo>
                  <a:lnTo>
                    <a:pt x="190" y="168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+mj-lt"/>
              </a:endParaRPr>
            </a:p>
          </p:txBody>
        </p:sp>
        <p:sp>
          <p:nvSpPr>
            <p:cNvPr id="82" name="Freeform 91">
              <a:extLst>
                <a:ext uri="{FF2B5EF4-FFF2-40B4-BE49-F238E27FC236}">
                  <a16:creationId xmlns:a16="http://schemas.microsoft.com/office/drawing/2014/main" id="{62BFA30D-F9AD-4712-9720-FECE5A34E8DB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3" y="3454"/>
              <a:ext cx="614" cy="254"/>
            </a:xfrm>
            <a:custGeom>
              <a:avLst/>
              <a:gdLst>
                <a:gd name="T0" fmla="*/ 304 w 614"/>
                <a:gd name="T1" fmla="*/ 254 h 254"/>
                <a:gd name="T2" fmla="*/ 264 w 614"/>
                <a:gd name="T3" fmla="*/ 246 h 254"/>
                <a:gd name="T4" fmla="*/ 76 w 614"/>
                <a:gd name="T5" fmla="*/ 178 h 254"/>
                <a:gd name="T6" fmla="*/ 0 w 614"/>
                <a:gd name="T7" fmla="*/ 160 h 254"/>
                <a:gd name="T8" fmla="*/ 254 w 614"/>
                <a:gd name="T9" fmla="*/ 222 h 254"/>
                <a:gd name="T10" fmla="*/ 270 w 614"/>
                <a:gd name="T11" fmla="*/ 228 h 254"/>
                <a:gd name="T12" fmla="*/ 304 w 614"/>
                <a:gd name="T13" fmla="*/ 236 h 254"/>
                <a:gd name="T14" fmla="*/ 320 w 614"/>
                <a:gd name="T15" fmla="*/ 234 h 254"/>
                <a:gd name="T16" fmla="*/ 342 w 614"/>
                <a:gd name="T17" fmla="*/ 224 h 254"/>
                <a:gd name="T18" fmla="*/ 568 w 614"/>
                <a:gd name="T19" fmla="*/ 76 h 254"/>
                <a:gd name="T20" fmla="*/ 584 w 614"/>
                <a:gd name="T21" fmla="*/ 64 h 254"/>
                <a:gd name="T22" fmla="*/ 594 w 614"/>
                <a:gd name="T23" fmla="*/ 50 h 254"/>
                <a:gd name="T24" fmla="*/ 596 w 614"/>
                <a:gd name="T25" fmla="*/ 44 h 254"/>
                <a:gd name="T26" fmla="*/ 592 w 614"/>
                <a:gd name="T27" fmla="*/ 28 h 254"/>
                <a:gd name="T28" fmla="*/ 588 w 614"/>
                <a:gd name="T29" fmla="*/ 24 h 254"/>
                <a:gd name="T30" fmla="*/ 572 w 614"/>
                <a:gd name="T31" fmla="*/ 18 h 254"/>
                <a:gd name="T32" fmla="*/ 548 w 614"/>
                <a:gd name="T33" fmla="*/ 24 h 254"/>
                <a:gd name="T34" fmla="*/ 520 w 614"/>
                <a:gd name="T35" fmla="*/ 38 h 254"/>
                <a:gd name="T36" fmla="*/ 502 w 614"/>
                <a:gd name="T37" fmla="*/ 48 h 254"/>
                <a:gd name="T38" fmla="*/ 438 w 614"/>
                <a:gd name="T39" fmla="*/ 82 h 254"/>
                <a:gd name="T40" fmla="*/ 390 w 614"/>
                <a:gd name="T41" fmla="*/ 100 h 254"/>
                <a:gd name="T42" fmla="*/ 360 w 614"/>
                <a:gd name="T43" fmla="*/ 104 h 254"/>
                <a:gd name="T44" fmla="*/ 368 w 614"/>
                <a:gd name="T45" fmla="*/ 86 h 254"/>
                <a:gd name="T46" fmla="*/ 388 w 614"/>
                <a:gd name="T47" fmla="*/ 82 h 254"/>
                <a:gd name="T48" fmla="*/ 434 w 614"/>
                <a:gd name="T49" fmla="*/ 64 h 254"/>
                <a:gd name="T50" fmla="*/ 494 w 614"/>
                <a:gd name="T51" fmla="*/ 32 h 254"/>
                <a:gd name="T52" fmla="*/ 510 w 614"/>
                <a:gd name="T53" fmla="*/ 24 h 254"/>
                <a:gd name="T54" fmla="*/ 532 w 614"/>
                <a:gd name="T55" fmla="*/ 10 h 254"/>
                <a:gd name="T56" fmla="*/ 562 w 614"/>
                <a:gd name="T57" fmla="*/ 0 h 254"/>
                <a:gd name="T58" fmla="*/ 586 w 614"/>
                <a:gd name="T59" fmla="*/ 2 h 254"/>
                <a:gd name="T60" fmla="*/ 600 w 614"/>
                <a:gd name="T61" fmla="*/ 10 h 254"/>
                <a:gd name="T62" fmla="*/ 606 w 614"/>
                <a:gd name="T63" fmla="*/ 16 h 254"/>
                <a:gd name="T64" fmla="*/ 614 w 614"/>
                <a:gd name="T65" fmla="*/ 32 h 254"/>
                <a:gd name="T66" fmla="*/ 614 w 614"/>
                <a:gd name="T67" fmla="*/ 48 h 254"/>
                <a:gd name="T68" fmla="*/ 610 w 614"/>
                <a:gd name="T69" fmla="*/ 58 h 254"/>
                <a:gd name="T70" fmla="*/ 594 w 614"/>
                <a:gd name="T71" fmla="*/ 80 h 254"/>
                <a:gd name="T72" fmla="*/ 576 w 614"/>
                <a:gd name="T73" fmla="*/ 92 h 254"/>
                <a:gd name="T74" fmla="*/ 352 w 614"/>
                <a:gd name="T75" fmla="*/ 238 h 254"/>
                <a:gd name="T76" fmla="*/ 340 w 614"/>
                <a:gd name="T77" fmla="*/ 246 h 254"/>
                <a:gd name="T78" fmla="*/ 304 w 614"/>
                <a:gd name="T79" fmla="*/ 254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614" h="254">
                  <a:moveTo>
                    <a:pt x="304" y="254"/>
                  </a:moveTo>
                  <a:lnTo>
                    <a:pt x="304" y="254"/>
                  </a:lnTo>
                  <a:lnTo>
                    <a:pt x="282" y="250"/>
                  </a:lnTo>
                  <a:lnTo>
                    <a:pt x="264" y="246"/>
                  </a:lnTo>
                  <a:lnTo>
                    <a:pt x="246" y="238"/>
                  </a:lnTo>
                  <a:lnTo>
                    <a:pt x="76" y="178"/>
                  </a:lnTo>
                  <a:lnTo>
                    <a:pt x="0" y="178"/>
                  </a:lnTo>
                  <a:lnTo>
                    <a:pt x="0" y="160"/>
                  </a:lnTo>
                  <a:lnTo>
                    <a:pt x="82" y="160"/>
                  </a:lnTo>
                  <a:lnTo>
                    <a:pt x="254" y="222"/>
                  </a:lnTo>
                  <a:lnTo>
                    <a:pt x="254" y="222"/>
                  </a:lnTo>
                  <a:lnTo>
                    <a:pt x="270" y="228"/>
                  </a:lnTo>
                  <a:lnTo>
                    <a:pt x="286" y="234"/>
                  </a:lnTo>
                  <a:lnTo>
                    <a:pt x="304" y="236"/>
                  </a:lnTo>
                  <a:lnTo>
                    <a:pt x="304" y="236"/>
                  </a:lnTo>
                  <a:lnTo>
                    <a:pt x="320" y="234"/>
                  </a:lnTo>
                  <a:lnTo>
                    <a:pt x="332" y="230"/>
                  </a:lnTo>
                  <a:lnTo>
                    <a:pt x="342" y="224"/>
                  </a:lnTo>
                  <a:lnTo>
                    <a:pt x="568" y="76"/>
                  </a:lnTo>
                  <a:lnTo>
                    <a:pt x="568" y="76"/>
                  </a:lnTo>
                  <a:lnTo>
                    <a:pt x="574" y="72"/>
                  </a:lnTo>
                  <a:lnTo>
                    <a:pt x="584" y="64"/>
                  </a:lnTo>
                  <a:lnTo>
                    <a:pt x="592" y="54"/>
                  </a:lnTo>
                  <a:lnTo>
                    <a:pt x="594" y="50"/>
                  </a:lnTo>
                  <a:lnTo>
                    <a:pt x="596" y="44"/>
                  </a:lnTo>
                  <a:lnTo>
                    <a:pt x="596" y="44"/>
                  </a:lnTo>
                  <a:lnTo>
                    <a:pt x="596" y="36"/>
                  </a:lnTo>
                  <a:lnTo>
                    <a:pt x="592" y="28"/>
                  </a:lnTo>
                  <a:lnTo>
                    <a:pt x="592" y="28"/>
                  </a:lnTo>
                  <a:lnTo>
                    <a:pt x="588" y="24"/>
                  </a:lnTo>
                  <a:lnTo>
                    <a:pt x="582" y="20"/>
                  </a:lnTo>
                  <a:lnTo>
                    <a:pt x="572" y="18"/>
                  </a:lnTo>
                  <a:lnTo>
                    <a:pt x="560" y="20"/>
                  </a:lnTo>
                  <a:lnTo>
                    <a:pt x="548" y="24"/>
                  </a:lnTo>
                  <a:lnTo>
                    <a:pt x="528" y="32"/>
                  </a:lnTo>
                  <a:lnTo>
                    <a:pt x="520" y="38"/>
                  </a:lnTo>
                  <a:lnTo>
                    <a:pt x="520" y="38"/>
                  </a:lnTo>
                  <a:lnTo>
                    <a:pt x="502" y="48"/>
                  </a:lnTo>
                  <a:lnTo>
                    <a:pt x="462" y="70"/>
                  </a:lnTo>
                  <a:lnTo>
                    <a:pt x="438" y="82"/>
                  </a:lnTo>
                  <a:lnTo>
                    <a:pt x="414" y="92"/>
                  </a:lnTo>
                  <a:lnTo>
                    <a:pt x="390" y="100"/>
                  </a:lnTo>
                  <a:lnTo>
                    <a:pt x="368" y="104"/>
                  </a:lnTo>
                  <a:lnTo>
                    <a:pt x="360" y="104"/>
                  </a:lnTo>
                  <a:lnTo>
                    <a:pt x="358" y="86"/>
                  </a:lnTo>
                  <a:lnTo>
                    <a:pt x="368" y="86"/>
                  </a:lnTo>
                  <a:lnTo>
                    <a:pt x="368" y="86"/>
                  </a:lnTo>
                  <a:lnTo>
                    <a:pt x="388" y="82"/>
                  </a:lnTo>
                  <a:lnTo>
                    <a:pt x="410" y="74"/>
                  </a:lnTo>
                  <a:lnTo>
                    <a:pt x="434" y="64"/>
                  </a:lnTo>
                  <a:lnTo>
                    <a:pt x="456" y="54"/>
                  </a:lnTo>
                  <a:lnTo>
                    <a:pt x="494" y="32"/>
                  </a:lnTo>
                  <a:lnTo>
                    <a:pt x="510" y="24"/>
                  </a:lnTo>
                  <a:lnTo>
                    <a:pt x="510" y="24"/>
                  </a:lnTo>
                  <a:lnTo>
                    <a:pt x="522" y="16"/>
                  </a:lnTo>
                  <a:lnTo>
                    <a:pt x="532" y="10"/>
                  </a:lnTo>
                  <a:lnTo>
                    <a:pt x="546" y="4"/>
                  </a:lnTo>
                  <a:lnTo>
                    <a:pt x="562" y="0"/>
                  </a:lnTo>
                  <a:lnTo>
                    <a:pt x="578" y="0"/>
                  </a:lnTo>
                  <a:lnTo>
                    <a:pt x="586" y="2"/>
                  </a:lnTo>
                  <a:lnTo>
                    <a:pt x="592" y="6"/>
                  </a:lnTo>
                  <a:lnTo>
                    <a:pt x="600" y="10"/>
                  </a:lnTo>
                  <a:lnTo>
                    <a:pt x="606" y="16"/>
                  </a:lnTo>
                  <a:lnTo>
                    <a:pt x="606" y="16"/>
                  </a:lnTo>
                  <a:lnTo>
                    <a:pt x="610" y="24"/>
                  </a:lnTo>
                  <a:lnTo>
                    <a:pt x="614" y="32"/>
                  </a:lnTo>
                  <a:lnTo>
                    <a:pt x="614" y="40"/>
                  </a:lnTo>
                  <a:lnTo>
                    <a:pt x="614" y="48"/>
                  </a:lnTo>
                  <a:lnTo>
                    <a:pt x="614" y="48"/>
                  </a:lnTo>
                  <a:lnTo>
                    <a:pt x="610" y="58"/>
                  </a:lnTo>
                  <a:lnTo>
                    <a:pt x="606" y="66"/>
                  </a:lnTo>
                  <a:lnTo>
                    <a:pt x="594" y="80"/>
                  </a:lnTo>
                  <a:lnTo>
                    <a:pt x="582" y="88"/>
                  </a:lnTo>
                  <a:lnTo>
                    <a:pt x="576" y="92"/>
                  </a:lnTo>
                  <a:lnTo>
                    <a:pt x="352" y="238"/>
                  </a:lnTo>
                  <a:lnTo>
                    <a:pt x="352" y="238"/>
                  </a:lnTo>
                  <a:lnTo>
                    <a:pt x="348" y="242"/>
                  </a:lnTo>
                  <a:lnTo>
                    <a:pt x="340" y="246"/>
                  </a:lnTo>
                  <a:lnTo>
                    <a:pt x="324" y="250"/>
                  </a:lnTo>
                  <a:lnTo>
                    <a:pt x="304" y="254"/>
                  </a:lnTo>
                  <a:lnTo>
                    <a:pt x="304" y="254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+mj-lt"/>
              </a:endParaRPr>
            </a:p>
          </p:txBody>
        </p:sp>
        <p:sp>
          <p:nvSpPr>
            <p:cNvPr id="83" name="Freeform 92">
              <a:extLst>
                <a:ext uri="{FF2B5EF4-FFF2-40B4-BE49-F238E27FC236}">
                  <a16:creationId xmlns:a16="http://schemas.microsoft.com/office/drawing/2014/main" id="{86993E8C-A7DB-4B26-8998-4F5E9759EF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45" y="3388"/>
              <a:ext cx="146" cy="288"/>
            </a:xfrm>
            <a:custGeom>
              <a:avLst/>
              <a:gdLst>
                <a:gd name="T0" fmla="*/ 146 w 146"/>
                <a:gd name="T1" fmla="*/ 288 h 288"/>
                <a:gd name="T2" fmla="*/ 0 w 146"/>
                <a:gd name="T3" fmla="*/ 288 h 288"/>
                <a:gd name="T4" fmla="*/ 0 w 146"/>
                <a:gd name="T5" fmla="*/ 0 h 288"/>
                <a:gd name="T6" fmla="*/ 146 w 146"/>
                <a:gd name="T7" fmla="*/ 0 h 288"/>
                <a:gd name="T8" fmla="*/ 146 w 146"/>
                <a:gd name="T9" fmla="*/ 288 h 288"/>
                <a:gd name="T10" fmla="*/ 18 w 146"/>
                <a:gd name="T11" fmla="*/ 270 h 288"/>
                <a:gd name="T12" fmla="*/ 128 w 146"/>
                <a:gd name="T13" fmla="*/ 270 h 288"/>
                <a:gd name="T14" fmla="*/ 128 w 146"/>
                <a:gd name="T15" fmla="*/ 18 h 288"/>
                <a:gd name="T16" fmla="*/ 18 w 146"/>
                <a:gd name="T17" fmla="*/ 18 h 288"/>
                <a:gd name="T18" fmla="*/ 18 w 146"/>
                <a:gd name="T19" fmla="*/ 27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6" h="288">
                  <a:moveTo>
                    <a:pt x="146" y="288"/>
                  </a:moveTo>
                  <a:lnTo>
                    <a:pt x="0" y="288"/>
                  </a:lnTo>
                  <a:lnTo>
                    <a:pt x="0" y="0"/>
                  </a:lnTo>
                  <a:lnTo>
                    <a:pt x="146" y="0"/>
                  </a:lnTo>
                  <a:lnTo>
                    <a:pt x="146" y="288"/>
                  </a:lnTo>
                  <a:close/>
                  <a:moveTo>
                    <a:pt x="18" y="270"/>
                  </a:moveTo>
                  <a:lnTo>
                    <a:pt x="128" y="270"/>
                  </a:lnTo>
                  <a:lnTo>
                    <a:pt x="128" y="18"/>
                  </a:lnTo>
                  <a:lnTo>
                    <a:pt x="18" y="18"/>
                  </a:lnTo>
                  <a:lnTo>
                    <a:pt x="18" y="27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+mj-lt"/>
              </a:endParaRPr>
            </a:p>
          </p:txBody>
        </p:sp>
        <p:sp>
          <p:nvSpPr>
            <p:cNvPr id="84" name="Rectangle 93">
              <a:extLst>
                <a:ext uri="{FF2B5EF4-FFF2-40B4-BE49-F238E27FC236}">
                  <a16:creationId xmlns:a16="http://schemas.microsoft.com/office/drawing/2014/main" id="{4EE6FEA4-D975-4E52-B22E-966426DF7E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09" y="3482"/>
              <a:ext cx="18" cy="176"/>
            </a:xfrm>
            <a:prstGeom prst="rect">
              <a:avLst/>
            </a:pr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+mj-lt"/>
              </a:endParaRPr>
            </a:p>
          </p:txBody>
        </p:sp>
        <p:sp>
          <p:nvSpPr>
            <p:cNvPr id="85" name="Freeform 94">
              <a:extLst>
                <a:ext uri="{FF2B5EF4-FFF2-40B4-BE49-F238E27FC236}">
                  <a16:creationId xmlns:a16="http://schemas.microsoft.com/office/drawing/2014/main" id="{6DB47C48-3419-4945-8A07-8A5988CD9030}"/>
                </a:ext>
              </a:extLst>
            </p:cNvPr>
            <p:cNvSpPr>
              <a:spLocks/>
            </p:cNvSpPr>
            <p:nvPr/>
          </p:nvSpPr>
          <p:spPr bwMode="auto">
            <a:xfrm>
              <a:off x="4715" y="3358"/>
              <a:ext cx="378" cy="134"/>
            </a:xfrm>
            <a:custGeom>
              <a:avLst/>
              <a:gdLst>
                <a:gd name="T0" fmla="*/ 378 w 378"/>
                <a:gd name="T1" fmla="*/ 134 h 134"/>
                <a:gd name="T2" fmla="*/ 360 w 378"/>
                <a:gd name="T3" fmla="*/ 134 h 134"/>
                <a:gd name="T4" fmla="*/ 360 w 378"/>
                <a:gd name="T5" fmla="*/ 126 h 134"/>
                <a:gd name="T6" fmla="*/ 360 w 378"/>
                <a:gd name="T7" fmla="*/ 126 h 134"/>
                <a:gd name="T8" fmla="*/ 360 w 378"/>
                <a:gd name="T9" fmla="*/ 114 h 134"/>
                <a:gd name="T10" fmla="*/ 358 w 378"/>
                <a:gd name="T11" fmla="*/ 104 h 134"/>
                <a:gd name="T12" fmla="*/ 352 w 378"/>
                <a:gd name="T13" fmla="*/ 94 h 134"/>
                <a:gd name="T14" fmla="*/ 346 w 378"/>
                <a:gd name="T15" fmla="*/ 84 h 134"/>
                <a:gd name="T16" fmla="*/ 340 w 378"/>
                <a:gd name="T17" fmla="*/ 74 h 134"/>
                <a:gd name="T18" fmla="*/ 330 w 378"/>
                <a:gd name="T19" fmla="*/ 66 h 134"/>
                <a:gd name="T20" fmla="*/ 320 w 378"/>
                <a:gd name="T21" fmla="*/ 58 h 134"/>
                <a:gd name="T22" fmla="*/ 310 w 378"/>
                <a:gd name="T23" fmla="*/ 50 h 134"/>
                <a:gd name="T24" fmla="*/ 284 w 378"/>
                <a:gd name="T25" fmla="*/ 38 h 134"/>
                <a:gd name="T26" fmla="*/ 254 w 378"/>
                <a:gd name="T27" fmla="*/ 28 h 134"/>
                <a:gd name="T28" fmla="*/ 222 w 378"/>
                <a:gd name="T29" fmla="*/ 22 h 134"/>
                <a:gd name="T30" fmla="*/ 186 w 378"/>
                <a:gd name="T31" fmla="*/ 18 h 134"/>
                <a:gd name="T32" fmla="*/ 186 w 378"/>
                <a:gd name="T33" fmla="*/ 18 h 134"/>
                <a:gd name="T34" fmla="*/ 158 w 378"/>
                <a:gd name="T35" fmla="*/ 20 h 134"/>
                <a:gd name="T36" fmla="*/ 132 w 378"/>
                <a:gd name="T37" fmla="*/ 24 h 134"/>
                <a:gd name="T38" fmla="*/ 106 w 378"/>
                <a:gd name="T39" fmla="*/ 32 h 134"/>
                <a:gd name="T40" fmla="*/ 82 w 378"/>
                <a:gd name="T41" fmla="*/ 40 h 134"/>
                <a:gd name="T42" fmla="*/ 62 w 378"/>
                <a:gd name="T43" fmla="*/ 52 h 134"/>
                <a:gd name="T44" fmla="*/ 44 w 378"/>
                <a:gd name="T45" fmla="*/ 64 h 134"/>
                <a:gd name="T46" fmla="*/ 30 w 378"/>
                <a:gd name="T47" fmla="*/ 80 h 134"/>
                <a:gd name="T48" fmla="*/ 20 w 378"/>
                <a:gd name="T49" fmla="*/ 96 h 134"/>
                <a:gd name="T50" fmla="*/ 16 w 378"/>
                <a:gd name="T51" fmla="*/ 104 h 134"/>
                <a:gd name="T52" fmla="*/ 0 w 378"/>
                <a:gd name="T53" fmla="*/ 96 h 134"/>
                <a:gd name="T54" fmla="*/ 4 w 378"/>
                <a:gd name="T55" fmla="*/ 88 h 134"/>
                <a:gd name="T56" fmla="*/ 4 w 378"/>
                <a:gd name="T57" fmla="*/ 88 h 134"/>
                <a:gd name="T58" fmla="*/ 16 w 378"/>
                <a:gd name="T59" fmla="*/ 70 h 134"/>
                <a:gd name="T60" fmla="*/ 30 w 378"/>
                <a:gd name="T61" fmla="*/ 52 h 134"/>
                <a:gd name="T62" fmla="*/ 50 w 378"/>
                <a:gd name="T63" fmla="*/ 38 h 134"/>
                <a:gd name="T64" fmla="*/ 72 w 378"/>
                <a:gd name="T65" fmla="*/ 26 h 134"/>
                <a:gd name="T66" fmla="*/ 98 w 378"/>
                <a:gd name="T67" fmla="*/ 14 h 134"/>
                <a:gd name="T68" fmla="*/ 126 w 378"/>
                <a:gd name="T69" fmla="*/ 8 h 134"/>
                <a:gd name="T70" fmla="*/ 156 w 378"/>
                <a:gd name="T71" fmla="*/ 2 h 134"/>
                <a:gd name="T72" fmla="*/ 186 w 378"/>
                <a:gd name="T73" fmla="*/ 0 h 134"/>
                <a:gd name="T74" fmla="*/ 186 w 378"/>
                <a:gd name="T75" fmla="*/ 0 h 134"/>
                <a:gd name="T76" fmla="*/ 206 w 378"/>
                <a:gd name="T77" fmla="*/ 2 h 134"/>
                <a:gd name="T78" fmla="*/ 226 w 378"/>
                <a:gd name="T79" fmla="*/ 4 h 134"/>
                <a:gd name="T80" fmla="*/ 244 w 378"/>
                <a:gd name="T81" fmla="*/ 6 h 134"/>
                <a:gd name="T82" fmla="*/ 262 w 378"/>
                <a:gd name="T83" fmla="*/ 10 h 134"/>
                <a:gd name="T84" fmla="*/ 278 w 378"/>
                <a:gd name="T85" fmla="*/ 16 h 134"/>
                <a:gd name="T86" fmla="*/ 294 w 378"/>
                <a:gd name="T87" fmla="*/ 22 h 134"/>
                <a:gd name="T88" fmla="*/ 308 w 378"/>
                <a:gd name="T89" fmla="*/ 30 h 134"/>
                <a:gd name="T90" fmla="*/ 322 w 378"/>
                <a:gd name="T91" fmla="*/ 38 h 134"/>
                <a:gd name="T92" fmla="*/ 334 w 378"/>
                <a:gd name="T93" fmla="*/ 46 h 134"/>
                <a:gd name="T94" fmla="*/ 346 w 378"/>
                <a:gd name="T95" fmla="*/ 56 h 134"/>
                <a:gd name="T96" fmla="*/ 356 w 378"/>
                <a:gd name="T97" fmla="*/ 66 h 134"/>
                <a:gd name="T98" fmla="*/ 364 w 378"/>
                <a:gd name="T99" fmla="*/ 78 h 134"/>
                <a:gd name="T100" fmla="*/ 370 w 378"/>
                <a:gd name="T101" fmla="*/ 88 h 134"/>
                <a:gd name="T102" fmla="*/ 374 w 378"/>
                <a:gd name="T103" fmla="*/ 100 h 134"/>
                <a:gd name="T104" fmla="*/ 378 w 378"/>
                <a:gd name="T105" fmla="*/ 112 h 134"/>
                <a:gd name="T106" fmla="*/ 378 w 378"/>
                <a:gd name="T107" fmla="*/ 126 h 134"/>
                <a:gd name="T108" fmla="*/ 378 w 378"/>
                <a:gd name="T109" fmla="*/ 134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78" h="134">
                  <a:moveTo>
                    <a:pt x="378" y="134"/>
                  </a:moveTo>
                  <a:lnTo>
                    <a:pt x="360" y="134"/>
                  </a:lnTo>
                  <a:lnTo>
                    <a:pt x="360" y="126"/>
                  </a:lnTo>
                  <a:lnTo>
                    <a:pt x="360" y="126"/>
                  </a:lnTo>
                  <a:lnTo>
                    <a:pt x="360" y="114"/>
                  </a:lnTo>
                  <a:lnTo>
                    <a:pt x="358" y="104"/>
                  </a:lnTo>
                  <a:lnTo>
                    <a:pt x="352" y="94"/>
                  </a:lnTo>
                  <a:lnTo>
                    <a:pt x="346" y="84"/>
                  </a:lnTo>
                  <a:lnTo>
                    <a:pt x="340" y="74"/>
                  </a:lnTo>
                  <a:lnTo>
                    <a:pt x="330" y="66"/>
                  </a:lnTo>
                  <a:lnTo>
                    <a:pt x="320" y="58"/>
                  </a:lnTo>
                  <a:lnTo>
                    <a:pt x="310" y="50"/>
                  </a:lnTo>
                  <a:lnTo>
                    <a:pt x="284" y="38"/>
                  </a:lnTo>
                  <a:lnTo>
                    <a:pt x="254" y="28"/>
                  </a:lnTo>
                  <a:lnTo>
                    <a:pt x="222" y="22"/>
                  </a:lnTo>
                  <a:lnTo>
                    <a:pt x="186" y="18"/>
                  </a:lnTo>
                  <a:lnTo>
                    <a:pt x="186" y="18"/>
                  </a:lnTo>
                  <a:lnTo>
                    <a:pt x="158" y="20"/>
                  </a:lnTo>
                  <a:lnTo>
                    <a:pt x="132" y="24"/>
                  </a:lnTo>
                  <a:lnTo>
                    <a:pt x="106" y="32"/>
                  </a:lnTo>
                  <a:lnTo>
                    <a:pt x="82" y="40"/>
                  </a:lnTo>
                  <a:lnTo>
                    <a:pt x="62" y="52"/>
                  </a:lnTo>
                  <a:lnTo>
                    <a:pt x="44" y="64"/>
                  </a:lnTo>
                  <a:lnTo>
                    <a:pt x="30" y="80"/>
                  </a:lnTo>
                  <a:lnTo>
                    <a:pt x="20" y="96"/>
                  </a:lnTo>
                  <a:lnTo>
                    <a:pt x="16" y="104"/>
                  </a:lnTo>
                  <a:lnTo>
                    <a:pt x="0" y="96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16" y="70"/>
                  </a:lnTo>
                  <a:lnTo>
                    <a:pt x="30" y="52"/>
                  </a:lnTo>
                  <a:lnTo>
                    <a:pt x="50" y="38"/>
                  </a:lnTo>
                  <a:lnTo>
                    <a:pt x="72" y="26"/>
                  </a:lnTo>
                  <a:lnTo>
                    <a:pt x="98" y="14"/>
                  </a:lnTo>
                  <a:lnTo>
                    <a:pt x="126" y="8"/>
                  </a:lnTo>
                  <a:lnTo>
                    <a:pt x="156" y="2"/>
                  </a:lnTo>
                  <a:lnTo>
                    <a:pt x="186" y="0"/>
                  </a:lnTo>
                  <a:lnTo>
                    <a:pt x="186" y="0"/>
                  </a:lnTo>
                  <a:lnTo>
                    <a:pt x="206" y="2"/>
                  </a:lnTo>
                  <a:lnTo>
                    <a:pt x="226" y="4"/>
                  </a:lnTo>
                  <a:lnTo>
                    <a:pt x="244" y="6"/>
                  </a:lnTo>
                  <a:lnTo>
                    <a:pt x="262" y="10"/>
                  </a:lnTo>
                  <a:lnTo>
                    <a:pt x="278" y="16"/>
                  </a:lnTo>
                  <a:lnTo>
                    <a:pt x="294" y="22"/>
                  </a:lnTo>
                  <a:lnTo>
                    <a:pt x="308" y="30"/>
                  </a:lnTo>
                  <a:lnTo>
                    <a:pt x="322" y="38"/>
                  </a:lnTo>
                  <a:lnTo>
                    <a:pt x="334" y="46"/>
                  </a:lnTo>
                  <a:lnTo>
                    <a:pt x="346" y="56"/>
                  </a:lnTo>
                  <a:lnTo>
                    <a:pt x="356" y="66"/>
                  </a:lnTo>
                  <a:lnTo>
                    <a:pt x="364" y="78"/>
                  </a:lnTo>
                  <a:lnTo>
                    <a:pt x="370" y="88"/>
                  </a:lnTo>
                  <a:lnTo>
                    <a:pt x="374" y="100"/>
                  </a:lnTo>
                  <a:lnTo>
                    <a:pt x="378" y="112"/>
                  </a:lnTo>
                  <a:lnTo>
                    <a:pt x="378" y="126"/>
                  </a:lnTo>
                  <a:lnTo>
                    <a:pt x="378" y="134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+mj-lt"/>
              </a:endParaRPr>
            </a:p>
          </p:txBody>
        </p:sp>
        <p:sp>
          <p:nvSpPr>
            <p:cNvPr id="86" name="Freeform 95">
              <a:extLst>
                <a:ext uri="{FF2B5EF4-FFF2-40B4-BE49-F238E27FC236}">
                  <a16:creationId xmlns:a16="http://schemas.microsoft.com/office/drawing/2014/main" id="{F55E86DE-1017-474A-9876-4507930C12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23" y="3018"/>
              <a:ext cx="226" cy="216"/>
            </a:xfrm>
            <a:custGeom>
              <a:avLst/>
              <a:gdLst>
                <a:gd name="T0" fmla="*/ 82 w 226"/>
                <a:gd name="T1" fmla="*/ 216 h 216"/>
                <a:gd name="T2" fmla="*/ 80 w 226"/>
                <a:gd name="T3" fmla="*/ 216 h 216"/>
                <a:gd name="T4" fmla="*/ 48 w 226"/>
                <a:gd name="T5" fmla="*/ 210 h 216"/>
                <a:gd name="T6" fmla="*/ 22 w 226"/>
                <a:gd name="T7" fmla="*/ 192 h 216"/>
                <a:gd name="T8" fmla="*/ 12 w 226"/>
                <a:gd name="T9" fmla="*/ 178 h 216"/>
                <a:gd name="T10" fmla="*/ 2 w 226"/>
                <a:gd name="T11" fmla="*/ 148 h 216"/>
                <a:gd name="T12" fmla="*/ 0 w 226"/>
                <a:gd name="T13" fmla="*/ 132 h 216"/>
                <a:gd name="T14" fmla="*/ 8 w 226"/>
                <a:gd name="T15" fmla="*/ 102 h 216"/>
                <a:gd name="T16" fmla="*/ 26 w 226"/>
                <a:gd name="T17" fmla="*/ 76 h 216"/>
                <a:gd name="T18" fmla="*/ 42 w 226"/>
                <a:gd name="T19" fmla="*/ 60 h 216"/>
                <a:gd name="T20" fmla="*/ 62 w 226"/>
                <a:gd name="T21" fmla="*/ 40 h 216"/>
                <a:gd name="T22" fmla="*/ 102 w 226"/>
                <a:gd name="T23" fmla="*/ 20 h 216"/>
                <a:gd name="T24" fmla="*/ 130 w 226"/>
                <a:gd name="T25" fmla="*/ 14 h 216"/>
                <a:gd name="T26" fmla="*/ 214 w 226"/>
                <a:gd name="T27" fmla="*/ 2 h 216"/>
                <a:gd name="T28" fmla="*/ 222 w 226"/>
                <a:gd name="T29" fmla="*/ 12 h 216"/>
                <a:gd name="T30" fmla="*/ 214 w 226"/>
                <a:gd name="T31" fmla="*/ 58 h 216"/>
                <a:gd name="T32" fmla="*/ 196 w 226"/>
                <a:gd name="T33" fmla="*/ 122 h 216"/>
                <a:gd name="T34" fmla="*/ 186 w 226"/>
                <a:gd name="T35" fmla="*/ 142 h 216"/>
                <a:gd name="T36" fmla="*/ 174 w 226"/>
                <a:gd name="T37" fmla="*/ 160 h 216"/>
                <a:gd name="T38" fmla="*/ 138 w 226"/>
                <a:gd name="T39" fmla="*/ 194 h 216"/>
                <a:gd name="T40" fmla="*/ 126 w 226"/>
                <a:gd name="T41" fmla="*/ 204 h 216"/>
                <a:gd name="T42" fmla="*/ 98 w 226"/>
                <a:gd name="T43" fmla="*/ 216 h 216"/>
                <a:gd name="T44" fmla="*/ 82 w 226"/>
                <a:gd name="T45" fmla="*/ 216 h 216"/>
                <a:gd name="T46" fmla="*/ 202 w 226"/>
                <a:gd name="T47" fmla="*/ 20 h 216"/>
                <a:gd name="T48" fmla="*/ 128 w 226"/>
                <a:gd name="T49" fmla="*/ 34 h 216"/>
                <a:gd name="T50" fmla="*/ 108 w 226"/>
                <a:gd name="T51" fmla="*/ 38 h 216"/>
                <a:gd name="T52" fmla="*/ 74 w 226"/>
                <a:gd name="T53" fmla="*/ 56 h 216"/>
                <a:gd name="T54" fmla="*/ 56 w 226"/>
                <a:gd name="T55" fmla="*/ 72 h 216"/>
                <a:gd name="T56" fmla="*/ 38 w 226"/>
                <a:gd name="T57" fmla="*/ 88 h 216"/>
                <a:gd name="T58" fmla="*/ 24 w 226"/>
                <a:gd name="T59" fmla="*/ 108 h 216"/>
                <a:gd name="T60" fmla="*/ 18 w 226"/>
                <a:gd name="T61" fmla="*/ 134 h 216"/>
                <a:gd name="T62" fmla="*/ 18 w 226"/>
                <a:gd name="T63" fmla="*/ 146 h 216"/>
                <a:gd name="T64" fmla="*/ 28 w 226"/>
                <a:gd name="T65" fmla="*/ 168 h 216"/>
                <a:gd name="T66" fmla="*/ 36 w 226"/>
                <a:gd name="T67" fmla="*/ 178 h 216"/>
                <a:gd name="T68" fmla="*/ 56 w 226"/>
                <a:gd name="T69" fmla="*/ 194 h 216"/>
                <a:gd name="T70" fmla="*/ 80 w 226"/>
                <a:gd name="T71" fmla="*/ 198 h 216"/>
                <a:gd name="T72" fmla="*/ 92 w 226"/>
                <a:gd name="T73" fmla="*/ 198 h 216"/>
                <a:gd name="T74" fmla="*/ 116 w 226"/>
                <a:gd name="T75" fmla="*/ 190 h 216"/>
                <a:gd name="T76" fmla="*/ 126 w 226"/>
                <a:gd name="T77" fmla="*/ 182 h 216"/>
                <a:gd name="T78" fmla="*/ 160 w 226"/>
                <a:gd name="T79" fmla="*/ 148 h 216"/>
                <a:gd name="T80" fmla="*/ 172 w 226"/>
                <a:gd name="T81" fmla="*/ 132 h 216"/>
                <a:gd name="T82" fmla="*/ 180 w 226"/>
                <a:gd name="T83" fmla="*/ 114 h 216"/>
                <a:gd name="T84" fmla="*/ 192 w 226"/>
                <a:gd name="T85" fmla="*/ 70 h 216"/>
                <a:gd name="T86" fmla="*/ 202 w 226"/>
                <a:gd name="T87" fmla="*/ 20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26" h="216">
                  <a:moveTo>
                    <a:pt x="82" y="216"/>
                  </a:moveTo>
                  <a:lnTo>
                    <a:pt x="82" y="216"/>
                  </a:lnTo>
                  <a:lnTo>
                    <a:pt x="80" y="216"/>
                  </a:lnTo>
                  <a:lnTo>
                    <a:pt x="80" y="216"/>
                  </a:lnTo>
                  <a:lnTo>
                    <a:pt x="64" y="214"/>
                  </a:lnTo>
                  <a:lnTo>
                    <a:pt x="48" y="210"/>
                  </a:lnTo>
                  <a:lnTo>
                    <a:pt x="34" y="202"/>
                  </a:lnTo>
                  <a:lnTo>
                    <a:pt x="22" y="192"/>
                  </a:lnTo>
                  <a:lnTo>
                    <a:pt x="22" y="192"/>
                  </a:lnTo>
                  <a:lnTo>
                    <a:pt x="12" y="178"/>
                  </a:lnTo>
                  <a:lnTo>
                    <a:pt x="6" y="164"/>
                  </a:lnTo>
                  <a:lnTo>
                    <a:pt x="2" y="148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2" y="116"/>
                  </a:lnTo>
                  <a:lnTo>
                    <a:pt x="8" y="102"/>
                  </a:lnTo>
                  <a:lnTo>
                    <a:pt x="14" y="88"/>
                  </a:lnTo>
                  <a:lnTo>
                    <a:pt x="26" y="76"/>
                  </a:lnTo>
                  <a:lnTo>
                    <a:pt x="26" y="76"/>
                  </a:lnTo>
                  <a:lnTo>
                    <a:pt x="42" y="60"/>
                  </a:lnTo>
                  <a:lnTo>
                    <a:pt x="62" y="40"/>
                  </a:lnTo>
                  <a:lnTo>
                    <a:pt x="62" y="40"/>
                  </a:lnTo>
                  <a:lnTo>
                    <a:pt x="82" y="30"/>
                  </a:lnTo>
                  <a:lnTo>
                    <a:pt x="102" y="20"/>
                  </a:lnTo>
                  <a:lnTo>
                    <a:pt x="102" y="20"/>
                  </a:lnTo>
                  <a:lnTo>
                    <a:pt x="130" y="14"/>
                  </a:lnTo>
                  <a:lnTo>
                    <a:pt x="166" y="8"/>
                  </a:lnTo>
                  <a:lnTo>
                    <a:pt x="214" y="2"/>
                  </a:lnTo>
                  <a:lnTo>
                    <a:pt x="226" y="0"/>
                  </a:lnTo>
                  <a:lnTo>
                    <a:pt x="222" y="12"/>
                  </a:lnTo>
                  <a:lnTo>
                    <a:pt x="222" y="12"/>
                  </a:lnTo>
                  <a:lnTo>
                    <a:pt x="214" y="58"/>
                  </a:lnTo>
                  <a:lnTo>
                    <a:pt x="206" y="94"/>
                  </a:lnTo>
                  <a:lnTo>
                    <a:pt x="196" y="122"/>
                  </a:lnTo>
                  <a:lnTo>
                    <a:pt x="196" y="122"/>
                  </a:lnTo>
                  <a:lnTo>
                    <a:pt x="186" y="142"/>
                  </a:lnTo>
                  <a:lnTo>
                    <a:pt x="174" y="160"/>
                  </a:lnTo>
                  <a:lnTo>
                    <a:pt x="174" y="160"/>
                  </a:lnTo>
                  <a:lnTo>
                    <a:pt x="154" y="180"/>
                  </a:lnTo>
                  <a:lnTo>
                    <a:pt x="138" y="194"/>
                  </a:lnTo>
                  <a:lnTo>
                    <a:pt x="138" y="194"/>
                  </a:lnTo>
                  <a:lnTo>
                    <a:pt x="126" y="204"/>
                  </a:lnTo>
                  <a:lnTo>
                    <a:pt x="112" y="212"/>
                  </a:lnTo>
                  <a:lnTo>
                    <a:pt x="98" y="216"/>
                  </a:lnTo>
                  <a:lnTo>
                    <a:pt x="82" y="216"/>
                  </a:lnTo>
                  <a:lnTo>
                    <a:pt x="82" y="216"/>
                  </a:lnTo>
                  <a:close/>
                  <a:moveTo>
                    <a:pt x="202" y="20"/>
                  </a:moveTo>
                  <a:lnTo>
                    <a:pt x="202" y="20"/>
                  </a:lnTo>
                  <a:lnTo>
                    <a:pt x="154" y="28"/>
                  </a:lnTo>
                  <a:lnTo>
                    <a:pt x="128" y="34"/>
                  </a:lnTo>
                  <a:lnTo>
                    <a:pt x="108" y="38"/>
                  </a:lnTo>
                  <a:lnTo>
                    <a:pt x="108" y="38"/>
                  </a:lnTo>
                  <a:lnTo>
                    <a:pt x="90" y="46"/>
                  </a:lnTo>
                  <a:lnTo>
                    <a:pt x="74" y="56"/>
                  </a:lnTo>
                  <a:lnTo>
                    <a:pt x="74" y="56"/>
                  </a:lnTo>
                  <a:lnTo>
                    <a:pt x="56" y="72"/>
                  </a:lnTo>
                  <a:lnTo>
                    <a:pt x="38" y="88"/>
                  </a:lnTo>
                  <a:lnTo>
                    <a:pt x="38" y="88"/>
                  </a:lnTo>
                  <a:lnTo>
                    <a:pt x="30" y="98"/>
                  </a:lnTo>
                  <a:lnTo>
                    <a:pt x="24" y="108"/>
                  </a:lnTo>
                  <a:lnTo>
                    <a:pt x="20" y="120"/>
                  </a:lnTo>
                  <a:lnTo>
                    <a:pt x="18" y="134"/>
                  </a:lnTo>
                  <a:lnTo>
                    <a:pt x="18" y="134"/>
                  </a:lnTo>
                  <a:lnTo>
                    <a:pt x="18" y="146"/>
                  </a:lnTo>
                  <a:lnTo>
                    <a:pt x="22" y="158"/>
                  </a:lnTo>
                  <a:lnTo>
                    <a:pt x="28" y="168"/>
                  </a:lnTo>
                  <a:lnTo>
                    <a:pt x="36" y="178"/>
                  </a:lnTo>
                  <a:lnTo>
                    <a:pt x="36" y="178"/>
                  </a:lnTo>
                  <a:lnTo>
                    <a:pt x="44" y="188"/>
                  </a:lnTo>
                  <a:lnTo>
                    <a:pt x="56" y="194"/>
                  </a:lnTo>
                  <a:lnTo>
                    <a:pt x="68" y="198"/>
                  </a:lnTo>
                  <a:lnTo>
                    <a:pt x="80" y="198"/>
                  </a:lnTo>
                  <a:lnTo>
                    <a:pt x="80" y="198"/>
                  </a:lnTo>
                  <a:lnTo>
                    <a:pt x="92" y="198"/>
                  </a:lnTo>
                  <a:lnTo>
                    <a:pt x="104" y="194"/>
                  </a:lnTo>
                  <a:lnTo>
                    <a:pt x="116" y="190"/>
                  </a:lnTo>
                  <a:lnTo>
                    <a:pt x="126" y="182"/>
                  </a:lnTo>
                  <a:lnTo>
                    <a:pt x="126" y="182"/>
                  </a:lnTo>
                  <a:lnTo>
                    <a:pt x="144" y="166"/>
                  </a:lnTo>
                  <a:lnTo>
                    <a:pt x="160" y="148"/>
                  </a:lnTo>
                  <a:lnTo>
                    <a:pt x="160" y="148"/>
                  </a:lnTo>
                  <a:lnTo>
                    <a:pt x="172" y="132"/>
                  </a:lnTo>
                  <a:lnTo>
                    <a:pt x="180" y="114"/>
                  </a:lnTo>
                  <a:lnTo>
                    <a:pt x="180" y="114"/>
                  </a:lnTo>
                  <a:lnTo>
                    <a:pt x="186" y="96"/>
                  </a:lnTo>
                  <a:lnTo>
                    <a:pt x="192" y="70"/>
                  </a:lnTo>
                  <a:lnTo>
                    <a:pt x="202" y="20"/>
                  </a:lnTo>
                  <a:lnTo>
                    <a:pt x="202" y="2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+mj-lt"/>
              </a:endParaRPr>
            </a:p>
          </p:txBody>
        </p:sp>
        <p:sp>
          <p:nvSpPr>
            <p:cNvPr id="87" name="Freeform 96">
              <a:extLst>
                <a:ext uri="{FF2B5EF4-FFF2-40B4-BE49-F238E27FC236}">
                  <a16:creationId xmlns:a16="http://schemas.microsoft.com/office/drawing/2014/main" id="{D3AE0E5C-C063-4468-8719-93CB7EA6F4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57" y="3018"/>
              <a:ext cx="226" cy="216"/>
            </a:xfrm>
            <a:custGeom>
              <a:avLst/>
              <a:gdLst>
                <a:gd name="T0" fmla="*/ 144 w 226"/>
                <a:gd name="T1" fmla="*/ 216 h 216"/>
                <a:gd name="T2" fmla="*/ 114 w 226"/>
                <a:gd name="T3" fmla="*/ 212 h 216"/>
                <a:gd name="T4" fmla="*/ 88 w 226"/>
                <a:gd name="T5" fmla="*/ 194 h 216"/>
                <a:gd name="T6" fmla="*/ 72 w 226"/>
                <a:gd name="T7" fmla="*/ 180 h 216"/>
                <a:gd name="T8" fmla="*/ 50 w 226"/>
                <a:gd name="T9" fmla="*/ 160 h 216"/>
                <a:gd name="T10" fmla="*/ 28 w 226"/>
                <a:gd name="T11" fmla="*/ 122 h 216"/>
                <a:gd name="T12" fmla="*/ 20 w 226"/>
                <a:gd name="T13" fmla="*/ 94 h 216"/>
                <a:gd name="T14" fmla="*/ 2 w 226"/>
                <a:gd name="T15" fmla="*/ 12 h 216"/>
                <a:gd name="T16" fmla="*/ 12 w 226"/>
                <a:gd name="T17" fmla="*/ 2 h 216"/>
                <a:gd name="T18" fmla="*/ 60 w 226"/>
                <a:gd name="T19" fmla="*/ 8 h 216"/>
                <a:gd name="T20" fmla="*/ 124 w 226"/>
                <a:gd name="T21" fmla="*/ 20 h 216"/>
                <a:gd name="T22" fmla="*/ 144 w 226"/>
                <a:gd name="T23" fmla="*/ 30 h 216"/>
                <a:gd name="T24" fmla="*/ 162 w 226"/>
                <a:gd name="T25" fmla="*/ 40 h 216"/>
                <a:gd name="T26" fmla="*/ 200 w 226"/>
                <a:gd name="T27" fmla="*/ 76 h 216"/>
                <a:gd name="T28" fmla="*/ 212 w 226"/>
                <a:gd name="T29" fmla="*/ 88 h 216"/>
                <a:gd name="T30" fmla="*/ 224 w 226"/>
                <a:gd name="T31" fmla="*/ 118 h 216"/>
                <a:gd name="T32" fmla="*/ 224 w 226"/>
                <a:gd name="T33" fmla="*/ 148 h 216"/>
                <a:gd name="T34" fmla="*/ 214 w 226"/>
                <a:gd name="T35" fmla="*/ 178 h 216"/>
                <a:gd name="T36" fmla="*/ 204 w 226"/>
                <a:gd name="T37" fmla="*/ 192 h 216"/>
                <a:gd name="T38" fmla="*/ 178 w 226"/>
                <a:gd name="T39" fmla="*/ 210 h 216"/>
                <a:gd name="T40" fmla="*/ 146 w 226"/>
                <a:gd name="T41" fmla="*/ 216 h 216"/>
                <a:gd name="T42" fmla="*/ 144 w 226"/>
                <a:gd name="T43" fmla="*/ 216 h 216"/>
                <a:gd name="T44" fmla="*/ 22 w 226"/>
                <a:gd name="T45" fmla="*/ 20 h 216"/>
                <a:gd name="T46" fmla="*/ 32 w 226"/>
                <a:gd name="T47" fmla="*/ 70 h 216"/>
                <a:gd name="T48" fmla="*/ 46 w 226"/>
                <a:gd name="T49" fmla="*/ 114 h 216"/>
                <a:gd name="T50" fmla="*/ 54 w 226"/>
                <a:gd name="T51" fmla="*/ 132 h 216"/>
                <a:gd name="T52" fmla="*/ 64 w 226"/>
                <a:gd name="T53" fmla="*/ 148 h 216"/>
                <a:gd name="T54" fmla="*/ 100 w 226"/>
                <a:gd name="T55" fmla="*/ 182 h 216"/>
                <a:gd name="T56" fmla="*/ 110 w 226"/>
                <a:gd name="T57" fmla="*/ 190 h 216"/>
                <a:gd name="T58" fmla="*/ 134 w 226"/>
                <a:gd name="T59" fmla="*/ 198 h 216"/>
                <a:gd name="T60" fmla="*/ 158 w 226"/>
                <a:gd name="T61" fmla="*/ 198 h 216"/>
                <a:gd name="T62" fmla="*/ 180 w 226"/>
                <a:gd name="T63" fmla="*/ 188 h 216"/>
                <a:gd name="T64" fmla="*/ 190 w 226"/>
                <a:gd name="T65" fmla="*/ 178 h 216"/>
                <a:gd name="T66" fmla="*/ 204 w 226"/>
                <a:gd name="T67" fmla="*/ 158 h 216"/>
                <a:gd name="T68" fmla="*/ 208 w 226"/>
                <a:gd name="T69" fmla="*/ 134 h 216"/>
                <a:gd name="T70" fmla="*/ 202 w 226"/>
                <a:gd name="T71" fmla="*/ 110 h 216"/>
                <a:gd name="T72" fmla="*/ 188 w 226"/>
                <a:gd name="T73" fmla="*/ 88 h 216"/>
                <a:gd name="T74" fmla="*/ 170 w 226"/>
                <a:gd name="T75" fmla="*/ 72 h 216"/>
                <a:gd name="T76" fmla="*/ 152 w 226"/>
                <a:gd name="T77" fmla="*/ 56 h 216"/>
                <a:gd name="T78" fmla="*/ 118 w 226"/>
                <a:gd name="T79" fmla="*/ 38 h 216"/>
                <a:gd name="T80" fmla="*/ 98 w 226"/>
                <a:gd name="T81" fmla="*/ 34 h 216"/>
                <a:gd name="T82" fmla="*/ 22 w 226"/>
                <a:gd name="T83" fmla="*/ 20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26" h="216">
                  <a:moveTo>
                    <a:pt x="144" y="216"/>
                  </a:moveTo>
                  <a:lnTo>
                    <a:pt x="144" y="216"/>
                  </a:lnTo>
                  <a:lnTo>
                    <a:pt x="128" y="216"/>
                  </a:lnTo>
                  <a:lnTo>
                    <a:pt x="114" y="212"/>
                  </a:lnTo>
                  <a:lnTo>
                    <a:pt x="100" y="204"/>
                  </a:lnTo>
                  <a:lnTo>
                    <a:pt x="88" y="194"/>
                  </a:lnTo>
                  <a:lnTo>
                    <a:pt x="88" y="194"/>
                  </a:lnTo>
                  <a:lnTo>
                    <a:pt x="72" y="180"/>
                  </a:lnTo>
                  <a:lnTo>
                    <a:pt x="50" y="160"/>
                  </a:lnTo>
                  <a:lnTo>
                    <a:pt x="50" y="160"/>
                  </a:lnTo>
                  <a:lnTo>
                    <a:pt x="38" y="142"/>
                  </a:lnTo>
                  <a:lnTo>
                    <a:pt x="28" y="122"/>
                  </a:lnTo>
                  <a:lnTo>
                    <a:pt x="28" y="122"/>
                  </a:lnTo>
                  <a:lnTo>
                    <a:pt x="20" y="94"/>
                  </a:lnTo>
                  <a:lnTo>
                    <a:pt x="12" y="58"/>
                  </a:lnTo>
                  <a:lnTo>
                    <a:pt x="2" y="12"/>
                  </a:lnTo>
                  <a:lnTo>
                    <a:pt x="0" y="0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60" y="8"/>
                  </a:lnTo>
                  <a:lnTo>
                    <a:pt x="96" y="14"/>
                  </a:lnTo>
                  <a:lnTo>
                    <a:pt x="124" y="20"/>
                  </a:lnTo>
                  <a:lnTo>
                    <a:pt x="124" y="20"/>
                  </a:lnTo>
                  <a:lnTo>
                    <a:pt x="144" y="30"/>
                  </a:lnTo>
                  <a:lnTo>
                    <a:pt x="162" y="40"/>
                  </a:lnTo>
                  <a:lnTo>
                    <a:pt x="162" y="40"/>
                  </a:lnTo>
                  <a:lnTo>
                    <a:pt x="184" y="60"/>
                  </a:lnTo>
                  <a:lnTo>
                    <a:pt x="200" y="76"/>
                  </a:lnTo>
                  <a:lnTo>
                    <a:pt x="200" y="76"/>
                  </a:lnTo>
                  <a:lnTo>
                    <a:pt x="212" y="88"/>
                  </a:lnTo>
                  <a:lnTo>
                    <a:pt x="218" y="102"/>
                  </a:lnTo>
                  <a:lnTo>
                    <a:pt x="224" y="118"/>
                  </a:lnTo>
                  <a:lnTo>
                    <a:pt x="226" y="132"/>
                  </a:lnTo>
                  <a:lnTo>
                    <a:pt x="224" y="148"/>
                  </a:lnTo>
                  <a:lnTo>
                    <a:pt x="220" y="164"/>
                  </a:lnTo>
                  <a:lnTo>
                    <a:pt x="214" y="178"/>
                  </a:lnTo>
                  <a:lnTo>
                    <a:pt x="204" y="192"/>
                  </a:lnTo>
                  <a:lnTo>
                    <a:pt x="204" y="192"/>
                  </a:lnTo>
                  <a:lnTo>
                    <a:pt x="192" y="202"/>
                  </a:lnTo>
                  <a:lnTo>
                    <a:pt x="178" y="210"/>
                  </a:lnTo>
                  <a:lnTo>
                    <a:pt x="162" y="214"/>
                  </a:lnTo>
                  <a:lnTo>
                    <a:pt x="146" y="216"/>
                  </a:lnTo>
                  <a:lnTo>
                    <a:pt x="146" y="216"/>
                  </a:lnTo>
                  <a:lnTo>
                    <a:pt x="144" y="216"/>
                  </a:lnTo>
                  <a:lnTo>
                    <a:pt x="144" y="216"/>
                  </a:lnTo>
                  <a:close/>
                  <a:moveTo>
                    <a:pt x="22" y="20"/>
                  </a:moveTo>
                  <a:lnTo>
                    <a:pt x="22" y="20"/>
                  </a:lnTo>
                  <a:lnTo>
                    <a:pt x="32" y="70"/>
                  </a:lnTo>
                  <a:lnTo>
                    <a:pt x="40" y="96"/>
                  </a:lnTo>
                  <a:lnTo>
                    <a:pt x="46" y="114"/>
                  </a:lnTo>
                  <a:lnTo>
                    <a:pt x="46" y="114"/>
                  </a:lnTo>
                  <a:lnTo>
                    <a:pt x="54" y="132"/>
                  </a:lnTo>
                  <a:lnTo>
                    <a:pt x="64" y="148"/>
                  </a:lnTo>
                  <a:lnTo>
                    <a:pt x="64" y="148"/>
                  </a:lnTo>
                  <a:lnTo>
                    <a:pt x="82" y="166"/>
                  </a:lnTo>
                  <a:lnTo>
                    <a:pt x="100" y="182"/>
                  </a:lnTo>
                  <a:lnTo>
                    <a:pt x="100" y="182"/>
                  </a:lnTo>
                  <a:lnTo>
                    <a:pt x="110" y="190"/>
                  </a:lnTo>
                  <a:lnTo>
                    <a:pt x="122" y="194"/>
                  </a:lnTo>
                  <a:lnTo>
                    <a:pt x="134" y="198"/>
                  </a:lnTo>
                  <a:lnTo>
                    <a:pt x="146" y="198"/>
                  </a:lnTo>
                  <a:lnTo>
                    <a:pt x="158" y="198"/>
                  </a:lnTo>
                  <a:lnTo>
                    <a:pt x="170" y="194"/>
                  </a:lnTo>
                  <a:lnTo>
                    <a:pt x="180" y="188"/>
                  </a:lnTo>
                  <a:lnTo>
                    <a:pt x="190" y="178"/>
                  </a:lnTo>
                  <a:lnTo>
                    <a:pt x="190" y="178"/>
                  </a:lnTo>
                  <a:lnTo>
                    <a:pt x="198" y="168"/>
                  </a:lnTo>
                  <a:lnTo>
                    <a:pt x="204" y="158"/>
                  </a:lnTo>
                  <a:lnTo>
                    <a:pt x="206" y="146"/>
                  </a:lnTo>
                  <a:lnTo>
                    <a:pt x="208" y="134"/>
                  </a:lnTo>
                  <a:lnTo>
                    <a:pt x="206" y="122"/>
                  </a:lnTo>
                  <a:lnTo>
                    <a:pt x="202" y="110"/>
                  </a:lnTo>
                  <a:lnTo>
                    <a:pt x="196" y="98"/>
                  </a:lnTo>
                  <a:lnTo>
                    <a:pt x="188" y="88"/>
                  </a:lnTo>
                  <a:lnTo>
                    <a:pt x="188" y="88"/>
                  </a:lnTo>
                  <a:lnTo>
                    <a:pt x="170" y="72"/>
                  </a:lnTo>
                  <a:lnTo>
                    <a:pt x="152" y="56"/>
                  </a:lnTo>
                  <a:lnTo>
                    <a:pt x="152" y="56"/>
                  </a:lnTo>
                  <a:lnTo>
                    <a:pt x="136" y="46"/>
                  </a:lnTo>
                  <a:lnTo>
                    <a:pt x="118" y="38"/>
                  </a:lnTo>
                  <a:lnTo>
                    <a:pt x="118" y="38"/>
                  </a:lnTo>
                  <a:lnTo>
                    <a:pt x="98" y="34"/>
                  </a:lnTo>
                  <a:lnTo>
                    <a:pt x="72" y="28"/>
                  </a:lnTo>
                  <a:lnTo>
                    <a:pt x="22" y="20"/>
                  </a:lnTo>
                  <a:lnTo>
                    <a:pt x="22" y="2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+mj-lt"/>
              </a:endParaRPr>
            </a:p>
          </p:txBody>
        </p:sp>
        <p:sp>
          <p:nvSpPr>
            <p:cNvPr id="88" name="Freeform 97">
              <a:extLst>
                <a:ext uri="{FF2B5EF4-FFF2-40B4-BE49-F238E27FC236}">
                  <a16:creationId xmlns:a16="http://schemas.microsoft.com/office/drawing/2014/main" id="{E975E26A-7182-4C0E-A51E-FC2228EC74CA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9" y="3148"/>
              <a:ext cx="214" cy="132"/>
            </a:xfrm>
            <a:custGeom>
              <a:avLst/>
              <a:gdLst>
                <a:gd name="T0" fmla="*/ 106 w 214"/>
                <a:gd name="T1" fmla="*/ 132 h 132"/>
                <a:gd name="T2" fmla="*/ 0 w 214"/>
                <a:gd name="T3" fmla="*/ 12 h 132"/>
                <a:gd name="T4" fmla="*/ 12 w 214"/>
                <a:gd name="T5" fmla="*/ 0 h 132"/>
                <a:gd name="T6" fmla="*/ 106 w 214"/>
                <a:gd name="T7" fmla="*/ 106 h 132"/>
                <a:gd name="T8" fmla="*/ 200 w 214"/>
                <a:gd name="T9" fmla="*/ 0 h 132"/>
                <a:gd name="T10" fmla="*/ 214 w 214"/>
                <a:gd name="T11" fmla="*/ 12 h 132"/>
                <a:gd name="T12" fmla="*/ 106 w 214"/>
                <a:gd name="T13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4" h="132">
                  <a:moveTo>
                    <a:pt x="106" y="132"/>
                  </a:moveTo>
                  <a:lnTo>
                    <a:pt x="0" y="12"/>
                  </a:lnTo>
                  <a:lnTo>
                    <a:pt x="12" y="0"/>
                  </a:lnTo>
                  <a:lnTo>
                    <a:pt x="106" y="106"/>
                  </a:lnTo>
                  <a:lnTo>
                    <a:pt x="200" y="0"/>
                  </a:lnTo>
                  <a:lnTo>
                    <a:pt x="214" y="12"/>
                  </a:lnTo>
                  <a:lnTo>
                    <a:pt x="106" y="132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+mj-lt"/>
              </a:endParaRPr>
            </a:p>
          </p:txBody>
        </p:sp>
        <p:sp>
          <p:nvSpPr>
            <p:cNvPr id="89" name="Rectangle 98">
              <a:extLst>
                <a:ext uri="{FF2B5EF4-FFF2-40B4-BE49-F238E27FC236}">
                  <a16:creationId xmlns:a16="http://schemas.microsoft.com/office/drawing/2014/main" id="{FA99F84E-E382-429F-B771-211CFB9930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97" y="3258"/>
              <a:ext cx="18" cy="118"/>
            </a:xfrm>
            <a:prstGeom prst="rect">
              <a:avLst/>
            </a:pr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+mj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4088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7879" y="316606"/>
            <a:ext cx="9444441" cy="590400"/>
          </a:xfrm>
        </p:spPr>
        <p:txBody>
          <a:bodyPr/>
          <a:lstStyle/>
          <a:p>
            <a:r>
              <a:rPr lang="ru-RU" dirty="0" smtClean="0"/>
              <a:t>Внесение изменений в ПП № 311 </a:t>
            </a:r>
            <a:r>
              <a:rPr lang="en-US" b="0" dirty="0" smtClean="0"/>
              <a:t>&amp;</a:t>
            </a:r>
            <a:r>
              <a:rPr lang="en-US" dirty="0" smtClean="0"/>
              <a:t> </a:t>
            </a:r>
            <a:r>
              <a:rPr lang="ru-RU" dirty="0" smtClean="0"/>
              <a:t>Получение временного разрешения на вывоз</a:t>
            </a:r>
            <a:endParaRPr lang="ru-RU" dirty="0"/>
          </a:p>
        </p:txBody>
      </p:sp>
      <p:sp>
        <p:nvSpPr>
          <p:cNvPr id="6" name="TextBox 5"/>
          <p:cNvSpPr txBox="1"/>
          <p:nvPr/>
        </p:nvSpPr>
        <p:spPr>
          <a:xfrm>
            <a:off x="603554" y="1199864"/>
            <a:ext cx="8540446" cy="586314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algn="just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ru-RU" sz="1400" dirty="0" smtClean="0">
                <a:solidFill>
                  <a:schemeClr val="bg1"/>
                </a:solidFill>
                <a:latin typeface="+mj-lt"/>
              </a:rPr>
              <a:t>В случае, </a:t>
            </a:r>
            <a:r>
              <a:rPr lang="ru-RU" sz="1400" u="sng" dirty="0" smtClean="0">
                <a:solidFill>
                  <a:schemeClr val="bg1"/>
                </a:solidFill>
                <a:latin typeface="+mj-lt"/>
              </a:rPr>
              <a:t>если Компания заинтересована в экспорте товаров</a:t>
            </a:r>
            <a:r>
              <a:rPr lang="ru-RU" sz="1400" dirty="0" smtClean="0">
                <a:solidFill>
                  <a:schemeClr val="bg1"/>
                </a:solidFill>
                <a:latin typeface="+mj-lt"/>
              </a:rPr>
              <a:t>, подпадающих под запрет ПП № 311, за пределы ЕАЭС и ни одно из исключений, предусмотренных ПП № 311, не применимо</a:t>
            </a:r>
            <a:r>
              <a:rPr lang="en-US" sz="1400" dirty="0" smtClean="0">
                <a:solidFill>
                  <a:schemeClr val="bg1"/>
                </a:solidFill>
                <a:latin typeface="+mj-lt"/>
              </a:rPr>
              <a:t>,</a:t>
            </a:r>
            <a:r>
              <a:rPr lang="ru-RU" sz="1400" dirty="0" smtClean="0">
                <a:solidFill>
                  <a:schemeClr val="bg1"/>
                </a:solidFill>
                <a:latin typeface="+mj-lt"/>
              </a:rPr>
              <a:t> Компания может рассмотреть следующие варианты:</a:t>
            </a:r>
          </a:p>
        </p:txBody>
      </p:sp>
      <p:sp>
        <p:nvSpPr>
          <p:cNvPr id="3" name="Oval 2"/>
          <p:cNvSpPr/>
          <p:nvPr/>
        </p:nvSpPr>
        <p:spPr>
          <a:xfrm>
            <a:off x="587879" y="2056143"/>
            <a:ext cx="504056" cy="504056"/>
          </a:xfrm>
          <a:prstGeom prst="ellipse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ru-RU" sz="2400" b="1" dirty="0" smtClean="0">
                <a:solidFill>
                  <a:schemeClr val="tx2"/>
                </a:solidFill>
                <a:latin typeface="+mj-lt"/>
              </a:rPr>
              <a:t>1</a:t>
            </a:r>
            <a:endParaRPr lang="ru-RU" sz="2400" b="1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5" name="Oval 4"/>
          <p:cNvSpPr/>
          <p:nvPr/>
        </p:nvSpPr>
        <p:spPr>
          <a:xfrm>
            <a:off x="587879" y="3781179"/>
            <a:ext cx="504056" cy="504056"/>
          </a:xfrm>
          <a:prstGeom prst="ellipse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ru-RU" sz="2400" b="1" dirty="0" smtClean="0">
                <a:solidFill>
                  <a:schemeClr val="tx2"/>
                </a:solidFill>
                <a:latin typeface="+mj-lt"/>
              </a:rPr>
              <a:t>2</a:t>
            </a:r>
            <a:endParaRPr lang="ru-RU" sz="2400" b="1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268341" y="2204864"/>
            <a:ext cx="8068019" cy="4178067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ru-RU" sz="1400" b="1" dirty="0" smtClean="0">
                <a:solidFill>
                  <a:schemeClr val="bg1"/>
                </a:solidFill>
                <a:latin typeface="+mj-lt"/>
              </a:rPr>
              <a:t>Внесение изменений в ПП № 311</a:t>
            </a:r>
            <a:endParaRPr lang="en-US" sz="1400" b="1" dirty="0" smtClean="0">
              <a:solidFill>
                <a:schemeClr val="bg1"/>
              </a:solidFill>
              <a:latin typeface="+mj-lt"/>
            </a:endParaRPr>
          </a:p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endParaRPr lang="ru-RU" sz="1400" b="1" dirty="0" smtClean="0">
              <a:solidFill>
                <a:schemeClr val="bg1"/>
              </a:solidFill>
              <a:latin typeface="+mj-lt"/>
            </a:endParaRPr>
          </a:p>
          <a:p>
            <a:pPr marL="285750" indent="-285750">
              <a:lnSpc>
                <a:spcPct val="85000"/>
              </a:lnSpc>
              <a:spcAft>
                <a:spcPts val="600"/>
              </a:spcAft>
              <a:buClr>
                <a:srgbClr val="4AA851"/>
              </a:buClr>
              <a:buSzPct val="70000"/>
              <a:buFont typeface="Wingdings" panose="05000000000000000000" pitchFamily="2" charset="2"/>
              <a:buChar char="Ø"/>
            </a:pPr>
            <a:r>
              <a:rPr lang="ru-RU" sz="1400" dirty="0" smtClean="0">
                <a:solidFill>
                  <a:schemeClr val="bg1"/>
                </a:solidFill>
                <a:latin typeface="+mj-lt"/>
              </a:rPr>
              <a:t>внесение </a:t>
            </a:r>
            <a:r>
              <a:rPr lang="ru-RU" sz="1400" dirty="0">
                <a:solidFill>
                  <a:schemeClr val="bg1"/>
                </a:solidFill>
                <a:latin typeface="+mj-lt"/>
              </a:rPr>
              <a:t>изменений в перечень исключений из ПП № 311; </a:t>
            </a:r>
            <a:endParaRPr lang="en-US" sz="1400" dirty="0" smtClean="0">
              <a:solidFill>
                <a:schemeClr val="bg1"/>
              </a:solidFill>
              <a:latin typeface="+mj-lt"/>
            </a:endParaRPr>
          </a:p>
          <a:p>
            <a:pPr marL="285750" indent="-285750">
              <a:lnSpc>
                <a:spcPct val="85000"/>
              </a:lnSpc>
              <a:spcAft>
                <a:spcPts val="600"/>
              </a:spcAft>
              <a:buClr>
                <a:srgbClr val="4AA851"/>
              </a:buClr>
              <a:buSzPct val="70000"/>
              <a:buFont typeface="Wingdings" panose="05000000000000000000" pitchFamily="2" charset="2"/>
              <a:buChar char="Ø"/>
            </a:pPr>
            <a:r>
              <a:rPr lang="ru-RU" sz="1400" dirty="0" smtClean="0">
                <a:solidFill>
                  <a:schemeClr val="bg1"/>
                </a:solidFill>
                <a:latin typeface="+mj-lt"/>
              </a:rPr>
              <a:t>исключение </a:t>
            </a:r>
            <a:r>
              <a:rPr lang="ru-RU" sz="1400" dirty="0">
                <a:solidFill>
                  <a:schemeClr val="bg1"/>
                </a:solidFill>
                <a:latin typeface="+mj-lt"/>
              </a:rPr>
              <a:t>кодов ТН </a:t>
            </a:r>
            <a:r>
              <a:rPr lang="ru-RU" sz="1400" dirty="0" smtClean="0">
                <a:solidFill>
                  <a:schemeClr val="bg1"/>
                </a:solidFill>
                <a:latin typeface="+mj-lt"/>
              </a:rPr>
              <a:t>ВЭД ЕАЭС </a:t>
            </a:r>
            <a:r>
              <a:rPr lang="ru-RU" sz="1400" dirty="0">
                <a:solidFill>
                  <a:schemeClr val="bg1"/>
                </a:solidFill>
                <a:latin typeface="+mj-lt"/>
              </a:rPr>
              <a:t>Компании из перечня ПП № 311; </a:t>
            </a:r>
          </a:p>
          <a:p>
            <a:pPr marL="285750" indent="-285750">
              <a:lnSpc>
                <a:spcPct val="85000"/>
              </a:lnSpc>
              <a:spcAft>
                <a:spcPts val="600"/>
              </a:spcAft>
              <a:buClr>
                <a:srgbClr val="4AA851"/>
              </a:buClr>
              <a:buSzPct val="70000"/>
              <a:buFont typeface="Wingdings" panose="05000000000000000000" pitchFamily="2" charset="2"/>
              <a:buChar char="Ø"/>
            </a:pPr>
            <a:r>
              <a:rPr lang="ru-RU" sz="1400" dirty="0">
                <a:solidFill>
                  <a:schemeClr val="bg1"/>
                </a:solidFill>
                <a:latin typeface="+mj-lt"/>
              </a:rPr>
              <a:t>добавление соответствующих примечаний к кодам ТН ВЭД </a:t>
            </a:r>
            <a:r>
              <a:rPr lang="ru-RU" sz="1400" dirty="0" smtClean="0">
                <a:solidFill>
                  <a:schemeClr val="bg1"/>
                </a:solidFill>
                <a:latin typeface="+mj-lt"/>
              </a:rPr>
              <a:t>ЕАЭС Компании                            </a:t>
            </a:r>
            <a:r>
              <a:rPr lang="ru-RU" sz="1400" dirty="0">
                <a:solidFill>
                  <a:schemeClr val="bg1"/>
                </a:solidFill>
                <a:latin typeface="+mj-lt"/>
              </a:rPr>
              <a:t>(т.е. наименования, </a:t>
            </a:r>
            <a:r>
              <a:rPr lang="ru-RU" sz="1400" dirty="0" smtClean="0">
                <a:solidFill>
                  <a:schemeClr val="bg1"/>
                </a:solidFill>
                <a:latin typeface="+mj-lt"/>
              </a:rPr>
              <a:t>технических характеристик, др.)</a:t>
            </a:r>
            <a:r>
              <a:rPr lang="en-US" sz="1400" dirty="0">
                <a:solidFill>
                  <a:schemeClr val="bg1"/>
                </a:solidFill>
                <a:latin typeface="+mj-lt"/>
              </a:rPr>
              <a:t>.</a:t>
            </a:r>
            <a:endParaRPr lang="en-US" sz="1400" dirty="0" smtClean="0">
              <a:solidFill>
                <a:schemeClr val="bg1"/>
              </a:solidFill>
              <a:latin typeface="+mj-lt"/>
            </a:endParaRPr>
          </a:p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endParaRPr lang="en-US" sz="1400" b="1" dirty="0">
              <a:solidFill>
                <a:schemeClr val="bg1"/>
              </a:solidFill>
              <a:latin typeface="+mj-lt"/>
            </a:endParaRPr>
          </a:p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ru-RU" sz="1400" b="1" dirty="0" smtClean="0">
                <a:solidFill>
                  <a:schemeClr val="bg1"/>
                </a:solidFill>
                <a:latin typeface="+mj-lt"/>
              </a:rPr>
              <a:t>Получение временного индивидуального разрешения на вывоз</a:t>
            </a:r>
          </a:p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endParaRPr lang="ru-RU" sz="1400" b="1" dirty="0">
              <a:solidFill>
                <a:schemeClr val="bg1"/>
              </a:solidFill>
              <a:latin typeface="+mj-lt"/>
            </a:endParaRPr>
          </a:p>
          <a:p>
            <a:pPr>
              <a:lnSpc>
                <a:spcPct val="85000"/>
              </a:lnSpc>
              <a:spcAft>
                <a:spcPts val="600"/>
              </a:spcAft>
              <a:buClr>
                <a:srgbClr val="4AA851"/>
              </a:buClr>
              <a:buSzPct val="70000"/>
            </a:pPr>
            <a:r>
              <a:rPr lang="ru-RU" sz="1400" dirty="0">
                <a:solidFill>
                  <a:schemeClr val="bg1"/>
                </a:solidFill>
                <a:latin typeface="+mj-lt"/>
              </a:rPr>
              <a:t>В соответствии с п. 2.1 ПП № 311</a:t>
            </a:r>
            <a:r>
              <a:rPr lang="ru-RU" sz="1400" dirty="0" smtClean="0">
                <a:solidFill>
                  <a:schemeClr val="bg1"/>
                </a:solidFill>
                <a:latin typeface="+mj-lt"/>
              </a:rPr>
              <a:t>: </a:t>
            </a:r>
            <a:r>
              <a:rPr lang="ru-RU" sz="1200" b="1" dirty="0" smtClean="0">
                <a:solidFill>
                  <a:schemeClr val="bg1"/>
                </a:solidFill>
                <a:latin typeface="+mj-lt"/>
              </a:rPr>
              <a:t>«</a:t>
            </a:r>
            <a:r>
              <a:rPr lang="ru-RU" sz="1200" b="1" i="1" dirty="0">
                <a:solidFill>
                  <a:schemeClr val="bg1"/>
                </a:solidFill>
                <a:latin typeface="+mj-lt"/>
              </a:rPr>
              <a:t>По решению Правительства </a:t>
            </a:r>
            <a:r>
              <a:rPr lang="ru-RU" sz="1200" b="1" i="1" dirty="0" smtClean="0">
                <a:solidFill>
                  <a:schemeClr val="bg1"/>
                </a:solidFill>
                <a:latin typeface="+mj-lt"/>
              </a:rPr>
              <a:t>РФ на </a:t>
            </a:r>
            <a:r>
              <a:rPr lang="ru-RU" sz="1200" b="1" i="1" dirty="0">
                <a:solidFill>
                  <a:schemeClr val="bg1"/>
                </a:solidFill>
                <a:latin typeface="+mj-lt"/>
              </a:rPr>
              <a:t>основании предложений </a:t>
            </a:r>
            <a:r>
              <a:rPr lang="ru-RU" sz="1200" b="1" i="1" dirty="0" err="1" smtClean="0">
                <a:solidFill>
                  <a:schemeClr val="bg1"/>
                </a:solidFill>
                <a:latin typeface="+mj-lt"/>
              </a:rPr>
              <a:t>ФОИВов</a:t>
            </a:r>
            <a:r>
              <a:rPr lang="ru-RU" sz="1200" b="1" i="1" dirty="0" smtClean="0">
                <a:solidFill>
                  <a:schemeClr val="bg1"/>
                </a:solidFill>
                <a:latin typeface="+mj-lt"/>
              </a:rPr>
              <a:t>, </a:t>
            </a:r>
            <a:r>
              <a:rPr lang="ru-RU" sz="1200" b="1" i="1" dirty="0">
                <a:solidFill>
                  <a:schemeClr val="bg1"/>
                </a:solidFill>
                <a:latin typeface="+mj-lt"/>
              </a:rPr>
              <a:t>согласованных с </a:t>
            </a:r>
            <a:r>
              <a:rPr lang="ru-RU" sz="1200" b="1" i="1" dirty="0" err="1" smtClean="0">
                <a:solidFill>
                  <a:schemeClr val="bg1"/>
                </a:solidFill>
                <a:latin typeface="+mj-lt"/>
              </a:rPr>
              <a:t>Минпромторгом</a:t>
            </a:r>
            <a:r>
              <a:rPr lang="ru-RU" sz="1200" b="1" i="1" dirty="0" smtClean="0">
                <a:solidFill>
                  <a:schemeClr val="bg1"/>
                </a:solidFill>
                <a:latin typeface="+mj-lt"/>
              </a:rPr>
              <a:t> РФ и Минэкономразвития РФ, </a:t>
            </a:r>
            <a:r>
              <a:rPr lang="ru-RU" sz="1200" b="1" i="1" dirty="0">
                <a:solidFill>
                  <a:schemeClr val="bg1"/>
                </a:solidFill>
                <a:latin typeface="+mj-lt"/>
              </a:rPr>
              <a:t>могут предоставляться временные разрешения на вывоз определенных товаров, включенных в перечень, предусмотренный приложением N 1 к настоящему постановлению</a:t>
            </a:r>
            <a:r>
              <a:rPr lang="ru-RU" sz="1200" b="1" dirty="0">
                <a:solidFill>
                  <a:schemeClr val="bg1"/>
                </a:solidFill>
                <a:latin typeface="+mj-lt"/>
              </a:rPr>
              <a:t>».</a:t>
            </a:r>
          </a:p>
          <a:p>
            <a:pPr marL="285750" indent="-285750">
              <a:lnSpc>
                <a:spcPct val="85000"/>
              </a:lnSpc>
              <a:spcAft>
                <a:spcPts val="600"/>
              </a:spcAft>
              <a:buClr>
                <a:schemeClr val="tx2"/>
              </a:buClr>
              <a:buSzPct val="70000"/>
              <a:buFont typeface="Wingdings" panose="05000000000000000000" pitchFamily="2" charset="2"/>
              <a:buChar char="§"/>
            </a:pPr>
            <a:endParaRPr lang="ru-RU" sz="1400" b="1" dirty="0" smtClean="0">
              <a:solidFill>
                <a:schemeClr val="bg1"/>
              </a:solidFill>
              <a:latin typeface="+mj-lt"/>
            </a:endParaRPr>
          </a:p>
          <a:p>
            <a:pPr marL="285750" indent="-285750">
              <a:lnSpc>
                <a:spcPct val="85000"/>
              </a:lnSpc>
              <a:spcAft>
                <a:spcPts val="600"/>
              </a:spcAft>
              <a:buClr>
                <a:schemeClr val="tx2"/>
              </a:buClr>
              <a:buSzPct val="70000"/>
              <a:buFont typeface="Wingdings" panose="05000000000000000000" pitchFamily="2" charset="2"/>
              <a:buChar char="Ø"/>
            </a:pPr>
            <a:r>
              <a:rPr lang="ru-RU" sz="1400" dirty="0" smtClean="0">
                <a:solidFill>
                  <a:schemeClr val="bg1"/>
                </a:solidFill>
                <a:latin typeface="+mj-lt"/>
              </a:rPr>
              <a:t>Разрешения выдаются под грифом ДСП</a:t>
            </a:r>
          </a:p>
          <a:p>
            <a:pPr marL="285750" indent="-285750">
              <a:lnSpc>
                <a:spcPct val="85000"/>
              </a:lnSpc>
              <a:spcAft>
                <a:spcPts val="600"/>
              </a:spcAft>
              <a:buClr>
                <a:schemeClr val="tx2"/>
              </a:buClr>
              <a:buSzPct val="70000"/>
              <a:buFont typeface="Wingdings" panose="05000000000000000000" pitchFamily="2" charset="2"/>
              <a:buChar char="Ø"/>
            </a:pPr>
            <a:r>
              <a:rPr lang="ru-RU" sz="1400" dirty="0" smtClean="0">
                <a:solidFill>
                  <a:schemeClr val="bg1"/>
                </a:solidFill>
                <a:latin typeface="+mj-lt"/>
              </a:rPr>
              <a:t>В </a:t>
            </a:r>
            <a:r>
              <a:rPr lang="ru-RU" sz="1400" dirty="0">
                <a:solidFill>
                  <a:schemeClr val="bg1"/>
                </a:solidFill>
                <a:latin typeface="+mj-lt"/>
              </a:rPr>
              <a:t>открытом доступе </a:t>
            </a:r>
            <a:r>
              <a:rPr lang="ru-RU" sz="1400" dirty="0" smtClean="0">
                <a:solidFill>
                  <a:schemeClr val="bg1"/>
                </a:solidFill>
                <a:latin typeface="+mj-lt"/>
              </a:rPr>
              <a:t>находится единственное опубликованное разрешение - </a:t>
            </a:r>
            <a:r>
              <a:rPr lang="ru-RU" sz="1400" dirty="0">
                <a:solidFill>
                  <a:schemeClr val="bg1"/>
                </a:solidFill>
                <a:latin typeface="+mj-lt"/>
              </a:rPr>
              <a:t>Распоряжение Правительства РФ от 07.05.2022 № </a:t>
            </a:r>
            <a:r>
              <a:rPr lang="ru-RU" sz="1400" dirty="0" smtClean="0">
                <a:solidFill>
                  <a:schemeClr val="bg1"/>
                </a:solidFill>
                <a:latin typeface="+mj-lt"/>
              </a:rPr>
              <a:t>1120-р</a:t>
            </a:r>
            <a:endParaRPr lang="ru-RU" sz="1400" dirty="0">
              <a:solidFill>
                <a:schemeClr val="bg1"/>
              </a:solidFill>
              <a:latin typeface="+mj-lt"/>
            </a:endParaRPr>
          </a:p>
          <a:p>
            <a:pPr marL="285750" indent="-285750" algn="just">
              <a:lnSpc>
                <a:spcPct val="85000"/>
              </a:lnSpc>
              <a:spcAft>
                <a:spcPts val="600"/>
              </a:spcAft>
              <a:buClr>
                <a:schemeClr val="tx2"/>
              </a:buClr>
              <a:buSzPct val="70000"/>
              <a:buFont typeface="Wingdings" panose="05000000000000000000" pitchFamily="2" charset="2"/>
              <a:buChar char="Ø"/>
            </a:pPr>
            <a:endParaRPr lang="en-US" sz="1400" b="1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8" name="Рисунок 11">
            <a:extLst>
              <a:ext uri="{FF2B5EF4-FFF2-40B4-BE49-F238E27FC236}">
                <a16:creationId xmlns:a16="http://schemas.microsoft.com/office/drawing/2014/main" id="{2616872F-79D8-41A1-BB7D-7BF86776D61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216" r="5255"/>
          <a:stretch/>
        </p:blipFill>
        <p:spPr>
          <a:xfrm>
            <a:off x="9453108" y="4969"/>
            <a:ext cx="2738892" cy="6857999"/>
          </a:xfrm>
          <a:prstGeom prst="rect">
            <a:avLst/>
          </a:prstGeom>
        </p:spPr>
      </p:pic>
      <p:sp>
        <p:nvSpPr>
          <p:cNvPr id="9" name="Slide Number Placeholder 1">
            <a:extLst>
              <a:ext uri="{FF2B5EF4-FFF2-40B4-BE49-F238E27FC236}">
                <a16:creationId xmlns:a16="http://schemas.microsoft.com/office/drawing/2014/main" id="{3BF20E91-D92E-436F-9562-1E27FE90E55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09601" y="6463527"/>
            <a:ext cx="884088" cy="180000"/>
          </a:xfrm>
        </p:spPr>
        <p:txBody>
          <a:bodyPr/>
          <a:lstStyle/>
          <a:p>
            <a:r>
              <a:rPr lang="ru-RU" dirty="0" smtClean="0"/>
              <a:t>Слайд </a:t>
            </a:r>
            <a:fld id="{F1BC30E3-FFE5-4B91-AA19-87A149EBB9EE}" type="slidenum">
              <a:rPr smtClean="0"/>
              <a:pPr/>
              <a:t>4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75373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1BC30E3-FFE5-4B91-AA19-87A149EBB9EE}" type="slidenum">
              <a:rPr smtClean="0"/>
              <a:pPr/>
              <a:t>5</a:t>
            </a:fld>
            <a:endParaRPr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612000" y="521528"/>
            <a:ext cx="10972800" cy="590400"/>
          </a:xfrm>
        </p:spPr>
        <p:txBody>
          <a:bodyPr/>
          <a:lstStyle/>
          <a:p>
            <a:r>
              <a:rPr lang="ru-RU" dirty="0" smtClean="0"/>
              <a:t>Разъяснения ФТС России по применению ПП № 312</a:t>
            </a:r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628888" y="1262326"/>
            <a:ext cx="5051952" cy="2043636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algn="just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ru-RU" sz="1400" b="1" u="sng" dirty="0" smtClean="0">
                <a:solidFill>
                  <a:schemeClr val="bg1"/>
                </a:solidFill>
                <a:latin typeface="+mj-lt"/>
              </a:rPr>
              <a:t>Перечень документов для подачи заявления на получение разрешения:</a:t>
            </a:r>
          </a:p>
          <a:p>
            <a:pPr algn="just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endParaRPr lang="ru-RU" sz="1200" dirty="0" smtClean="0">
              <a:solidFill>
                <a:schemeClr val="bg1"/>
              </a:solidFill>
            </a:endParaRPr>
          </a:p>
          <a:p>
            <a:pPr algn="just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ru-RU" sz="1200" dirty="0" smtClean="0">
                <a:solidFill>
                  <a:schemeClr val="bg1"/>
                </a:solidFill>
              </a:rPr>
              <a:t>1. Заявление</a:t>
            </a:r>
            <a:endParaRPr lang="ru-RU" sz="1200" dirty="0">
              <a:solidFill>
                <a:schemeClr val="bg1"/>
              </a:solidFill>
            </a:endParaRPr>
          </a:p>
          <a:p>
            <a:pPr algn="just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ru-RU" sz="1200" dirty="0" smtClean="0">
                <a:solidFill>
                  <a:schemeClr val="bg1"/>
                </a:solidFill>
              </a:rPr>
              <a:t>2. Справка о </a:t>
            </a:r>
            <a:r>
              <a:rPr lang="ru-RU" sz="1200" dirty="0">
                <a:solidFill>
                  <a:schemeClr val="bg1"/>
                </a:solidFill>
              </a:rPr>
              <a:t>продукции в качестве приложения к </a:t>
            </a:r>
            <a:r>
              <a:rPr lang="ru-RU" sz="1200" dirty="0" smtClean="0">
                <a:solidFill>
                  <a:schemeClr val="bg1"/>
                </a:solidFill>
              </a:rPr>
              <a:t>заявлению</a:t>
            </a:r>
            <a:endParaRPr lang="ru-RU" sz="1200" dirty="0">
              <a:solidFill>
                <a:schemeClr val="bg1"/>
              </a:solidFill>
            </a:endParaRPr>
          </a:p>
          <a:p>
            <a:pPr algn="just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ru-RU" sz="1200" dirty="0" smtClean="0">
                <a:solidFill>
                  <a:schemeClr val="bg1"/>
                </a:solidFill>
              </a:rPr>
              <a:t>3. Копии договоров поставки </a:t>
            </a:r>
            <a:r>
              <a:rPr lang="ru-RU" sz="1200" dirty="0">
                <a:solidFill>
                  <a:schemeClr val="bg1"/>
                </a:solidFill>
              </a:rPr>
              <a:t>и </a:t>
            </a:r>
            <a:r>
              <a:rPr lang="ru-RU" sz="1200" dirty="0" smtClean="0">
                <a:solidFill>
                  <a:schemeClr val="bg1"/>
                </a:solidFill>
              </a:rPr>
              <a:t>дополнительных </a:t>
            </a:r>
            <a:r>
              <a:rPr lang="ru-RU" sz="1200" dirty="0">
                <a:solidFill>
                  <a:schemeClr val="bg1"/>
                </a:solidFill>
              </a:rPr>
              <a:t>соглашений </a:t>
            </a:r>
            <a:r>
              <a:rPr lang="ru-RU" sz="1200" dirty="0" smtClean="0">
                <a:solidFill>
                  <a:schemeClr val="bg1"/>
                </a:solidFill>
              </a:rPr>
              <a:t>к ним, предусматривающих </a:t>
            </a:r>
            <a:r>
              <a:rPr lang="ru-RU" sz="1200" dirty="0">
                <a:solidFill>
                  <a:schemeClr val="bg1"/>
                </a:solidFill>
              </a:rPr>
              <a:t>вывоз товара за пределы </a:t>
            </a:r>
            <a:r>
              <a:rPr lang="ru-RU" sz="1200" dirty="0" smtClean="0">
                <a:solidFill>
                  <a:schemeClr val="bg1"/>
                </a:solidFill>
              </a:rPr>
              <a:t>РФ в иные государства ЕАЭС (кроме РБ)</a:t>
            </a:r>
            <a:endParaRPr lang="ru-RU" sz="1200" dirty="0">
              <a:solidFill>
                <a:schemeClr val="bg1"/>
              </a:solidFill>
            </a:endParaRPr>
          </a:p>
          <a:p>
            <a:pPr algn="just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ru-RU" sz="1200" dirty="0" smtClean="0">
                <a:solidFill>
                  <a:schemeClr val="bg1"/>
                </a:solidFill>
              </a:rPr>
              <a:t>4. Иные </a:t>
            </a:r>
            <a:r>
              <a:rPr lang="ru-RU" sz="1200" dirty="0">
                <a:solidFill>
                  <a:schemeClr val="bg1"/>
                </a:solidFill>
              </a:rPr>
              <a:t>документы, в </a:t>
            </a:r>
            <a:r>
              <a:rPr lang="ru-RU" sz="1200" dirty="0" smtClean="0">
                <a:solidFill>
                  <a:schemeClr val="bg1"/>
                </a:solidFill>
              </a:rPr>
              <a:t>т. ч. свидетельствующие </a:t>
            </a:r>
            <a:r>
              <a:rPr lang="ru-RU" sz="1200" dirty="0">
                <a:solidFill>
                  <a:schemeClr val="bg1"/>
                </a:solidFill>
              </a:rPr>
              <a:t>об отсутствии критического недостатка вывозимой продукции </a:t>
            </a:r>
            <a:r>
              <a:rPr lang="ru-RU" sz="1200" dirty="0" smtClean="0">
                <a:solidFill>
                  <a:schemeClr val="bg1"/>
                </a:solidFill>
              </a:rPr>
              <a:t>в РФ</a:t>
            </a: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159790" y="1262326"/>
            <a:ext cx="5051952" cy="2643801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algn="just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ru-RU" sz="1400" b="1" u="sng" dirty="0">
                <a:solidFill>
                  <a:schemeClr val="bg1"/>
                </a:solidFill>
                <a:latin typeface="+mj-lt"/>
              </a:rPr>
              <a:t>Сведения, подтверждающие отсутствие нехватки товара </a:t>
            </a:r>
            <a:r>
              <a:rPr lang="ru-RU" sz="1400" b="1" u="sng" dirty="0" smtClean="0">
                <a:solidFill>
                  <a:schemeClr val="bg1"/>
                </a:solidFill>
                <a:latin typeface="+mj-lt"/>
              </a:rPr>
              <a:t>в РФ:</a:t>
            </a:r>
          </a:p>
          <a:p>
            <a:pPr marL="171450" indent="-171450">
              <a:lnSpc>
                <a:spcPct val="85000"/>
              </a:lnSpc>
              <a:spcAft>
                <a:spcPts val="600"/>
              </a:spcAft>
              <a:buClr>
                <a:srgbClr val="4AA851"/>
              </a:buClr>
              <a:buSzPct val="70000"/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bg1"/>
                </a:solidFill>
              </a:rPr>
              <a:t>сведения </a:t>
            </a:r>
            <a:r>
              <a:rPr lang="ru-RU" sz="1200" dirty="0">
                <a:solidFill>
                  <a:schemeClr val="bg1"/>
                </a:solidFill>
              </a:rPr>
              <a:t>о наличии </a:t>
            </a:r>
            <a:r>
              <a:rPr lang="ru-RU" sz="1200" dirty="0" smtClean="0">
                <a:solidFill>
                  <a:schemeClr val="bg1"/>
                </a:solidFill>
              </a:rPr>
              <a:t>запасов</a:t>
            </a:r>
          </a:p>
          <a:p>
            <a:pPr marL="171450" indent="-171450">
              <a:lnSpc>
                <a:spcPct val="85000"/>
              </a:lnSpc>
              <a:spcAft>
                <a:spcPts val="600"/>
              </a:spcAft>
              <a:buClr>
                <a:srgbClr val="4AA851"/>
              </a:buClr>
              <a:buSzPct val="70000"/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bg1"/>
                </a:solidFill>
              </a:rPr>
              <a:t>о </a:t>
            </a:r>
            <a:r>
              <a:rPr lang="ru-RU" sz="1200" dirty="0">
                <a:solidFill>
                  <a:schemeClr val="bg1"/>
                </a:solidFill>
              </a:rPr>
              <a:t>производстве/поставках такой продукции </a:t>
            </a:r>
            <a:r>
              <a:rPr lang="ru-RU" sz="1200" dirty="0" smtClean="0">
                <a:solidFill>
                  <a:schemeClr val="bg1"/>
                </a:solidFill>
              </a:rPr>
              <a:t>в РФ</a:t>
            </a:r>
            <a:endParaRPr lang="ru-RU" sz="1200" dirty="0">
              <a:solidFill>
                <a:schemeClr val="bg1"/>
              </a:solidFill>
            </a:endParaRPr>
          </a:p>
          <a:p>
            <a:pPr marL="171450" indent="-171450">
              <a:lnSpc>
                <a:spcPct val="85000"/>
              </a:lnSpc>
              <a:spcAft>
                <a:spcPts val="600"/>
              </a:spcAft>
              <a:buClr>
                <a:srgbClr val="4AA851"/>
              </a:buClr>
              <a:buSzPct val="70000"/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bg1"/>
                </a:solidFill>
              </a:rPr>
              <a:t>о </a:t>
            </a:r>
            <a:r>
              <a:rPr lang="ru-RU" sz="1200" dirty="0">
                <a:solidFill>
                  <a:schemeClr val="bg1"/>
                </a:solidFill>
              </a:rPr>
              <a:t>наличии технологически соотносимой/равной альтернативы, подтверждаемые письмами самой компании, ее контрагентов, заключениями экспертных организаций и прочими документами, из содержания которых можно сделать вывод об отсутствии дефицита</a:t>
            </a:r>
            <a:r>
              <a:rPr lang="ru-RU" sz="1200" dirty="0" smtClean="0">
                <a:solidFill>
                  <a:schemeClr val="bg1"/>
                </a:solidFill>
              </a:rPr>
              <a:t>.</a:t>
            </a:r>
          </a:p>
          <a:p>
            <a:pPr algn="just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endParaRPr lang="ru-RU" sz="1200" dirty="0">
              <a:solidFill>
                <a:schemeClr val="bg1"/>
              </a:solidFill>
              <a:latin typeface="+mj-lt"/>
            </a:endParaRPr>
          </a:p>
          <a:p>
            <a:pPr algn="just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ru-RU" sz="1600" b="1" dirty="0" smtClean="0">
                <a:solidFill>
                  <a:srgbClr val="4AA851"/>
                </a:solidFill>
                <a:latin typeface="+mj-lt"/>
              </a:rPr>
              <a:t>!</a:t>
            </a:r>
            <a:r>
              <a:rPr lang="ru-RU" sz="1200" b="1" dirty="0" smtClean="0">
                <a:solidFill>
                  <a:schemeClr val="bg1"/>
                </a:solidFill>
                <a:latin typeface="+mj-lt"/>
              </a:rPr>
              <a:t> При установлении наличия критического недостатка вывозимых товаров разрешение не выдается.</a:t>
            </a:r>
          </a:p>
          <a:p>
            <a:pPr algn="just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endParaRPr lang="ru-RU" sz="1200" dirty="0" err="1" smtClean="0">
              <a:solidFill>
                <a:schemeClr val="bg1"/>
              </a:solidFill>
            </a:endParaRPr>
          </a:p>
        </p:txBody>
      </p:sp>
      <p:cxnSp>
        <p:nvCxnSpPr>
          <p:cNvPr id="10" name="Straight Connector 9"/>
          <p:cNvCxnSpPr/>
          <p:nvPr/>
        </p:nvCxnSpPr>
        <p:spPr>
          <a:xfrm>
            <a:off x="5896864" y="1275761"/>
            <a:ext cx="0" cy="2481862"/>
          </a:xfrm>
          <a:prstGeom prst="line">
            <a:avLst/>
          </a:prstGeom>
          <a:ln w="9525">
            <a:solidFill>
              <a:srgbClr val="00B050"/>
            </a:solidFill>
            <a:prstDash val="lg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/>
        </p:nvSpPr>
        <p:spPr>
          <a:xfrm>
            <a:off x="609601" y="3947672"/>
            <a:ext cx="10602141" cy="350865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algn="just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ru-RU" sz="1200" dirty="0" smtClean="0">
                <a:solidFill>
                  <a:schemeClr val="bg1"/>
                </a:solidFill>
              </a:rPr>
              <a:t>Дополнительно разъяснено: </a:t>
            </a:r>
            <a:r>
              <a:rPr lang="ru-RU" sz="1200" b="1" dirty="0" smtClean="0">
                <a:solidFill>
                  <a:schemeClr val="bg1"/>
                </a:solidFill>
              </a:rPr>
              <a:t>выдача </a:t>
            </a:r>
            <a:r>
              <a:rPr lang="ru-RU" sz="1200" b="1" dirty="0">
                <a:solidFill>
                  <a:schemeClr val="bg1"/>
                </a:solidFill>
              </a:rPr>
              <a:t>единого разрешения на вывоз всей продукции </a:t>
            </a:r>
            <a:r>
              <a:rPr lang="ru-RU" sz="1200" dirty="0">
                <a:solidFill>
                  <a:schemeClr val="bg1"/>
                </a:solidFill>
              </a:rPr>
              <a:t>по контракту (договору) и спецификациям к нему согласно </a:t>
            </a:r>
            <a:r>
              <a:rPr lang="ru-RU" sz="1200" dirty="0" smtClean="0">
                <a:solidFill>
                  <a:schemeClr val="bg1"/>
                </a:solidFill>
              </a:rPr>
              <a:t>ПП № </a:t>
            </a:r>
            <a:r>
              <a:rPr lang="ru-RU" sz="1200" dirty="0">
                <a:solidFill>
                  <a:schemeClr val="bg1"/>
                </a:solidFill>
              </a:rPr>
              <a:t>312 </a:t>
            </a:r>
            <a:r>
              <a:rPr lang="ru-RU" sz="1200" b="1" dirty="0">
                <a:solidFill>
                  <a:schemeClr val="bg1"/>
                </a:solidFill>
              </a:rPr>
              <a:t>не предусмотрена</a:t>
            </a:r>
            <a:r>
              <a:rPr lang="ru-RU" sz="1200" dirty="0">
                <a:solidFill>
                  <a:schemeClr val="bg1"/>
                </a:solidFill>
              </a:rPr>
              <a:t>.</a:t>
            </a:r>
            <a:endParaRPr lang="ru-RU" sz="1200" dirty="0" smtClean="0">
              <a:solidFill>
                <a:schemeClr val="bg1"/>
              </a:solidFill>
            </a:endParaRPr>
          </a:p>
        </p:txBody>
      </p:sp>
      <p:sp>
        <p:nvSpPr>
          <p:cNvPr id="17" name="Rounded Rectangle 16"/>
          <p:cNvSpPr/>
          <p:nvPr/>
        </p:nvSpPr>
        <p:spPr>
          <a:xfrm>
            <a:off x="488240" y="4675505"/>
            <a:ext cx="10894455" cy="1605154"/>
          </a:xfrm>
          <a:prstGeom prst="round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just">
              <a:lnSpc>
                <a:spcPct val="85000"/>
              </a:lnSpc>
              <a:spcAft>
                <a:spcPts val="600"/>
              </a:spcAft>
              <a:buClr>
                <a:srgbClr val="4AA851"/>
              </a:buClr>
              <a:buSzPct val="70000"/>
            </a:pPr>
            <a:endParaRPr lang="ru-RU" sz="1200" dirty="0" smtClean="0">
              <a:solidFill>
                <a:schemeClr val="bg1"/>
              </a:solidFill>
            </a:endParaRPr>
          </a:p>
          <a:p>
            <a:pPr algn="just">
              <a:lnSpc>
                <a:spcPct val="85000"/>
              </a:lnSpc>
              <a:spcAft>
                <a:spcPts val="600"/>
              </a:spcAft>
              <a:buClr>
                <a:srgbClr val="4AA851"/>
              </a:buClr>
              <a:buSzPct val="70000"/>
            </a:pPr>
            <a:r>
              <a:rPr lang="ru-RU" sz="1200" dirty="0" smtClean="0">
                <a:solidFill>
                  <a:schemeClr val="bg1"/>
                </a:solidFill>
              </a:rPr>
              <a:t>Несоблюдение </a:t>
            </a:r>
            <a:r>
              <a:rPr lang="ru-RU" sz="1200" dirty="0">
                <a:solidFill>
                  <a:schemeClr val="bg1"/>
                </a:solidFill>
              </a:rPr>
              <a:t>установленных </a:t>
            </a:r>
            <a:r>
              <a:rPr lang="ru-RU" sz="1200" dirty="0" smtClean="0">
                <a:solidFill>
                  <a:schemeClr val="bg1"/>
                </a:solidFill>
              </a:rPr>
              <a:t>запретов </a:t>
            </a:r>
            <a:r>
              <a:rPr lang="ru-RU" sz="1200" dirty="0">
                <a:solidFill>
                  <a:schemeClr val="bg1"/>
                </a:solidFill>
              </a:rPr>
              <a:t>и ограничений на вывоз из РФ образует событие административного правонарушения по </a:t>
            </a:r>
            <a:r>
              <a:rPr lang="ru-RU" sz="1200" b="1" dirty="0">
                <a:solidFill>
                  <a:schemeClr val="bg1"/>
                </a:solidFill>
              </a:rPr>
              <a:t>ст. 16.3 КоАП </a:t>
            </a:r>
            <a:r>
              <a:rPr lang="ru-RU" sz="1200" b="1" dirty="0" smtClean="0">
                <a:solidFill>
                  <a:schemeClr val="bg1"/>
                </a:solidFill>
              </a:rPr>
              <a:t>РФ</a:t>
            </a:r>
            <a:r>
              <a:rPr lang="ru-RU" sz="1200" dirty="0" smtClean="0">
                <a:solidFill>
                  <a:schemeClr val="bg1"/>
                </a:solidFill>
              </a:rPr>
              <a:t>. Субъектом </a:t>
            </a:r>
            <a:r>
              <a:rPr lang="ru-RU" sz="1200" dirty="0">
                <a:solidFill>
                  <a:schemeClr val="bg1"/>
                </a:solidFill>
              </a:rPr>
              <a:t>ответственности являются:</a:t>
            </a:r>
          </a:p>
          <a:p>
            <a:pPr marL="523350" indent="-285750" algn="just">
              <a:lnSpc>
                <a:spcPct val="85000"/>
              </a:lnSpc>
              <a:spcAft>
                <a:spcPts val="600"/>
              </a:spcAft>
              <a:buClr>
                <a:srgbClr val="4AA851"/>
              </a:buClr>
              <a:buSzPct val="70000"/>
              <a:buFont typeface="Wingdings" panose="05000000000000000000" pitchFamily="2" charset="2"/>
              <a:buChar char="§"/>
            </a:pPr>
            <a:r>
              <a:rPr lang="ru-RU" sz="1200" u="sng" dirty="0">
                <a:solidFill>
                  <a:schemeClr val="bg1"/>
                </a:solidFill>
              </a:rPr>
              <a:t>декларант</a:t>
            </a:r>
            <a:r>
              <a:rPr lang="ru-RU" sz="1200" dirty="0">
                <a:solidFill>
                  <a:schemeClr val="bg1"/>
                </a:solidFill>
              </a:rPr>
              <a:t> – при подаче ДТ на вывоз запрещенных (ограниченных к вывозу) товаров;</a:t>
            </a:r>
          </a:p>
          <a:p>
            <a:pPr marL="523350" indent="-285750" algn="just">
              <a:lnSpc>
                <a:spcPct val="85000"/>
              </a:lnSpc>
              <a:buClr>
                <a:srgbClr val="4AA851"/>
              </a:buClr>
              <a:buSzPct val="70000"/>
              <a:buFont typeface="Wingdings" panose="05000000000000000000" pitchFamily="2" charset="2"/>
              <a:buChar char="§"/>
            </a:pPr>
            <a:r>
              <a:rPr lang="ru-RU" sz="1200" u="sng" dirty="0">
                <a:solidFill>
                  <a:schemeClr val="bg1"/>
                </a:solidFill>
              </a:rPr>
              <a:t>отправител</a:t>
            </a:r>
            <a:r>
              <a:rPr lang="ru-RU" sz="1200" dirty="0">
                <a:solidFill>
                  <a:schemeClr val="bg1"/>
                </a:solidFill>
              </a:rPr>
              <a:t>ь – при вывозе товаров в государства ЕАЭС при наличии документов, подтверждающих договор</a:t>
            </a:r>
          </a:p>
          <a:p>
            <a:pPr marL="237600" algn="just">
              <a:lnSpc>
                <a:spcPct val="85000"/>
              </a:lnSpc>
              <a:buClr>
                <a:srgbClr val="4AA851"/>
              </a:buClr>
              <a:buSzPct val="70000"/>
            </a:pPr>
            <a:r>
              <a:rPr lang="ru-RU" sz="1200" dirty="0" smtClean="0">
                <a:solidFill>
                  <a:schemeClr val="bg1"/>
                </a:solidFill>
              </a:rPr>
              <a:t>       международной </a:t>
            </a:r>
            <a:r>
              <a:rPr lang="ru-RU" sz="1200" dirty="0">
                <a:solidFill>
                  <a:schemeClr val="bg1"/>
                </a:solidFill>
              </a:rPr>
              <a:t>перевозки, и </a:t>
            </a:r>
            <a:r>
              <a:rPr lang="ru-RU" sz="1200" dirty="0" smtClean="0">
                <a:solidFill>
                  <a:schemeClr val="bg1"/>
                </a:solidFill>
              </a:rPr>
              <a:t>отсутствии </a:t>
            </a:r>
            <a:r>
              <a:rPr lang="ru-RU" sz="1200" dirty="0">
                <a:solidFill>
                  <a:schemeClr val="bg1"/>
                </a:solidFill>
              </a:rPr>
              <a:t>исключений;</a:t>
            </a:r>
          </a:p>
          <a:p>
            <a:pPr marL="523350" indent="-285750" algn="just">
              <a:lnSpc>
                <a:spcPct val="85000"/>
              </a:lnSpc>
              <a:spcBef>
                <a:spcPts val="600"/>
              </a:spcBef>
              <a:buClr>
                <a:srgbClr val="4AA851"/>
              </a:buClr>
              <a:buSzPct val="70000"/>
              <a:buFont typeface="Wingdings" panose="05000000000000000000" pitchFamily="2" charset="2"/>
              <a:buChar char="§"/>
            </a:pPr>
            <a:r>
              <a:rPr lang="ru-RU" sz="1200" u="sng" dirty="0">
                <a:solidFill>
                  <a:schemeClr val="bg1"/>
                </a:solidFill>
              </a:rPr>
              <a:t>лицо, фактически осуществляющее вывоз товаров из РФ </a:t>
            </a:r>
            <a:r>
              <a:rPr lang="ru-RU" sz="1200" dirty="0">
                <a:solidFill>
                  <a:schemeClr val="bg1"/>
                </a:solidFill>
              </a:rPr>
              <a:t>без каких-либо документов.</a:t>
            </a:r>
          </a:p>
          <a:p>
            <a:pPr algn="ctr"/>
            <a:endParaRPr lang="ru-RU" sz="1200" dirty="0">
              <a:solidFill>
                <a:schemeClr val="tx1"/>
              </a:solidFill>
            </a:endParaRPr>
          </a:p>
        </p:txBody>
      </p:sp>
      <p:grpSp>
        <p:nvGrpSpPr>
          <p:cNvPr id="18" name="Group 37">
            <a:extLst>
              <a:ext uri="{FF2B5EF4-FFF2-40B4-BE49-F238E27FC236}">
                <a16:creationId xmlns:a16="http://schemas.microsoft.com/office/drawing/2014/main" id="{080ACD83-6D22-4205-9DB6-0D8FC48DD8E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171803" y="5492648"/>
            <a:ext cx="711295" cy="586943"/>
            <a:chOff x="4402" y="874"/>
            <a:chExt cx="858" cy="708"/>
          </a:xfrm>
        </p:grpSpPr>
        <p:sp>
          <p:nvSpPr>
            <p:cNvPr id="19" name="Freeform 38">
              <a:extLst>
                <a:ext uri="{FF2B5EF4-FFF2-40B4-BE49-F238E27FC236}">
                  <a16:creationId xmlns:a16="http://schemas.microsoft.com/office/drawing/2014/main" id="{648DEAED-03FE-456B-845A-FB96DEB05A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02" y="874"/>
              <a:ext cx="858" cy="708"/>
            </a:xfrm>
            <a:custGeom>
              <a:avLst/>
              <a:gdLst>
                <a:gd name="T0" fmla="*/ 858 w 858"/>
                <a:gd name="T1" fmla="*/ 708 h 708"/>
                <a:gd name="T2" fmla="*/ 0 w 858"/>
                <a:gd name="T3" fmla="*/ 708 h 708"/>
                <a:gd name="T4" fmla="*/ 428 w 858"/>
                <a:gd name="T5" fmla="*/ 0 h 708"/>
                <a:gd name="T6" fmla="*/ 858 w 858"/>
                <a:gd name="T7" fmla="*/ 708 h 708"/>
                <a:gd name="T8" fmla="*/ 32 w 858"/>
                <a:gd name="T9" fmla="*/ 690 h 708"/>
                <a:gd name="T10" fmla="*/ 826 w 858"/>
                <a:gd name="T11" fmla="*/ 690 h 708"/>
                <a:gd name="T12" fmla="*/ 428 w 858"/>
                <a:gd name="T13" fmla="*/ 34 h 708"/>
                <a:gd name="T14" fmla="*/ 32 w 858"/>
                <a:gd name="T15" fmla="*/ 690 h 7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58" h="708">
                  <a:moveTo>
                    <a:pt x="858" y="708"/>
                  </a:moveTo>
                  <a:lnTo>
                    <a:pt x="0" y="708"/>
                  </a:lnTo>
                  <a:lnTo>
                    <a:pt x="428" y="0"/>
                  </a:lnTo>
                  <a:lnTo>
                    <a:pt x="858" y="708"/>
                  </a:lnTo>
                  <a:close/>
                  <a:moveTo>
                    <a:pt x="32" y="690"/>
                  </a:moveTo>
                  <a:lnTo>
                    <a:pt x="826" y="690"/>
                  </a:lnTo>
                  <a:lnTo>
                    <a:pt x="428" y="34"/>
                  </a:lnTo>
                  <a:lnTo>
                    <a:pt x="32" y="690"/>
                  </a:lnTo>
                  <a:close/>
                </a:path>
              </a:pathLst>
            </a:custGeom>
            <a:solidFill>
              <a:srgbClr val="2E2E38"/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39">
              <a:extLst>
                <a:ext uri="{FF2B5EF4-FFF2-40B4-BE49-F238E27FC236}">
                  <a16:creationId xmlns:a16="http://schemas.microsoft.com/office/drawing/2014/main" id="{9BFCD331-2D86-4243-B151-2A10BA948EC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22" y="1004"/>
              <a:ext cx="618" cy="514"/>
            </a:xfrm>
            <a:custGeom>
              <a:avLst/>
              <a:gdLst>
                <a:gd name="T0" fmla="*/ 618 w 618"/>
                <a:gd name="T1" fmla="*/ 514 h 514"/>
                <a:gd name="T2" fmla="*/ 396 w 618"/>
                <a:gd name="T3" fmla="*/ 514 h 514"/>
                <a:gd name="T4" fmla="*/ 396 w 618"/>
                <a:gd name="T5" fmla="*/ 496 h 514"/>
                <a:gd name="T6" fmla="*/ 586 w 618"/>
                <a:gd name="T7" fmla="*/ 496 h 514"/>
                <a:gd name="T8" fmla="*/ 308 w 618"/>
                <a:gd name="T9" fmla="*/ 36 h 514"/>
                <a:gd name="T10" fmla="*/ 32 w 618"/>
                <a:gd name="T11" fmla="*/ 496 h 514"/>
                <a:gd name="T12" fmla="*/ 222 w 618"/>
                <a:gd name="T13" fmla="*/ 496 h 514"/>
                <a:gd name="T14" fmla="*/ 222 w 618"/>
                <a:gd name="T15" fmla="*/ 514 h 514"/>
                <a:gd name="T16" fmla="*/ 0 w 618"/>
                <a:gd name="T17" fmla="*/ 514 h 514"/>
                <a:gd name="T18" fmla="*/ 308 w 618"/>
                <a:gd name="T19" fmla="*/ 0 h 514"/>
                <a:gd name="T20" fmla="*/ 618 w 618"/>
                <a:gd name="T21" fmla="*/ 514 h 5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18" h="514">
                  <a:moveTo>
                    <a:pt x="618" y="514"/>
                  </a:moveTo>
                  <a:lnTo>
                    <a:pt x="396" y="514"/>
                  </a:lnTo>
                  <a:lnTo>
                    <a:pt x="396" y="496"/>
                  </a:lnTo>
                  <a:lnTo>
                    <a:pt x="586" y="496"/>
                  </a:lnTo>
                  <a:lnTo>
                    <a:pt x="308" y="36"/>
                  </a:lnTo>
                  <a:lnTo>
                    <a:pt x="32" y="496"/>
                  </a:lnTo>
                  <a:lnTo>
                    <a:pt x="222" y="496"/>
                  </a:lnTo>
                  <a:lnTo>
                    <a:pt x="222" y="514"/>
                  </a:lnTo>
                  <a:lnTo>
                    <a:pt x="0" y="514"/>
                  </a:lnTo>
                  <a:lnTo>
                    <a:pt x="308" y="0"/>
                  </a:lnTo>
                  <a:lnTo>
                    <a:pt x="618" y="514"/>
                  </a:lnTo>
                  <a:close/>
                </a:path>
              </a:pathLst>
            </a:custGeom>
            <a:solidFill>
              <a:srgbClr val="2E2E38"/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40">
              <a:extLst>
                <a:ext uri="{FF2B5EF4-FFF2-40B4-BE49-F238E27FC236}">
                  <a16:creationId xmlns:a16="http://schemas.microsoft.com/office/drawing/2014/main" id="{C92B0933-823B-42AE-8BB6-C8B33683BF7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82" y="1196"/>
              <a:ext cx="96" cy="258"/>
            </a:xfrm>
            <a:custGeom>
              <a:avLst/>
              <a:gdLst>
                <a:gd name="T0" fmla="*/ 56 w 96"/>
                <a:gd name="T1" fmla="*/ 258 h 258"/>
                <a:gd name="T2" fmla="*/ 40 w 96"/>
                <a:gd name="T3" fmla="*/ 258 h 258"/>
                <a:gd name="T4" fmla="*/ 40 w 96"/>
                <a:gd name="T5" fmla="*/ 258 h 258"/>
                <a:gd name="T6" fmla="*/ 30 w 96"/>
                <a:gd name="T7" fmla="*/ 256 h 258"/>
                <a:gd name="T8" fmla="*/ 22 w 96"/>
                <a:gd name="T9" fmla="*/ 252 h 258"/>
                <a:gd name="T10" fmla="*/ 18 w 96"/>
                <a:gd name="T11" fmla="*/ 244 h 258"/>
                <a:gd name="T12" fmla="*/ 14 w 96"/>
                <a:gd name="T13" fmla="*/ 234 h 258"/>
                <a:gd name="T14" fmla="*/ 0 w 96"/>
                <a:gd name="T15" fmla="*/ 28 h 258"/>
                <a:gd name="T16" fmla="*/ 0 w 96"/>
                <a:gd name="T17" fmla="*/ 28 h 258"/>
                <a:gd name="T18" fmla="*/ 2 w 96"/>
                <a:gd name="T19" fmla="*/ 18 h 258"/>
                <a:gd name="T20" fmla="*/ 8 w 96"/>
                <a:gd name="T21" fmla="*/ 8 h 258"/>
                <a:gd name="T22" fmla="*/ 8 w 96"/>
                <a:gd name="T23" fmla="*/ 8 h 258"/>
                <a:gd name="T24" fmla="*/ 16 w 96"/>
                <a:gd name="T25" fmla="*/ 2 h 258"/>
                <a:gd name="T26" fmla="*/ 26 w 96"/>
                <a:gd name="T27" fmla="*/ 0 h 258"/>
                <a:gd name="T28" fmla="*/ 70 w 96"/>
                <a:gd name="T29" fmla="*/ 0 h 258"/>
                <a:gd name="T30" fmla="*/ 70 w 96"/>
                <a:gd name="T31" fmla="*/ 0 h 258"/>
                <a:gd name="T32" fmla="*/ 82 w 96"/>
                <a:gd name="T33" fmla="*/ 2 h 258"/>
                <a:gd name="T34" fmla="*/ 90 w 96"/>
                <a:gd name="T35" fmla="*/ 8 h 258"/>
                <a:gd name="T36" fmla="*/ 90 w 96"/>
                <a:gd name="T37" fmla="*/ 8 h 258"/>
                <a:gd name="T38" fmla="*/ 96 w 96"/>
                <a:gd name="T39" fmla="*/ 18 h 258"/>
                <a:gd name="T40" fmla="*/ 96 w 96"/>
                <a:gd name="T41" fmla="*/ 28 h 258"/>
                <a:gd name="T42" fmla="*/ 82 w 96"/>
                <a:gd name="T43" fmla="*/ 234 h 258"/>
                <a:gd name="T44" fmla="*/ 82 w 96"/>
                <a:gd name="T45" fmla="*/ 234 h 258"/>
                <a:gd name="T46" fmla="*/ 80 w 96"/>
                <a:gd name="T47" fmla="*/ 244 h 258"/>
                <a:gd name="T48" fmla="*/ 74 w 96"/>
                <a:gd name="T49" fmla="*/ 252 h 258"/>
                <a:gd name="T50" fmla="*/ 66 w 96"/>
                <a:gd name="T51" fmla="*/ 256 h 258"/>
                <a:gd name="T52" fmla="*/ 56 w 96"/>
                <a:gd name="T53" fmla="*/ 258 h 258"/>
                <a:gd name="T54" fmla="*/ 56 w 96"/>
                <a:gd name="T55" fmla="*/ 258 h 258"/>
                <a:gd name="T56" fmla="*/ 26 w 96"/>
                <a:gd name="T57" fmla="*/ 18 h 258"/>
                <a:gd name="T58" fmla="*/ 26 w 96"/>
                <a:gd name="T59" fmla="*/ 18 h 258"/>
                <a:gd name="T60" fmla="*/ 22 w 96"/>
                <a:gd name="T61" fmla="*/ 20 h 258"/>
                <a:gd name="T62" fmla="*/ 20 w 96"/>
                <a:gd name="T63" fmla="*/ 20 h 258"/>
                <a:gd name="T64" fmla="*/ 20 w 96"/>
                <a:gd name="T65" fmla="*/ 20 h 258"/>
                <a:gd name="T66" fmla="*/ 18 w 96"/>
                <a:gd name="T67" fmla="*/ 24 h 258"/>
                <a:gd name="T68" fmla="*/ 18 w 96"/>
                <a:gd name="T69" fmla="*/ 26 h 258"/>
                <a:gd name="T70" fmla="*/ 32 w 96"/>
                <a:gd name="T71" fmla="*/ 234 h 258"/>
                <a:gd name="T72" fmla="*/ 32 w 96"/>
                <a:gd name="T73" fmla="*/ 234 h 258"/>
                <a:gd name="T74" fmla="*/ 36 w 96"/>
                <a:gd name="T75" fmla="*/ 238 h 258"/>
                <a:gd name="T76" fmla="*/ 40 w 96"/>
                <a:gd name="T77" fmla="*/ 240 h 258"/>
                <a:gd name="T78" fmla="*/ 56 w 96"/>
                <a:gd name="T79" fmla="*/ 240 h 258"/>
                <a:gd name="T80" fmla="*/ 56 w 96"/>
                <a:gd name="T81" fmla="*/ 240 h 258"/>
                <a:gd name="T82" fmla="*/ 62 w 96"/>
                <a:gd name="T83" fmla="*/ 238 h 258"/>
                <a:gd name="T84" fmla="*/ 64 w 96"/>
                <a:gd name="T85" fmla="*/ 234 h 258"/>
                <a:gd name="T86" fmla="*/ 78 w 96"/>
                <a:gd name="T87" fmla="*/ 26 h 258"/>
                <a:gd name="T88" fmla="*/ 78 w 96"/>
                <a:gd name="T89" fmla="*/ 26 h 258"/>
                <a:gd name="T90" fmla="*/ 78 w 96"/>
                <a:gd name="T91" fmla="*/ 24 h 258"/>
                <a:gd name="T92" fmla="*/ 76 w 96"/>
                <a:gd name="T93" fmla="*/ 20 h 258"/>
                <a:gd name="T94" fmla="*/ 76 w 96"/>
                <a:gd name="T95" fmla="*/ 20 h 258"/>
                <a:gd name="T96" fmla="*/ 74 w 96"/>
                <a:gd name="T97" fmla="*/ 20 h 258"/>
                <a:gd name="T98" fmla="*/ 70 w 96"/>
                <a:gd name="T99" fmla="*/ 18 h 258"/>
                <a:gd name="T100" fmla="*/ 26 w 96"/>
                <a:gd name="T101" fmla="*/ 18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96" h="258">
                  <a:moveTo>
                    <a:pt x="56" y="258"/>
                  </a:moveTo>
                  <a:lnTo>
                    <a:pt x="40" y="258"/>
                  </a:lnTo>
                  <a:lnTo>
                    <a:pt x="40" y="258"/>
                  </a:lnTo>
                  <a:lnTo>
                    <a:pt x="30" y="256"/>
                  </a:lnTo>
                  <a:lnTo>
                    <a:pt x="22" y="252"/>
                  </a:lnTo>
                  <a:lnTo>
                    <a:pt x="18" y="244"/>
                  </a:lnTo>
                  <a:lnTo>
                    <a:pt x="14" y="234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2" y="1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6" y="2"/>
                  </a:lnTo>
                  <a:lnTo>
                    <a:pt x="26" y="0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82" y="2"/>
                  </a:lnTo>
                  <a:lnTo>
                    <a:pt x="90" y="8"/>
                  </a:lnTo>
                  <a:lnTo>
                    <a:pt x="90" y="8"/>
                  </a:lnTo>
                  <a:lnTo>
                    <a:pt x="96" y="18"/>
                  </a:lnTo>
                  <a:lnTo>
                    <a:pt x="96" y="28"/>
                  </a:lnTo>
                  <a:lnTo>
                    <a:pt x="82" y="234"/>
                  </a:lnTo>
                  <a:lnTo>
                    <a:pt x="82" y="234"/>
                  </a:lnTo>
                  <a:lnTo>
                    <a:pt x="80" y="244"/>
                  </a:lnTo>
                  <a:lnTo>
                    <a:pt x="74" y="252"/>
                  </a:lnTo>
                  <a:lnTo>
                    <a:pt x="66" y="256"/>
                  </a:lnTo>
                  <a:lnTo>
                    <a:pt x="56" y="258"/>
                  </a:lnTo>
                  <a:lnTo>
                    <a:pt x="56" y="258"/>
                  </a:lnTo>
                  <a:close/>
                  <a:moveTo>
                    <a:pt x="26" y="18"/>
                  </a:moveTo>
                  <a:lnTo>
                    <a:pt x="26" y="18"/>
                  </a:lnTo>
                  <a:lnTo>
                    <a:pt x="22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18" y="24"/>
                  </a:lnTo>
                  <a:lnTo>
                    <a:pt x="18" y="26"/>
                  </a:lnTo>
                  <a:lnTo>
                    <a:pt x="32" y="234"/>
                  </a:lnTo>
                  <a:lnTo>
                    <a:pt x="32" y="234"/>
                  </a:lnTo>
                  <a:lnTo>
                    <a:pt x="36" y="238"/>
                  </a:lnTo>
                  <a:lnTo>
                    <a:pt x="40" y="240"/>
                  </a:lnTo>
                  <a:lnTo>
                    <a:pt x="56" y="240"/>
                  </a:lnTo>
                  <a:lnTo>
                    <a:pt x="56" y="240"/>
                  </a:lnTo>
                  <a:lnTo>
                    <a:pt x="62" y="238"/>
                  </a:lnTo>
                  <a:lnTo>
                    <a:pt x="64" y="234"/>
                  </a:lnTo>
                  <a:lnTo>
                    <a:pt x="78" y="26"/>
                  </a:lnTo>
                  <a:lnTo>
                    <a:pt x="78" y="26"/>
                  </a:lnTo>
                  <a:lnTo>
                    <a:pt x="78" y="24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4" y="20"/>
                  </a:lnTo>
                  <a:lnTo>
                    <a:pt x="70" y="18"/>
                  </a:lnTo>
                  <a:lnTo>
                    <a:pt x="26" y="18"/>
                  </a:lnTo>
                  <a:close/>
                </a:path>
              </a:pathLst>
            </a:custGeom>
            <a:solidFill>
              <a:srgbClr val="2E2E38"/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2" name="Freeform 41">
              <a:extLst>
                <a:ext uri="{FF2B5EF4-FFF2-40B4-BE49-F238E27FC236}">
                  <a16:creationId xmlns:a16="http://schemas.microsoft.com/office/drawing/2014/main" id="{1A8A33A3-3D92-4753-8F5A-C10AF76D6E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88" y="1468"/>
              <a:ext cx="84" cy="84"/>
            </a:xfrm>
            <a:custGeom>
              <a:avLst/>
              <a:gdLst>
                <a:gd name="T0" fmla="*/ 42 w 84"/>
                <a:gd name="T1" fmla="*/ 84 h 84"/>
                <a:gd name="T2" fmla="*/ 42 w 84"/>
                <a:gd name="T3" fmla="*/ 84 h 84"/>
                <a:gd name="T4" fmla="*/ 34 w 84"/>
                <a:gd name="T5" fmla="*/ 84 h 84"/>
                <a:gd name="T6" fmla="*/ 26 w 84"/>
                <a:gd name="T7" fmla="*/ 80 h 84"/>
                <a:gd name="T8" fmla="*/ 18 w 84"/>
                <a:gd name="T9" fmla="*/ 76 h 84"/>
                <a:gd name="T10" fmla="*/ 12 w 84"/>
                <a:gd name="T11" fmla="*/ 72 h 84"/>
                <a:gd name="T12" fmla="*/ 8 w 84"/>
                <a:gd name="T13" fmla="*/ 66 h 84"/>
                <a:gd name="T14" fmla="*/ 4 w 84"/>
                <a:gd name="T15" fmla="*/ 58 h 84"/>
                <a:gd name="T16" fmla="*/ 0 w 84"/>
                <a:gd name="T17" fmla="*/ 50 h 84"/>
                <a:gd name="T18" fmla="*/ 0 w 84"/>
                <a:gd name="T19" fmla="*/ 42 h 84"/>
                <a:gd name="T20" fmla="*/ 0 w 84"/>
                <a:gd name="T21" fmla="*/ 42 h 84"/>
                <a:gd name="T22" fmla="*/ 0 w 84"/>
                <a:gd name="T23" fmla="*/ 34 h 84"/>
                <a:gd name="T24" fmla="*/ 4 w 84"/>
                <a:gd name="T25" fmla="*/ 26 h 84"/>
                <a:gd name="T26" fmla="*/ 8 w 84"/>
                <a:gd name="T27" fmla="*/ 18 h 84"/>
                <a:gd name="T28" fmla="*/ 12 w 84"/>
                <a:gd name="T29" fmla="*/ 12 h 84"/>
                <a:gd name="T30" fmla="*/ 18 w 84"/>
                <a:gd name="T31" fmla="*/ 6 h 84"/>
                <a:gd name="T32" fmla="*/ 26 w 84"/>
                <a:gd name="T33" fmla="*/ 2 h 84"/>
                <a:gd name="T34" fmla="*/ 34 w 84"/>
                <a:gd name="T35" fmla="*/ 0 h 84"/>
                <a:gd name="T36" fmla="*/ 42 w 84"/>
                <a:gd name="T37" fmla="*/ 0 h 84"/>
                <a:gd name="T38" fmla="*/ 42 w 84"/>
                <a:gd name="T39" fmla="*/ 0 h 84"/>
                <a:gd name="T40" fmla="*/ 50 w 84"/>
                <a:gd name="T41" fmla="*/ 0 h 84"/>
                <a:gd name="T42" fmla="*/ 58 w 84"/>
                <a:gd name="T43" fmla="*/ 2 h 84"/>
                <a:gd name="T44" fmla="*/ 66 w 84"/>
                <a:gd name="T45" fmla="*/ 6 h 84"/>
                <a:gd name="T46" fmla="*/ 72 w 84"/>
                <a:gd name="T47" fmla="*/ 12 h 84"/>
                <a:gd name="T48" fmla="*/ 78 w 84"/>
                <a:gd name="T49" fmla="*/ 18 h 84"/>
                <a:gd name="T50" fmla="*/ 82 w 84"/>
                <a:gd name="T51" fmla="*/ 26 h 84"/>
                <a:gd name="T52" fmla="*/ 84 w 84"/>
                <a:gd name="T53" fmla="*/ 34 h 84"/>
                <a:gd name="T54" fmla="*/ 84 w 84"/>
                <a:gd name="T55" fmla="*/ 42 h 84"/>
                <a:gd name="T56" fmla="*/ 84 w 84"/>
                <a:gd name="T57" fmla="*/ 42 h 84"/>
                <a:gd name="T58" fmla="*/ 84 w 84"/>
                <a:gd name="T59" fmla="*/ 50 h 84"/>
                <a:gd name="T60" fmla="*/ 82 w 84"/>
                <a:gd name="T61" fmla="*/ 58 h 84"/>
                <a:gd name="T62" fmla="*/ 78 w 84"/>
                <a:gd name="T63" fmla="*/ 66 h 84"/>
                <a:gd name="T64" fmla="*/ 72 w 84"/>
                <a:gd name="T65" fmla="*/ 72 h 84"/>
                <a:gd name="T66" fmla="*/ 66 w 84"/>
                <a:gd name="T67" fmla="*/ 76 h 84"/>
                <a:gd name="T68" fmla="*/ 58 w 84"/>
                <a:gd name="T69" fmla="*/ 80 h 84"/>
                <a:gd name="T70" fmla="*/ 50 w 84"/>
                <a:gd name="T71" fmla="*/ 84 h 84"/>
                <a:gd name="T72" fmla="*/ 42 w 84"/>
                <a:gd name="T73" fmla="*/ 84 h 84"/>
                <a:gd name="T74" fmla="*/ 42 w 84"/>
                <a:gd name="T75" fmla="*/ 84 h 84"/>
                <a:gd name="T76" fmla="*/ 42 w 84"/>
                <a:gd name="T77" fmla="*/ 18 h 84"/>
                <a:gd name="T78" fmla="*/ 42 w 84"/>
                <a:gd name="T79" fmla="*/ 18 h 84"/>
                <a:gd name="T80" fmla="*/ 32 w 84"/>
                <a:gd name="T81" fmla="*/ 20 h 84"/>
                <a:gd name="T82" fmla="*/ 26 w 84"/>
                <a:gd name="T83" fmla="*/ 24 h 84"/>
                <a:gd name="T84" fmla="*/ 20 w 84"/>
                <a:gd name="T85" fmla="*/ 32 h 84"/>
                <a:gd name="T86" fmla="*/ 18 w 84"/>
                <a:gd name="T87" fmla="*/ 42 h 84"/>
                <a:gd name="T88" fmla="*/ 18 w 84"/>
                <a:gd name="T89" fmla="*/ 42 h 84"/>
                <a:gd name="T90" fmla="*/ 20 w 84"/>
                <a:gd name="T91" fmla="*/ 52 h 84"/>
                <a:gd name="T92" fmla="*/ 26 w 84"/>
                <a:gd name="T93" fmla="*/ 60 h 84"/>
                <a:gd name="T94" fmla="*/ 32 w 84"/>
                <a:gd name="T95" fmla="*/ 64 h 84"/>
                <a:gd name="T96" fmla="*/ 42 w 84"/>
                <a:gd name="T97" fmla="*/ 66 h 84"/>
                <a:gd name="T98" fmla="*/ 42 w 84"/>
                <a:gd name="T99" fmla="*/ 66 h 84"/>
                <a:gd name="T100" fmla="*/ 52 w 84"/>
                <a:gd name="T101" fmla="*/ 64 h 84"/>
                <a:gd name="T102" fmla="*/ 60 w 84"/>
                <a:gd name="T103" fmla="*/ 60 h 84"/>
                <a:gd name="T104" fmla="*/ 64 w 84"/>
                <a:gd name="T105" fmla="*/ 52 h 84"/>
                <a:gd name="T106" fmla="*/ 66 w 84"/>
                <a:gd name="T107" fmla="*/ 42 h 84"/>
                <a:gd name="T108" fmla="*/ 66 w 84"/>
                <a:gd name="T109" fmla="*/ 42 h 84"/>
                <a:gd name="T110" fmla="*/ 64 w 84"/>
                <a:gd name="T111" fmla="*/ 32 h 84"/>
                <a:gd name="T112" fmla="*/ 60 w 84"/>
                <a:gd name="T113" fmla="*/ 24 h 84"/>
                <a:gd name="T114" fmla="*/ 52 w 84"/>
                <a:gd name="T115" fmla="*/ 20 h 84"/>
                <a:gd name="T116" fmla="*/ 42 w 84"/>
                <a:gd name="T117" fmla="*/ 18 h 84"/>
                <a:gd name="T118" fmla="*/ 42 w 84"/>
                <a:gd name="T119" fmla="*/ 18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lnTo>
                    <a:pt x="42" y="84"/>
                  </a:lnTo>
                  <a:lnTo>
                    <a:pt x="34" y="84"/>
                  </a:lnTo>
                  <a:lnTo>
                    <a:pt x="26" y="80"/>
                  </a:lnTo>
                  <a:lnTo>
                    <a:pt x="18" y="76"/>
                  </a:lnTo>
                  <a:lnTo>
                    <a:pt x="12" y="72"/>
                  </a:lnTo>
                  <a:lnTo>
                    <a:pt x="8" y="66"/>
                  </a:lnTo>
                  <a:lnTo>
                    <a:pt x="4" y="58"/>
                  </a:lnTo>
                  <a:lnTo>
                    <a:pt x="0" y="50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34"/>
                  </a:lnTo>
                  <a:lnTo>
                    <a:pt x="4" y="26"/>
                  </a:lnTo>
                  <a:lnTo>
                    <a:pt x="8" y="18"/>
                  </a:lnTo>
                  <a:lnTo>
                    <a:pt x="12" y="12"/>
                  </a:lnTo>
                  <a:lnTo>
                    <a:pt x="18" y="6"/>
                  </a:lnTo>
                  <a:lnTo>
                    <a:pt x="26" y="2"/>
                  </a:lnTo>
                  <a:lnTo>
                    <a:pt x="34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50" y="0"/>
                  </a:lnTo>
                  <a:lnTo>
                    <a:pt x="58" y="2"/>
                  </a:lnTo>
                  <a:lnTo>
                    <a:pt x="66" y="6"/>
                  </a:lnTo>
                  <a:lnTo>
                    <a:pt x="72" y="12"/>
                  </a:lnTo>
                  <a:lnTo>
                    <a:pt x="78" y="18"/>
                  </a:lnTo>
                  <a:lnTo>
                    <a:pt x="82" y="26"/>
                  </a:lnTo>
                  <a:lnTo>
                    <a:pt x="84" y="34"/>
                  </a:lnTo>
                  <a:lnTo>
                    <a:pt x="84" y="42"/>
                  </a:lnTo>
                  <a:lnTo>
                    <a:pt x="84" y="42"/>
                  </a:lnTo>
                  <a:lnTo>
                    <a:pt x="84" y="50"/>
                  </a:lnTo>
                  <a:lnTo>
                    <a:pt x="82" y="58"/>
                  </a:lnTo>
                  <a:lnTo>
                    <a:pt x="78" y="66"/>
                  </a:lnTo>
                  <a:lnTo>
                    <a:pt x="72" y="72"/>
                  </a:lnTo>
                  <a:lnTo>
                    <a:pt x="66" y="76"/>
                  </a:lnTo>
                  <a:lnTo>
                    <a:pt x="58" y="80"/>
                  </a:lnTo>
                  <a:lnTo>
                    <a:pt x="50" y="84"/>
                  </a:lnTo>
                  <a:lnTo>
                    <a:pt x="42" y="84"/>
                  </a:lnTo>
                  <a:lnTo>
                    <a:pt x="42" y="84"/>
                  </a:lnTo>
                  <a:close/>
                  <a:moveTo>
                    <a:pt x="42" y="18"/>
                  </a:moveTo>
                  <a:lnTo>
                    <a:pt x="42" y="18"/>
                  </a:lnTo>
                  <a:lnTo>
                    <a:pt x="32" y="20"/>
                  </a:lnTo>
                  <a:lnTo>
                    <a:pt x="26" y="24"/>
                  </a:lnTo>
                  <a:lnTo>
                    <a:pt x="20" y="32"/>
                  </a:lnTo>
                  <a:lnTo>
                    <a:pt x="18" y="42"/>
                  </a:lnTo>
                  <a:lnTo>
                    <a:pt x="18" y="42"/>
                  </a:lnTo>
                  <a:lnTo>
                    <a:pt x="20" y="52"/>
                  </a:lnTo>
                  <a:lnTo>
                    <a:pt x="26" y="60"/>
                  </a:lnTo>
                  <a:lnTo>
                    <a:pt x="32" y="64"/>
                  </a:lnTo>
                  <a:lnTo>
                    <a:pt x="42" y="66"/>
                  </a:lnTo>
                  <a:lnTo>
                    <a:pt x="42" y="66"/>
                  </a:lnTo>
                  <a:lnTo>
                    <a:pt x="52" y="64"/>
                  </a:lnTo>
                  <a:lnTo>
                    <a:pt x="60" y="60"/>
                  </a:lnTo>
                  <a:lnTo>
                    <a:pt x="64" y="52"/>
                  </a:lnTo>
                  <a:lnTo>
                    <a:pt x="66" y="42"/>
                  </a:lnTo>
                  <a:lnTo>
                    <a:pt x="66" y="42"/>
                  </a:lnTo>
                  <a:lnTo>
                    <a:pt x="64" y="32"/>
                  </a:lnTo>
                  <a:lnTo>
                    <a:pt x="60" y="24"/>
                  </a:lnTo>
                  <a:lnTo>
                    <a:pt x="52" y="20"/>
                  </a:lnTo>
                  <a:lnTo>
                    <a:pt x="42" y="18"/>
                  </a:lnTo>
                  <a:lnTo>
                    <a:pt x="42" y="18"/>
                  </a:lnTo>
                  <a:close/>
                </a:path>
              </a:pathLst>
            </a:custGeom>
            <a:solidFill>
              <a:srgbClr val="2E2E38"/>
            </a:solidFill>
            <a:ln w="952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5" name="Rectangle: Rounded Corners 27">
            <a:extLst>
              <a:ext uri="{FF2B5EF4-FFF2-40B4-BE49-F238E27FC236}">
                <a16:creationId xmlns:a16="http://schemas.microsoft.com/office/drawing/2014/main" id="{2D9745DA-7B29-40AF-8C52-CB5D81904D79}"/>
              </a:ext>
            </a:extLst>
          </p:cNvPr>
          <p:cNvSpPr/>
          <p:nvPr/>
        </p:nvSpPr>
        <p:spPr>
          <a:xfrm>
            <a:off x="488852" y="4675505"/>
            <a:ext cx="2222772" cy="271090"/>
          </a:xfrm>
          <a:prstGeom prst="roundRect">
            <a:avLst/>
          </a:prstGeom>
          <a:solidFill>
            <a:srgbClr val="4AA851"/>
          </a:solidFill>
          <a:ln w="9525">
            <a:solidFill>
              <a:srgbClr val="4AA85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ru-RU" sz="1400" b="1" dirty="0" smtClean="0">
                <a:solidFill>
                  <a:schemeClr val="bg1"/>
                </a:solidFill>
              </a:rPr>
              <a:t>Ответственность</a:t>
            </a:r>
            <a:endParaRPr lang="en-US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042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D6E55BE0-2FFE-46C7-B6AF-87C1342F0400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4" r="14"/>
          <a:stretch/>
        </p:blipFill>
        <p:spPr>
          <a:xfrm>
            <a:off x="8832304" y="0"/>
            <a:ext cx="3359697" cy="6858000"/>
          </a:xfrm>
        </p:spPr>
      </p:pic>
      <p:grpSp>
        <p:nvGrpSpPr>
          <p:cNvPr id="11" name="Group 4">
            <a:extLst>
              <a:ext uri="{FF2B5EF4-FFF2-40B4-BE49-F238E27FC236}">
                <a16:creationId xmlns:a16="http://schemas.microsoft.com/office/drawing/2014/main" id="{72A1A6AF-9481-4DD5-A6C8-641DD8EAEA9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1289455" y="6325052"/>
            <a:ext cx="326172" cy="301752"/>
            <a:chOff x="6956" y="3983"/>
            <a:chExt cx="187" cy="173"/>
          </a:xfrm>
        </p:grpSpPr>
        <p:sp>
          <p:nvSpPr>
            <p:cNvPr id="12" name="AutoShape 3">
              <a:extLst>
                <a:ext uri="{FF2B5EF4-FFF2-40B4-BE49-F238E27FC236}">
                  <a16:creationId xmlns:a16="http://schemas.microsoft.com/office/drawing/2014/main" id="{1AD595F2-F289-4E02-A6F0-E765639EB135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6956" y="3983"/>
              <a:ext cx="187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ED9C8388-B288-4752-9C1F-E0552ACEE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56" y="3983"/>
              <a:ext cx="187" cy="173"/>
            </a:xfrm>
            <a:custGeom>
              <a:avLst/>
              <a:gdLst>
                <a:gd name="T0" fmla="*/ 1683 w 1683"/>
                <a:gd name="T1" fmla="*/ 0 h 1557"/>
                <a:gd name="T2" fmla="*/ 1683 w 1683"/>
                <a:gd name="T3" fmla="*/ 1557 h 1557"/>
                <a:gd name="T4" fmla="*/ 0 w 1683"/>
                <a:gd name="T5" fmla="*/ 1557 h 1557"/>
                <a:gd name="T6" fmla="*/ 1683 w 1683"/>
                <a:gd name="T7" fmla="*/ 0 h 15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83" h="1557">
                  <a:moveTo>
                    <a:pt x="1683" y="0"/>
                  </a:moveTo>
                  <a:lnTo>
                    <a:pt x="1683" y="1557"/>
                  </a:lnTo>
                  <a:lnTo>
                    <a:pt x="0" y="1557"/>
                  </a:lnTo>
                  <a:lnTo>
                    <a:pt x="1683" y="0"/>
                  </a:lnTo>
                  <a:close/>
                </a:path>
              </a:pathLst>
            </a:custGeom>
            <a:solidFill>
              <a:srgbClr val="46AC4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730FCEC8-B3BE-4D97-8D1E-EA13E8BD63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03" y="3983"/>
              <a:ext cx="40" cy="173"/>
            </a:xfrm>
            <a:custGeom>
              <a:avLst/>
              <a:gdLst>
                <a:gd name="T0" fmla="*/ 360 w 360"/>
                <a:gd name="T1" fmla="*/ 0 h 1557"/>
                <a:gd name="T2" fmla="*/ 360 w 360"/>
                <a:gd name="T3" fmla="*/ 1557 h 1557"/>
                <a:gd name="T4" fmla="*/ 0 w 360"/>
                <a:gd name="T5" fmla="*/ 1557 h 1557"/>
                <a:gd name="T6" fmla="*/ 0 w 360"/>
                <a:gd name="T7" fmla="*/ 333 h 1557"/>
                <a:gd name="T8" fmla="*/ 360 w 360"/>
                <a:gd name="T9" fmla="*/ 0 h 15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0" h="1557">
                  <a:moveTo>
                    <a:pt x="360" y="0"/>
                  </a:moveTo>
                  <a:lnTo>
                    <a:pt x="360" y="1557"/>
                  </a:lnTo>
                  <a:lnTo>
                    <a:pt x="0" y="1557"/>
                  </a:lnTo>
                  <a:lnTo>
                    <a:pt x="0" y="333"/>
                  </a:lnTo>
                  <a:lnTo>
                    <a:pt x="36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9D9884CC-EAEB-4120-845B-2CDB05BE4BC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956" y="3987"/>
              <a:ext cx="126" cy="169"/>
            </a:xfrm>
            <a:custGeom>
              <a:avLst/>
              <a:gdLst>
                <a:gd name="T0" fmla="*/ 617 w 1134"/>
                <a:gd name="T1" fmla="*/ 553 h 1524"/>
                <a:gd name="T2" fmla="*/ 642 w 1134"/>
                <a:gd name="T3" fmla="*/ 553 h 1524"/>
                <a:gd name="T4" fmla="*/ 692 w 1134"/>
                <a:gd name="T5" fmla="*/ 556 h 1524"/>
                <a:gd name="T6" fmla="*/ 742 w 1134"/>
                <a:gd name="T7" fmla="*/ 561 h 1524"/>
                <a:gd name="T8" fmla="*/ 791 w 1134"/>
                <a:gd name="T9" fmla="*/ 571 h 1524"/>
                <a:gd name="T10" fmla="*/ 815 w 1134"/>
                <a:gd name="T11" fmla="*/ 576 h 1524"/>
                <a:gd name="T12" fmla="*/ 858 w 1134"/>
                <a:gd name="T13" fmla="*/ 590 h 1524"/>
                <a:gd name="T14" fmla="*/ 900 w 1134"/>
                <a:gd name="T15" fmla="*/ 608 h 1524"/>
                <a:gd name="T16" fmla="*/ 940 w 1134"/>
                <a:gd name="T17" fmla="*/ 629 h 1524"/>
                <a:gd name="T18" fmla="*/ 978 w 1134"/>
                <a:gd name="T19" fmla="*/ 654 h 1524"/>
                <a:gd name="T20" fmla="*/ 997 w 1134"/>
                <a:gd name="T21" fmla="*/ 669 h 1524"/>
                <a:gd name="T22" fmla="*/ 1031 w 1134"/>
                <a:gd name="T23" fmla="*/ 703 h 1524"/>
                <a:gd name="T24" fmla="*/ 1061 w 1134"/>
                <a:gd name="T25" fmla="*/ 741 h 1524"/>
                <a:gd name="T26" fmla="*/ 1084 w 1134"/>
                <a:gd name="T27" fmla="*/ 783 h 1524"/>
                <a:gd name="T28" fmla="*/ 1093 w 1134"/>
                <a:gd name="T29" fmla="*/ 806 h 1524"/>
                <a:gd name="T30" fmla="*/ 1111 w 1134"/>
                <a:gd name="T31" fmla="*/ 857 h 1524"/>
                <a:gd name="T32" fmla="*/ 1123 w 1134"/>
                <a:gd name="T33" fmla="*/ 913 h 1524"/>
                <a:gd name="T34" fmla="*/ 1132 w 1134"/>
                <a:gd name="T35" fmla="*/ 974 h 1524"/>
                <a:gd name="T36" fmla="*/ 1134 w 1134"/>
                <a:gd name="T37" fmla="*/ 1039 h 1524"/>
                <a:gd name="T38" fmla="*/ 1134 w 1134"/>
                <a:gd name="T39" fmla="*/ 1072 h 1524"/>
                <a:gd name="T40" fmla="*/ 1129 w 1134"/>
                <a:gd name="T41" fmla="*/ 1135 h 1524"/>
                <a:gd name="T42" fmla="*/ 1118 w 1134"/>
                <a:gd name="T43" fmla="*/ 1193 h 1524"/>
                <a:gd name="T44" fmla="*/ 1102 w 1134"/>
                <a:gd name="T45" fmla="*/ 1246 h 1524"/>
                <a:gd name="T46" fmla="*/ 1093 w 1134"/>
                <a:gd name="T47" fmla="*/ 1271 h 1524"/>
                <a:gd name="T48" fmla="*/ 1072 w 1134"/>
                <a:gd name="T49" fmla="*/ 1315 h 1524"/>
                <a:gd name="T50" fmla="*/ 1046 w 1134"/>
                <a:gd name="T51" fmla="*/ 1355 h 1524"/>
                <a:gd name="T52" fmla="*/ 1015 w 1134"/>
                <a:gd name="T53" fmla="*/ 1392 h 1524"/>
                <a:gd name="T54" fmla="*/ 978 w 1134"/>
                <a:gd name="T55" fmla="*/ 1423 h 1524"/>
                <a:gd name="T56" fmla="*/ 959 w 1134"/>
                <a:gd name="T57" fmla="*/ 1436 h 1524"/>
                <a:gd name="T58" fmla="*/ 920 w 1134"/>
                <a:gd name="T59" fmla="*/ 1459 h 1524"/>
                <a:gd name="T60" fmla="*/ 879 w 1134"/>
                <a:gd name="T61" fmla="*/ 1479 h 1524"/>
                <a:gd name="T62" fmla="*/ 836 w 1134"/>
                <a:gd name="T63" fmla="*/ 1494 h 1524"/>
                <a:gd name="T64" fmla="*/ 815 w 1134"/>
                <a:gd name="T65" fmla="*/ 1500 h 1524"/>
                <a:gd name="T66" fmla="*/ 766 w 1134"/>
                <a:gd name="T67" fmla="*/ 1511 h 1524"/>
                <a:gd name="T68" fmla="*/ 717 w 1134"/>
                <a:gd name="T69" fmla="*/ 1519 h 1524"/>
                <a:gd name="T70" fmla="*/ 667 w 1134"/>
                <a:gd name="T71" fmla="*/ 1523 h 1524"/>
                <a:gd name="T72" fmla="*/ 617 w 1134"/>
                <a:gd name="T73" fmla="*/ 1524 h 1524"/>
                <a:gd name="T74" fmla="*/ 0 w 1134"/>
                <a:gd name="T75" fmla="*/ 0 h 1524"/>
                <a:gd name="T76" fmla="*/ 1020 w 1134"/>
                <a:gd name="T77" fmla="*/ 342 h 1524"/>
                <a:gd name="T78" fmla="*/ 342 w 1134"/>
                <a:gd name="T79" fmla="*/ 553 h 1524"/>
                <a:gd name="T80" fmla="*/ 616 w 1134"/>
                <a:gd name="T81" fmla="*/ 1207 h 1524"/>
                <a:gd name="T82" fmla="*/ 636 w 1134"/>
                <a:gd name="T83" fmla="*/ 1207 h 1524"/>
                <a:gd name="T84" fmla="*/ 670 w 1134"/>
                <a:gd name="T85" fmla="*/ 1202 h 1524"/>
                <a:gd name="T86" fmla="*/ 701 w 1134"/>
                <a:gd name="T87" fmla="*/ 1193 h 1524"/>
                <a:gd name="T88" fmla="*/ 726 w 1134"/>
                <a:gd name="T89" fmla="*/ 1178 h 1524"/>
                <a:gd name="T90" fmla="*/ 746 w 1134"/>
                <a:gd name="T91" fmla="*/ 1158 h 1524"/>
                <a:gd name="T92" fmla="*/ 760 w 1134"/>
                <a:gd name="T93" fmla="*/ 1134 h 1524"/>
                <a:gd name="T94" fmla="*/ 770 w 1134"/>
                <a:gd name="T95" fmla="*/ 1106 h 1524"/>
                <a:gd name="T96" fmla="*/ 775 w 1134"/>
                <a:gd name="T97" fmla="*/ 1071 h 1524"/>
                <a:gd name="T98" fmla="*/ 776 w 1134"/>
                <a:gd name="T99" fmla="*/ 1052 h 1524"/>
                <a:gd name="T100" fmla="*/ 773 w 1134"/>
                <a:gd name="T101" fmla="*/ 1017 h 1524"/>
                <a:gd name="T102" fmla="*/ 766 w 1134"/>
                <a:gd name="T103" fmla="*/ 985 h 1524"/>
                <a:gd name="T104" fmla="*/ 753 w 1134"/>
                <a:gd name="T105" fmla="*/ 958 h 1524"/>
                <a:gd name="T106" fmla="*/ 736 w 1134"/>
                <a:gd name="T107" fmla="*/ 936 h 1524"/>
                <a:gd name="T108" fmla="*/ 713 w 1134"/>
                <a:gd name="T109" fmla="*/ 919 h 1524"/>
                <a:gd name="T110" fmla="*/ 686 w 1134"/>
                <a:gd name="T111" fmla="*/ 907 h 1524"/>
                <a:gd name="T112" fmla="*/ 654 w 1134"/>
                <a:gd name="T113" fmla="*/ 900 h 1524"/>
                <a:gd name="T114" fmla="*/ 616 w 1134"/>
                <a:gd name="T115" fmla="*/ 897 h 1524"/>
                <a:gd name="T116" fmla="*/ 342 w 1134"/>
                <a:gd name="T117" fmla="*/ 1207 h 1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134" h="1524">
                  <a:moveTo>
                    <a:pt x="342" y="553"/>
                  </a:moveTo>
                  <a:lnTo>
                    <a:pt x="617" y="553"/>
                  </a:lnTo>
                  <a:lnTo>
                    <a:pt x="617" y="553"/>
                  </a:lnTo>
                  <a:lnTo>
                    <a:pt x="642" y="553"/>
                  </a:lnTo>
                  <a:lnTo>
                    <a:pt x="667" y="554"/>
                  </a:lnTo>
                  <a:lnTo>
                    <a:pt x="692" y="556"/>
                  </a:lnTo>
                  <a:lnTo>
                    <a:pt x="717" y="558"/>
                  </a:lnTo>
                  <a:lnTo>
                    <a:pt x="742" y="561"/>
                  </a:lnTo>
                  <a:lnTo>
                    <a:pt x="766" y="566"/>
                  </a:lnTo>
                  <a:lnTo>
                    <a:pt x="791" y="571"/>
                  </a:lnTo>
                  <a:lnTo>
                    <a:pt x="815" y="576"/>
                  </a:lnTo>
                  <a:lnTo>
                    <a:pt x="815" y="576"/>
                  </a:lnTo>
                  <a:lnTo>
                    <a:pt x="837" y="582"/>
                  </a:lnTo>
                  <a:lnTo>
                    <a:pt x="858" y="590"/>
                  </a:lnTo>
                  <a:lnTo>
                    <a:pt x="880" y="598"/>
                  </a:lnTo>
                  <a:lnTo>
                    <a:pt x="900" y="608"/>
                  </a:lnTo>
                  <a:lnTo>
                    <a:pt x="920" y="618"/>
                  </a:lnTo>
                  <a:lnTo>
                    <a:pt x="940" y="629"/>
                  </a:lnTo>
                  <a:lnTo>
                    <a:pt x="959" y="641"/>
                  </a:lnTo>
                  <a:lnTo>
                    <a:pt x="978" y="654"/>
                  </a:lnTo>
                  <a:lnTo>
                    <a:pt x="978" y="654"/>
                  </a:lnTo>
                  <a:lnTo>
                    <a:pt x="997" y="669"/>
                  </a:lnTo>
                  <a:lnTo>
                    <a:pt x="1015" y="685"/>
                  </a:lnTo>
                  <a:lnTo>
                    <a:pt x="1031" y="703"/>
                  </a:lnTo>
                  <a:lnTo>
                    <a:pt x="1047" y="722"/>
                  </a:lnTo>
                  <a:lnTo>
                    <a:pt x="1061" y="741"/>
                  </a:lnTo>
                  <a:lnTo>
                    <a:pt x="1073" y="762"/>
                  </a:lnTo>
                  <a:lnTo>
                    <a:pt x="1084" y="783"/>
                  </a:lnTo>
                  <a:lnTo>
                    <a:pt x="1093" y="806"/>
                  </a:lnTo>
                  <a:lnTo>
                    <a:pt x="1093" y="806"/>
                  </a:lnTo>
                  <a:lnTo>
                    <a:pt x="1102" y="831"/>
                  </a:lnTo>
                  <a:lnTo>
                    <a:pt x="1111" y="857"/>
                  </a:lnTo>
                  <a:lnTo>
                    <a:pt x="1118" y="884"/>
                  </a:lnTo>
                  <a:lnTo>
                    <a:pt x="1123" y="913"/>
                  </a:lnTo>
                  <a:lnTo>
                    <a:pt x="1129" y="942"/>
                  </a:lnTo>
                  <a:lnTo>
                    <a:pt x="1132" y="974"/>
                  </a:lnTo>
                  <a:lnTo>
                    <a:pt x="1134" y="1005"/>
                  </a:lnTo>
                  <a:lnTo>
                    <a:pt x="1134" y="1039"/>
                  </a:lnTo>
                  <a:lnTo>
                    <a:pt x="1134" y="1039"/>
                  </a:lnTo>
                  <a:lnTo>
                    <a:pt x="1134" y="1072"/>
                  </a:lnTo>
                  <a:lnTo>
                    <a:pt x="1132" y="1104"/>
                  </a:lnTo>
                  <a:lnTo>
                    <a:pt x="1129" y="1135"/>
                  </a:lnTo>
                  <a:lnTo>
                    <a:pt x="1123" y="1164"/>
                  </a:lnTo>
                  <a:lnTo>
                    <a:pt x="1118" y="1193"/>
                  </a:lnTo>
                  <a:lnTo>
                    <a:pt x="1111" y="1220"/>
                  </a:lnTo>
                  <a:lnTo>
                    <a:pt x="1102" y="1246"/>
                  </a:lnTo>
                  <a:lnTo>
                    <a:pt x="1093" y="1271"/>
                  </a:lnTo>
                  <a:lnTo>
                    <a:pt x="1093" y="1271"/>
                  </a:lnTo>
                  <a:lnTo>
                    <a:pt x="1084" y="1293"/>
                  </a:lnTo>
                  <a:lnTo>
                    <a:pt x="1072" y="1315"/>
                  </a:lnTo>
                  <a:lnTo>
                    <a:pt x="1061" y="1335"/>
                  </a:lnTo>
                  <a:lnTo>
                    <a:pt x="1046" y="1355"/>
                  </a:lnTo>
                  <a:lnTo>
                    <a:pt x="1031" y="1374"/>
                  </a:lnTo>
                  <a:lnTo>
                    <a:pt x="1015" y="1392"/>
                  </a:lnTo>
                  <a:lnTo>
                    <a:pt x="997" y="1408"/>
                  </a:lnTo>
                  <a:lnTo>
                    <a:pt x="978" y="1423"/>
                  </a:lnTo>
                  <a:lnTo>
                    <a:pt x="978" y="1423"/>
                  </a:lnTo>
                  <a:lnTo>
                    <a:pt x="959" y="1436"/>
                  </a:lnTo>
                  <a:lnTo>
                    <a:pt x="940" y="1447"/>
                  </a:lnTo>
                  <a:lnTo>
                    <a:pt x="920" y="1459"/>
                  </a:lnTo>
                  <a:lnTo>
                    <a:pt x="900" y="1469"/>
                  </a:lnTo>
                  <a:lnTo>
                    <a:pt x="879" y="1479"/>
                  </a:lnTo>
                  <a:lnTo>
                    <a:pt x="858" y="1486"/>
                  </a:lnTo>
                  <a:lnTo>
                    <a:pt x="836" y="1494"/>
                  </a:lnTo>
                  <a:lnTo>
                    <a:pt x="815" y="1500"/>
                  </a:lnTo>
                  <a:lnTo>
                    <a:pt x="815" y="1500"/>
                  </a:lnTo>
                  <a:lnTo>
                    <a:pt x="790" y="1506"/>
                  </a:lnTo>
                  <a:lnTo>
                    <a:pt x="766" y="1511"/>
                  </a:lnTo>
                  <a:lnTo>
                    <a:pt x="742" y="1516"/>
                  </a:lnTo>
                  <a:lnTo>
                    <a:pt x="717" y="1519"/>
                  </a:lnTo>
                  <a:lnTo>
                    <a:pt x="691" y="1521"/>
                  </a:lnTo>
                  <a:lnTo>
                    <a:pt x="667" y="1523"/>
                  </a:lnTo>
                  <a:lnTo>
                    <a:pt x="642" y="1524"/>
                  </a:lnTo>
                  <a:lnTo>
                    <a:pt x="617" y="1524"/>
                  </a:lnTo>
                  <a:lnTo>
                    <a:pt x="0" y="1524"/>
                  </a:lnTo>
                  <a:lnTo>
                    <a:pt x="0" y="0"/>
                  </a:lnTo>
                  <a:lnTo>
                    <a:pt x="1020" y="0"/>
                  </a:lnTo>
                  <a:lnTo>
                    <a:pt x="1020" y="342"/>
                  </a:lnTo>
                  <a:lnTo>
                    <a:pt x="342" y="342"/>
                  </a:lnTo>
                  <a:lnTo>
                    <a:pt x="342" y="553"/>
                  </a:lnTo>
                  <a:close/>
                  <a:moveTo>
                    <a:pt x="342" y="1207"/>
                  </a:moveTo>
                  <a:lnTo>
                    <a:pt x="616" y="1207"/>
                  </a:lnTo>
                  <a:lnTo>
                    <a:pt x="616" y="1207"/>
                  </a:lnTo>
                  <a:lnTo>
                    <a:pt x="636" y="1207"/>
                  </a:lnTo>
                  <a:lnTo>
                    <a:pt x="654" y="1205"/>
                  </a:lnTo>
                  <a:lnTo>
                    <a:pt x="670" y="1202"/>
                  </a:lnTo>
                  <a:lnTo>
                    <a:pt x="686" y="1198"/>
                  </a:lnTo>
                  <a:lnTo>
                    <a:pt x="701" y="1193"/>
                  </a:lnTo>
                  <a:lnTo>
                    <a:pt x="713" y="1185"/>
                  </a:lnTo>
                  <a:lnTo>
                    <a:pt x="726" y="1178"/>
                  </a:lnTo>
                  <a:lnTo>
                    <a:pt x="736" y="1169"/>
                  </a:lnTo>
                  <a:lnTo>
                    <a:pt x="746" y="1158"/>
                  </a:lnTo>
                  <a:lnTo>
                    <a:pt x="753" y="1147"/>
                  </a:lnTo>
                  <a:lnTo>
                    <a:pt x="760" y="1134"/>
                  </a:lnTo>
                  <a:lnTo>
                    <a:pt x="766" y="1120"/>
                  </a:lnTo>
                  <a:lnTo>
                    <a:pt x="770" y="1106"/>
                  </a:lnTo>
                  <a:lnTo>
                    <a:pt x="773" y="1089"/>
                  </a:lnTo>
                  <a:lnTo>
                    <a:pt x="775" y="1071"/>
                  </a:lnTo>
                  <a:lnTo>
                    <a:pt x="776" y="1052"/>
                  </a:lnTo>
                  <a:lnTo>
                    <a:pt x="776" y="1052"/>
                  </a:lnTo>
                  <a:lnTo>
                    <a:pt x="775" y="1033"/>
                  </a:lnTo>
                  <a:lnTo>
                    <a:pt x="773" y="1017"/>
                  </a:lnTo>
                  <a:lnTo>
                    <a:pt x="770" y="1000"/>
                  </a:lnTo>
                  <a:lnTo>
                    <a:pt x="766" y="985"/>
                  </a:lnTo>
                  <a:lnTo>
                    <a:pt x="760" y="970"/>
                  </a:lnTo>
                  <a:lnTo>
                    <a:pt x="753" y="958"/>
                  </a:lnTo>
                  <a:lnTo>
                    <a:pt x="746" y="946"/>
                  </a:lnTo>
                  <a:lnTo>
                    <a:pt x="736" y="936"/>
                  </a:lnTo>
                  <a:lnTo>
                    <a:pt x="726" y="927"/>
                  </a:lnTo>
                  <a:lnTo>
                    <a:pt x="713" y="919"/>
                  </a:lnTo>
                  <a:lnTo>
                    <a:pt x="701" y="913"/>
                  </a:lnTo>
                  <a:lnTo>
                    <a:pt x="686" y="907"/>
                  </a:lnTo>
                  <a:lnTo>
                    <a:pt x="670" y="903"/>
                  </a:lnTo>
                  <a:lnTo>
                    <a:pt x="654" y="900"/>
                  </a:lnTo>
                  <a:lnTo>
                    <a:pt x="636" y="898"/>
                  </a:lnTo>
                  <a:lnTo>
                    <a:pt x="616" y="897"/>
                  </a:lnTo>
                  <a:lnTo>
                    <a:pt x="342" y="897"/>
                  </a:lnTo>
                  <a:lnTo>
                    <a:pt x="342" y="120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3" name="Title 1"/>
          <p:cNvSpPr txBox="1">
            <a:spLocks/>
          </p:cNvSpPr>
          <p:nvPr/>
        </p:nvSpPr>
        <p:spPr>
          <a:xfrm>
            <a:off x="426542" y="383036"/>
            <a:ext cx="10972800" cy="590400"/>
          </a:xfrm>
          <a:prstGeom prst="rect">
            <a:avLst/>
          </a:prstGeom>
        </p:spPr>
        <p:txBody>
          <a:bodyPr/>
          <a:lstStyle>
            <a:lvl1pPr algn="l" defTabSz="514051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400" b="1" kern="1200">
                <a:solidFill>
                  <a:srgbClr val="4AA851"/>
                </a:solidFill>
                <a:latin typeface="Montserrat" panose="00000500000000000000" pitchFamily="2" charset="-52"/>
                <a:ea typeface="+mj-ea"/>
                <a:cs typeface="Arial" pitchFamily="34" charset="0"/>
              </a:defRPr>
            </a:lvl1pPr>
          </a:lstStyle>
          <a:p>
            <a:r>
              <a:rPr lang="ru-RU" smtClean="0"/>
              <a:t>Чем может помочь Б1?</a:t>
            </a:r>
            <a:endParaRPr lang="ru-RU" dirty="0"/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B2A82A36-B445-42D3-973A-96780DF14171}"/>
              </a:ext>
            </a:extLst>
          </p:cNvPr>
          <p:cNvSpPr txBox="1">
            <a:spLocks/>
          </p:cNvSpPr>
          <p:nvPr/>
        </p:nvSpPr>
        <p:spPr>
          <a:xfrm>
            <a:off x="579596" y="990791"/>
            <a:ext cx="8215084" cy="8737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356616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713232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069848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426464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AA851"/>
              </a:buClr>
              <a:buSzPct val="11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AA85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Товар не подпадает под исключения?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AA851"/>
              </a:buClr>
              <a:buSzPct val="11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AA85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Требуется лоббирование внесения поправок или получение</a:t>
            </a:r>
            <a:r>
              <a:rPr kumimoji="0" lang="ru-RU" sz="1400" b="1" i="0" u="none" strike="noStrike" kern="1200" cap="none" spc="0" normalizeH="0" noProof="0" dirty="0" smtClean="0">
                <a:ln>
                  <a:noFill/>
                </a:ln>
                <a:solidFill>
                  <a:srgbClr val="4AA85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разового разрешения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AA85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?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AA851"/>
              </a:buClr>
              <a:buSzPct val="11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AA85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Экспорт продукции требует разрешение?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4AA851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8" name="Content Placeholder 4">
            <a:extLst>
              <a:ext uri="{FF2B5EF4-FFF2-40B4-BE49-F238E27FC236}">
                <a16:creationId xmlns:a16="http://schemas.microsoft.com/office/drawing/2014/main" id="{997A4E74-350E-4255-9C97-DABFEBA277B9}"/>
              </a:ext>
            </a:extLst>
          </p:cNvPr>
          <p:cNvSpPr txBox="1">
            <a:spLocks/>
          </p:cNvSpPr>
          <p:nvPr/>
        </p:nvSpPr>
        <p:spPr>
          <a:xfrm>
            <a:off x="841336" y="2132856"/>
            <a:ext cx="3788087" cy="3844704"/>
          </a:xfrm>
          <a:prstGeom prst="rect">
            <a:avLst/>
          </a:prstGeom>
        </p:spPr>
        <p:txBody>
          <a:bodyPr vert="horz" lIns="0" tIns="0" rIns="0" bIns="0" numCol="1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356616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713232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069848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426464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110000"/>
              <a:buFont typeface="EYInterstate Light" panose="02000506000000020004" pitchFamily="2" charset="0"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+mj-lt"/>
              </a:rPr>
              <a:t>Таможенная группа Б1 готова оказать комплексное сопровождение проекта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110000"/>
              <a:buFont typeface="EYInterstate Light" panose="02000506000000020004" pitchFamily="2" charset="0"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+mj-lt"/>
            </a:endParaRP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AA851"/>
              </a:buClr>
              <a:buSzPct val="7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+mj-lt"/>
              </a:rPr>
              <a:t>Представление и лоббирование интересов клиента в </a:t>
            </a:r>
            <a:r>
              <a:rPr kumimoji="0" lang="ru-RU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+mj-lt"/>
              </a:rPr>
              <a:t>ФОИВах</a:t>
            </a: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+mj-lt"/>
              </a:rPr>
              <a:t> в части  внесения правок в НПА</a:t>
            </a: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AA851"/>
              </a:buClr>
              <a:buSzPct val="7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+mj-lt"/>
              </a:rPr>
              <a:t>Подготовка грамотно составленной инициативы и ее обоснования, а также проекта вносимых изменений</a:t>
            </a:r>
          </a:p>
          <a:p>
            <a:pPr marL="285750" lvl="0" indent="-285750">
              <a:buClr>
                <a:srgbClr val="4AA851"/>
              </a:buClr>
              <a:buSzPct val="70000"/>
              <a:buFont typeface="Wingdings" panose="05000000000000000000" pitchFamily="2" charset="2"/>
              <a:buChar char="§"/>
            </a:pPr>
            <a:r>
              <a:rPr lang="ru-RU" sz="1100" dirty="0">
                <a:solidFill>
                  <a:srgbClr val="2E2E38"/>
                </a:solidFill>
                <a:latin typeface="+mj-lt"/>
              </a:rPr>
              <a:t>Комплексная поддержка на всех этапах получения временного разрешения на вывоз товаров за пределы РФ согласно п. 2.1 ПП № </a:t>
            </a:r>
            <a:r>
              <a:rPr lang="ru-RU" sz="1100" dirty="0" smtClean="0">
                <a:solidFill>
                  <a:srgbClr val="2E2E38"/>
                </a:solidFill>
                <a:latin typeface="+mj-lt"/>
              </a:rPr>
              <a:t>311</a:t>
            </a:r>
            <a:endParaRPr kumimoji="0" lang="ru-RU" sz="1100" b="0" i="0" u="none" strike="noStrike" kern="1200" cap="none" spc="0" normalizeH="0" baseline="0" noProof="0" dirty="0" smtClean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+mj-lt"/>
            </a:endParaRP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AA851"/>
              </a:buClr>
              <a:buSzPct val="7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+mj-lt"/>
              </a:rPr>
              <a:t>Взаимодействие со всеми </a:t>
            </a:r>
            <a:r>
              <a:rPr kumimoji="0" lang="ru-RU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+mj-lt"/>
              </a:rPr>
              <a:t>ФОИВами</a:t>
            </a: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+mj-lt"/>
              </a:rPr>
              <a:t> в части получения разрешений на экспорт продукции</a:t>
            </a: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AA851"/>
              </a:buClr>
              <a:buSzPct val="7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+mj-lt"/>
              </a:rPr>
              <a:t>Консультирование по вопросам применения Перечней, запрещающих или ограничивающих экспорт</a:t>
            </a: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AA851"/>
              </a:buClr>
              <a:buSzPct val="70000"/>
              <a:buFont typeface="Wingdings" panose="05000000000000000000" pitchFamily="2" charset="2"/>
              <a:buChar char="§"/>
              <a:tabLst/>
              <a:defRPr/>
            </a:pPr>
            <a:r>
              <a:rPr lang="ru-RU" sz="1100" dirty="0" smtClean="0">
                <a:solidFill>
                  <a:srgbClr val="2E2E38"/>
                </a:solidFill>
                <a:latin typeface="+mj-lt"/>
              </a:rPr>
              <a:t>Получение официальных ответов государственных органов на обращение клиента</a:t>
            </a: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AA851"/>
              </a:buClr>
              <a:buSzPct val="7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+mj-lt"/>
              </a:rPr>
              <a:t>Организация</a:t>
            </a:r>
            <a:r>
              <a:rPr kumimoji="0" lang="ru-RU" sz="1100" b="0" i="0" u="none" strike="noStrike" kern="1200" cap="none" spc="0" normalizeH="0" noProof="0" dirty="0" smtClean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+mj-lt"/>
              </a:rPr>
              <a:t> и участие во встречах с представителями </a:t>
            </a:r>
            <a:r>
              <a:rPr kumimoji="0" lang="ru-RU" sz="1100" b="0" i="0" u="none" strike="noStrike" kern="1200" cap="none" spc="0" normalizeH="0" noProof="0" dirty="0" err="1" smtClean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+mj-lt"/>
              </a:rPr>
              <a:t>ФОИВов</a:t>
            </a:r>
            <a:r>
              <a:rPr kumimoji="0" lang="ru-RU" sz="1100" b="0" i="0" u="none" strike="noStrike" kern="1200" cap="none" spc="0" normalizeH="0" noProof="0" dirty="0" smtClean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+mj-lt"/>
              </a:rPr>
              <a:t> в интересах клиента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19" name="Content Placeholder 5">
            <a:extLst>
              <a:ext uri="{FF2B5EF4-FFF2-40B4-BE49-F238E27FC236}">
                <a16:creationId xmlns:a16="http://schemas.microsoft.com/office/drawing/2014/main" id="{786F1C3D-3A29-44FE-A4A7-CE2F9E00FA51}"/>
              </a:ext>
            </a:extLst>
          </p:cNvPr>
          <p:cNvSpPr txBox="1">
            <a:spLocks/>
          </p:cNvSpPr>
          <p:nvPr/>
        </p:nvSpPr>
        <p:spPr>
          <a:xfrm>
            <a:off x="5585166" y="2033579"/>
            <a:ext cx="2724026" cy="1254759"/>
          </a:xfrm>
          <a:prstGeom prst="rect">
            <a:avLst/>
          </a:prstGeom>
        </p:spPr>
        <p:txBody>
          <a:bodyPr vert="horz" lIns="0" tIns="0" rIns="0" bIns="0" numCol="1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356616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713232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069848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426464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110000"/>
              <a:buFont typeface="EYInterstate Light" panose="02000506000000020004" pitchFamily="2" charset="0"/>
              <a:buNone/>
              <a:tabLst/>
              <a:defRPr/>
            </a:pPr>
            <a:r>
              <a:rPr kumimoji="0" lang="ru-RU" sz="1100" b="1" i="1" u="sng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</a:rPr>
              <a:t>Экспертиза </a:t>
            </a:r>
            <a:r>
              <a:rPr lang="ru-RU" sz="1100" b="1" i="1" u="sng" dirty="0" smtClean="0">
                <a:solidFill>
                  <a:schemeClr val="tx2"/>
                </a:solidFill>
                <a:latin typeface="+mj-lt"/>
              </a:rPr>
              <a:t>Б1</a:t>
            </a:r>
            <a:endParaRPr kumimoji="0" lang="ru-RU" sz="1100" b="1" i="1" u="sng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AA851"/>
              </a:buClr>
              <a:buSzPct val="70000"/>
              <a:buFont typeface="Arial" panose="020B0604020202020204" pitchFamily="34" charset="0"/>
              <a:buChar char="►"/>
              <a:tabLst/>
              <a:defRPr/>
            </a:pP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+mj-lt"/>
              </a:rPr>
              <a:t>Успешное лоббирование внесения изменений в ПП № 311 в части исключения из запретов временно ввезенной многооборотной тары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AA851"/>
              </a:buClr>
              <a:buSzPct val="70000"/>
              <a:buFont typeface="Arial" panose="020B0604020202020204" pitchFamily="34" charset="0"/>
              <a:buChar char="►"/>
              <a:tabLst/>
              <a:defRPr/>
            </a:pPr>
            <a:r>
              <a:rPr lang="ru-RU" sz="1100" dirty="0" smtClean="0">
                <a:solidFill>
                  <a:srgbClr val="2E2E38"/>
                </a:solidFill>
                <a:latin typeface="+mj-lt"/>
              </a:rPr>
              <a:t>Полное сопровождение в процессе получения временных разрешений на вывоз товаров               в страны ЕС в соответствии с п. 2.1 ПП № 311 </a:t>
            </a:r>
            <a:endParaRPr kumimoji="0" lang="ru-RU" sz="1100" b="0" i="0" u="none" strike="noStrike" kern="1200" cap="none" spc="0" normalizeH="0" baseline="0" noProof="0" dirty="0" smtClean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+mj-lt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110000"/>
              <a:buFontTx/>
              <a:buChar char="-"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20" name="Content Placeholder 6">
            <a:extLst>
              <a:ext uri="{FF2B5EF4-FFF2-40B4-BE49-F238E27FC236}">
                <a16:creationId xmlns:a16="http://schemas.microsoft.com/office/drawing/2014/main" id="{C87F91C8-4B4F-480A-8FB8-1EB8BB2639FB}"/>
              </a:ext>
            </a:extLst>
          </p:cNvPr>
          <p:cNvSpPr txBox="1">
            <a:spLocks/>
          </p:cNvSpPr>
          <p:nvPr/>
        </p:nvSpPr>
        <p:spPr>
          <a:xfrm>
            <a:off x="5677004" y="4541194"/>
            <a:ext cx="2880320" cy="1944160"/>
          </a:xfrm>
          <a:prstGeom prst="rect">
            <a:avLst/>
          </a:prstGeom>
        </p:spPr>
        <p:txBody>
          <a:bodyPr vert="horz" lIns="0" tIns="0" rIns="0" bIns="0" numCol="1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sz="1800" kern="1200">
                <a:solidFill>
                  <a:schemeClr val="bg1"/>
                </a:solidFill>
                <a:latin typeface="Georgia" panose="02040502050405020303" pitchFamily="18" charset="0"/>
                <a:ea typeface="+mn-ea"/>
                <a:cs typeface="+mn-cs"/>
              </a:defRPr>
            </a:lvl1pPr>
            <a:lvl2pPr marL="356616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713232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069848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426464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110000"/>
              <a:buFont typeface="EYInterstate Light" panose="02000506000000020004" pitchFamily="2" charset="0"/>
              <a:buNone/>
              <a:tabLst/>
              <a:defRPr/>
            </a:pPr>
            <a:r>
              <a:rPr kumimoji="0" lang="ru-RU" sz="1100" b="1" i="1" u="sng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</a:rPr>
              <a:t>Преимущества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AA851"/>
              </a:buClr>
              <a:buSzPct val="70000"/>
              <a:buFont typeface="Arial" panose="020B0604020202020204" pitchFamily="34" charset="0"/>
              <a:buChar char="►"/>
              <a:tabLst/>
              <a:defRPr/>
            </a:pP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+mj-lt"/>
              </a:rPr>
              <a:t>Многолетний опыт работы в рамках регуляторных проектов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AA851"/>
              </a:buClr>
              <a:buSzPct val="70000"/>
              <a:buFont typeface="Arial" panose="020B0604020202020204" pitchFamily="34" charset="0"/>
              <a:buChar char="►"/>
              <a:tabLst/>
              <a:defRPr/>
            </a:pP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+mj-lt"/>
              </a:rPr>
              <a:t>Рабочая коммуникация с ведомствами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AA851"/>
              </a:buClr>
              <a:buSzPct val="70000"/>
              <a:buFont typeface="Arial" panose="020B0604020202020204" pitchFamily="34" charset="0"/>
              <a:buChar char="►"/>
              <a:tabLst/>
              <a:defRPr/>
            </a:pP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+mj-lt"/>
              </a:rPr>
              <a:t>Активная работа Б1 на разных площадках </a:t>
            </a:r>
            <a:r>
              <a:rPr kumimoji="0" lang="ru-RU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+mj-lt"/>
              </a:rPr>
              <a:t>ФОИВов</a:t>
            </a: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+mj-lt"/>
              </a:rPr>
              <a:t>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AA851"/>
              </a:buClr>
              <a:buSzPct val="70000"/>
              <a:buFont typeface="Arial" panose="020B0604020202020204" pitchFamily="34" charset="0"/>
              <a:buChar char="►"/>
              <a:tabLst/>
              <a:defRPr/>
            </a:pPr>
            <a:r>
              <a:rPr lang="ru-RU" sz="1100" noProof="0" dirty="0" smtClean="0">
                <a:solidFill>
                  <a:srgbClr val="2E2E38"/>
                </a:solidFill>
                <a:latin typeface="+mj-lt"/>
              </a:rPr>
              <a:t>Топ-менеджмент таможенной группы Б1 возглавляет ряд профильных комитетов бизнес-ассоциаций (</a:t>
            </a:r>
            <a:r>
              <a:rPr lang="en-US" sz="1100" noProof="0" dirty="0" smtClean="0">
                <a:solidFill>
                  <a:srgbClr val="2E2E38"/>
                </a:solidFill>
                <a:latin typeface="+mj-lt"/>
              </a:rPr>
              <a:t>AEB, </a:t>
            </a:r>
            <a:r>
              <a:rPr lang="en-US" sz="1100" noProof="0" dirty="0" err="1" smtClean="0">
                <a:solidFill>
                  <a:srgbClr val="2E2E38"/>
                </a:solidFill>
                <a:latin typeface="+mj-lt"/>
              </a:rPr>
              <a:t>Amcham</a:t>
            </a:r>
            <a:r>
              <a:rPr lang="en-US" sz="1100" noProof="0" dirty="0" smtClean="0">
                <a:solidFill>
                  <a:srgbClr val="2E2E38"/>
                </a:solidFill>
                <a:latin typeface="+mj-lt"/>
              </a:rPr>
              <a:t>, </a:t>
            </a:r>
            <a:r>
              <a:rPr lang="ru-RU" sz="1100" dirty="0" smtClean="0">
                <a:solidFill>
                  <a:srgbClr val="2E2E38"/>
                </a:solidFill>
                <a:latin typeface="+mj-lt"/>
              </a:rPr>
              <a:t>АХК)</a:t>
            </a:r>
            <a:endParaRPr kumimoji="0" lang="ru-RU" sz="1100" b="0" i="0" u="none" strike="noStrike" kern="1200" cap="none" spc="0" normalizeH="0" baseline="0" noProof="0" dirty="0" smtClean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+mj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110000"/>
              <a:buFont typeface="EYInterstate Light" panose="02000506000000020004" pitchFamily="2" charset="0"/>
              <a:buNone/>
              <a:tabLst/>
              <a:defRPr/>
            </a:pPr>
            <a:endParaRPr kumimoji="0" lang="ru-RU" sz="1100" b="0" i="0" u="none" strike="noStrike" kern="1200" cap="none" spc="0" normalizeH="0" baseline="0" noProof="0" dirty="0" smtClean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+mj-lt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110000"/>
              <a:buFontTx/>
              <a:buChar char="-"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+mj-lt"/>
            </a:endParaRPr>
          </a:p>
        </p:txBody>
      </p:sp>
      <p:cxnSp>
        <p:nvCxnSpPr>
          <p:cNvPr id="21" name="Straight Connector 20"/>
          <p:cNvCxnSpPr/>
          <p:nvPr/>
        </p:nvCxnSpPr>
        <p:spPr>
          <a:xfrm>
            <a:off x="5228663" y="1874469"/>
            <a:ext cx="6483" cy="4868674"/>
          </a:xfrm>
          <a:prstGeom prst="line">
            <a:avLst/>
          </a:prstGeom>
          <a:ln w="19050">
            <a:solidFill>
              <a:schemeClr val="tx2"/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 flipH="1">
            <a:off x="5207138" y="4308806"/>
            <a:ext cx="3549917" cy="0"/>
          </a:xfrm>
          <a:prstGeom prst="line">
            <a:avLst/>
          </a:prstGeom>
          <a:ln w="19050">
            <a:solidFill>
              <a:schemeClr val="tx2"/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Picture 22"/>
          <p:cNvPicPr>
            <a:picLocks noChangeAspect="1"/>
          </p:cNvPicPr>
          <p:nvPr/>
        </p:nvPicPr>
        <p:blipFill rotWithShape="1">
          <a:blip r:embed="rId4"/>
          <a:srcRect b="15162"/>
          <a:stretch/>
        </p:blipFill>
        <p:spPr>
          <a:xfrm>
            <a:off x="10058400" y="4191000"/>
            <a:ext cx="1985087" cy="20274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9066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4992F05-1919-456D-95EB-D7497941F4E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5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4992F05-1919-456D-95EB-D7497941F4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4382E16-B1D4-4F55-8F5F-76A42A8BA0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290524"/>
            <a:ext cx="10972800" cy="590400"/>
          </a:xfrm>
        </p:spPr>
        <p:txBody>
          <a:bodyPr vert="horz"/>
          <a:lstStyle/>
          <a:p>
            <a:r>
              <a:rPr lang="ru-RU" dirty="0"/>
              <a:t>Снижение тарифной нагрузки при ввозе сырья/материалов для производства </a:t>
            </a:r>
            <a:r>
              <a:rPr lang="ru-RU" dirty="0" smtClean="0"/>
              <a:t>и реализации в </a:t>
            </a:r>
            <a:r>
              <a:rPr lang="ru-RU" dirty="0"/>
              <a:t>РФ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56EE12-D078-4D3F-9AF0-C586A643238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1BC30E3-FFE5-4B91-AA19-87A149EBB9EE}" type="slidenum">
              <a:rPr smtClean="0"/>
              <a:pPr/>
              <a:t>7</a:t>
            </a:fld>
            <a:endParaRPr dirty="0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C09A9A25-B0E8-482F-825D-33AF1365CB5A}"/>
              </a:ext>
            </a:extLst>
          </p:cNvPr>
          <p:cNvSpPr/>
          <p:nvPr/>
        </p:nvSpPr>
        <p:spPr>
          <a:xfrm>
            <a:off x="354767" y="1187320"/>
            <a:ext cx="3998311" cy="520974"/>
          </a:xfrm>
          <a:prstGeom prst="roundRect">
            <a:avLst/>
          </a:prstGeom>
          <a:solidFill>
            <a:srgbClr val="47B05E"/>
          </a:solidFill>
          <a:ln w="9525" cap="flat" cmpd="sng" algn="ctr">
            <a:solidFill>
              <a:srgbClr val="4AA851"/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Тарифные льготы (нулевая ставка ввозной пошлины)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E15C94D8-1D3E-4C5C-A522-4D3012F1D4C8}"/>
              </a:ext>
            </a:extLst>
          </p:cNvPr>
          <p:cNvSpPr/>
          <p:nvPr/>
        </p:nvSpPr>
        <p:spPr>
          <a:xfrm>
            <a:off x="357730" y="1804691"/>
            <a:ext cx="3973331" cy="268757"/>
          </a:xfrm>
          <a:prstGeom prst="roundRect">
            <a:avLst/>
          </a:prstGeom>
          <a:noFill/>
          <a:ln w="9525">
            <a:solidFill>
              <a:srgbClr val="4AA85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ru-RU" sz="1100" dirty="0">
                <a:solidFill>
                  <a:schemeClr val="tx2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Решение Совета ЕЭК от 17.03.2022 № 37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9B63D7A-697B-479E-ADAD-3EE3E89A1802}"/>
              </a:ext>
            </a:extLst>
          </p:cNvPr>
          <p:cNvSpPr/>
          <p:nvPr/>
        </p:nvSpPr>
        <p:spPr>
          <a:xfrm>
            <a:off x="379742" y="2002607"/>
            <a:ext cx="3973336" cy="208004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600"/>
              </a:spcAft>
            </a:pPr>
            <a:r>
              <a:rPr lang="ru-RU" sz="1100" b="1" dirty="0" smtClean="0">
                <a:solidFill>
                  <a:schemeClr val="bg2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Товары </a:t>
            </a:r>
            <a:r>
              <a:rPr lang="ru-RU" sz="1100" b="1" dirty="0">
                <a:solidFill>
                  <a:schemeClr val="bg2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для производства </a:t>
            </a:r>
            <a:r>
              <a:rPr lang="ru-RU" sz="1100" b="1" dirty="0" smtClean="0">
                <a:solidFill>
                  <a:schemeClr val="bg2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реализации продовольственной продукции, </a:t>
            </a:r>
            <a:r>
              <a:rPr lang="ru-RU" sz="1100" b="1" dirty="0">
                <a:solidFill>
                  <a:schemeClr val="bg2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к </a:t>
            </a:r>
            <a:r>
              <a:rPr lang="ru-RU" sz="1100" b="1" dirty="0" smtClean="0">
                <a:solidFill>
                  <a:schemeClr val="bg2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которым </a:t>
            </a:r>
            <a:r>
              <a:rPr lang="ru-RU" sz="1100" b="1" dirty="0">
                <a:solidFill>
                  <a:schemeClr val="bg2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применимы тарифные льготы</a:t>
            </a:r>
          </a:p>
          <a:p>
            <a:pPr marL="285750" indent="-285750" algn="ctr">
              <a:spcAft>
                <a:spcPts val="300"/>
              </a:spcAft>
              <a:buClr>
                <a:srgbClr val="4AA851"/>
              </a:buClr>
              <a:buSzPct val="80000"/>
              <a:buFont typeface="Arial" panose="020B0604020202020204" pitchFamily="34" charset="0"/>
              <a:buChar char="►"/>
            </a:pPr>
            <a:r>
              <a:rPr lang="ru-RU" sz="1100" dirty="0" smtClean="0">
                <a:solidFill>
                  <a:schemeClr val="bg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Пленка из пластмасс</a:t>
            </a:r>
          </a:p>
          <a:p>
            <a:pPr marL="285750" indent="-285750" algn="ctr">
              <a:spcAft>
                <a:spcPts val="300"/>
              </a:spcAft>
              <a:buClr>
                <a:srgbClr val="4AA851"/>
              </a:buClr>
              <a:buSzPct val="80000"/>
              <a:buFont typeface="Arial" panose="020B0604020202020204" pitchFamily="34" charset="0"/>
              <a:buChar char="►"/>
            </a:pPr>
            <a:r>
              <a:rPr lang="ru-RU" sz="1100" dirty="0" smtClean="0">
                <a:solidFill>
                  <a:schemeClr val="bg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Коробки, ящики и изделия для упаковки товара</a:t>
            </a:r>
          </a:p>
          <a:p>
            <a:pPr marL="285750" indent="-285750" algn="ctr">
              <a:spcAft>
                <a:spcPts val="300"/>
              </a:spcAft>
              <a:buClr>
                <a:srgbClr val="4AA851"/>
              </a:buClr>
              <a:buSzPct val="80000"/>
              <a:buFont typeface="Arial" panose="020B0604020202020204" pitchFamily="34" charset="0"/>
              <a:buChar char="►"/>
            </a:pPr>
            <a:r>
              <a:rPr lang="ru-RU" sz="1100" dirty="0" smtClean="0">
                <a:solidFill>
                  <a:schemeClr val="bg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Минеральная вата</a:t>
            </a:r>
          </a:p>
          <a:p>
            <a:pPr marL="285750" indent="-285750" algn="ctr">
              <a:spcAft>
                <a:spcPts val="300"/>
              </a:spcAft>
              <a:buClr>
                <a:srgbClr val="4AA851"/>
              </a:buClr>
              <a:buSzPct val="80000"/>
              <a:buFont typeface="Arial" panose="020B0604020202020204" pitchFamily="34" charset="0"/>
              <a:buChar char="►"/>
            </a:pPr>
            <a:r>
              <a:rPr lang="ru-RU" sz="1100" dirty="0" smtClean="0">
                <a:solidFill>
                  <a:schemeClr val="bg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Инсектициды</a:t>
            </a:r>
          </a:p>
          <a:p>
            <a:pPr marL="285750" indent="-285750" algn="ctr">
              <a:spcAft>
                <a:spcPts val="300"/>
              </a:spcAft>
              <a:buClr>
                <a:srgbClr val="4AA851"/>
              </a:buClr>
              <a:buSzPct val="80000"/>
              <a:buFont typeface="Arial" panose="020B0604020202020204" pitchFamily="34" charset="0"/>
              <a:buChar char="►"/>
            </a:pPr>
            <a:r>
              <a:rPr lang="ru-RU" sz="1100" dirty="0" smtClean="0">
                <a:solidFill>
                  <a:schemeClr val="bg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Морские плавучие средства</a:t>
            </a:r>
            <a:endParaRPr lang="ru-RU" sz="1100" dirty="0">
              <a:solidFill>
                <a:schemeClr val="bg1"/>
              </a:solidFill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3A5693A-458C-430A-8E21-130866DFD64B}"/>
              </a:ext>
            </a:extLst>
          </p:cNvPr>
          <p:cNvSpPr txBox="1"/>
          <p:nvPr/>
        </p:nvSpPr>
        <p:spPr>
          <a:xfrm>
            <a:off x="837570" y="4120217"/>
            <a:ext cx="3277230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100" b="1" dirty="0">
                <a:solidFill>
                  <a:schemeClr val="bg2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Тарифная льгота предполагает подтверждение целевого назначения</a:t>
            </a:r>
            <a:endParaRPr lang="ru-RU" sz="1100" b="1" i="1" dirty="0">
              <a:solidFill>
                <a:schemeClr val="bg2"/>
              </a:solidFill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11" name="Group 29">
            <a:extLst>
              <a:ext uri="{FF2B5EF4-FFF2-40B4-BE49-F238E27FC236}">
                <a16:creationId xmlns:a16="http://schemas.microsoft.com/office/drawing/2014/main" id="{0FBD3478-741D-406F-BB01-67272D82BC9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87904" y="4108509"/>
            <a:ext cx="446817" cy="395989"/>
            <a:chOff x="3191" y="885"/>
            <a:chExt cx="756" cy="670"/>
          </a:xfrm>
        </p:grpSpPr>
        <p:sp>
          <p:nvSpPr>
            <p:cNvPr id="12" name="AutoShape 28">
              <a:extLst>
                <a:ext uri="{FF2B5EF4-FFF2-40B4-BE49-F238E27FC236}">
                  <a16:creationId xmlns:a16="http://schemas.microsoft.com/office/drawing/2014/main" id="{B80DEA10-F4B5-42F2-BB12-0621AE0B9DB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191" y="885"/>
              <a:ext cx="756" cy="6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>
                <a:latin typeface="+mj-lt"/>
              </a:endParaRPr>
            </a:p>
          </p:txBody>
        </p:sp>
        <p:sp>
          <p:nvSpPr>
            <p:cNvPr id="13" name="Freeform 30">
              <a:extLst>
                <a:ext uri="{FF2B5EF4-FFF2-40B4-BE49-F238E27FC236}">
                  <a16:creationId xmlns:a16="http://schemas.microsoft.com/office/drawing/2014/main" id="{E3BDFEE2-36B0-459E-BF75-A14EF4F3F9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91" y="885"/>
              <a:ext cx="756" cy="670"/>
            </a:xfrm>
            <a:custGeom>
              <a:avLst/>
              <a:gdLst>
                <a:gd name="T0" fmla="*/ 50 w 756"/>
                <a:gd name="T1" fmla="*/ 670 h 670"/>
                <a:gd name="T2" fmla="*/ 36 w 756"/>
                <a:gd name="T3" fmla="*/ 668 h 670"/>
                <a:gd name="T4" fmla="*/ 14 w 756"/>
                <a:gd name="T5" fmla="*/ 656 h 670"/>
                <a:gd name="T6" fmla="*/ 6 w 756"/>
                <a:gd name="T7" fmla="*/ 646 h 670"/>
                <a:gd name="T8" fmla="*/ 0 w 756"/>
                <a:gd name="T9" fmla="*/ 620 h 670"/>
                <a:gd name="T10" fmla="*/ 6 w 756"/>
                <a:gd name="T11" fmla="*/ 594 h 670"/>
                <a:gd name="T12" fmla="*/ 334 w 756"/>
                <a:gd name="T13" fmla="*/ 26 h 670"/>
                <a:gd name="T14" fmla="*/ 352 w 756"/>
                <a:gd name="T15" fmla="*/ 8 h 670"/>
                <a:gd name="T16" fmla="*/ 378 w 756"/>
                <a:gd name="T17" fmla="*/ 0 h 670"/>
                <a:gd name="T18" fmla="*/ 378 w 756"/>
                <a:gd name="T19" fmla="*/ 0 h 670"/>
                <a:gd name="T20" fmla="*/ 392 w 756"/>
                <a:gd name="T21" fmla="*/ 2 h 670"/>
                <a:gd name="T22" fmla="*/ 414 w 756"/>
                <a:gd name="T23" fmla="*/ 16 h 670"/>
                <a:gd name="T24" fmla="*/ 750 w 756"/>
                <a:gd name="T25" fmla="*/ 594 h 670"/>
                <a:gd name="T26" fmla="*/ 754 w 756"/>
                <a:gd name="T27" fmla="*/ 606 h 670"/>
                <a:gd name="T28" fmla="*/ 754 w 756"/>
                <a:gd name="T29" fmla="*/ 632 h 670"/>
                <a:gd name="T30" fmla="*/ 750 w 756"/>
                <a:gd name="T31" fmla="*/ 646 h 670"/>
                <a:gd name="T32" fmla="*/ 732 w 756"/>
                <a:gd name="T33" fmla="*/ 664 h 670"/>
                <a:gd name="T34" fmla="*/ 706 w 756"/>
                <a:gd name="T35" fmla="*/ 670 h 670"/>
                <a:gd name="T36" fmla="*/ 350 w 756"/>
                <a:gd name="T37" fmla="*/ 36 h 670"/>
                <a:gd name="T38" fmla="*/ 22 w 756"/>
                <a:gd name="T39" fmla="*/ 604 h 670"/>
                <a:gd name="T40" fmla="*/ 18 w 756"/>
                <a:gd name="T41" fmla="*/ 620 h 670"/>
                <a:gd name="T42" fmla="*/ 22 w 756"/>
                <a:gd name="T43" fmla="*/ 636 h 670"/>
                <a:gd name="T44" fmla="*/ 26 w 756"/>
                <a:gd name="T45" fmla="*/ 642 h 670"/>
                <a:gd name="T46" fmla="*/ 42 w 756"/>
                <a:gd name="T47" fmla="*/ 652 h 670"/>
                <a:gd name="T48" fmla="*/ 706 w 756"/>
                <a:gd name="T49" fmla="*/ 652 h 670"/>
                <a:gd name="T50" fmla="*/ 714 w 756"/>
                <a:gd name="T51" fmla="*/ 652 h 670"/>
                <a:gd name="T52" fmla="*/ 730 w 756"/>
                <a:gd name="T53" fmla="*/ 642 h 670"/>
                <a:gd name="T54" fmla="*/ 734 w 756"/>
                <a:gd name="T55" fmla="*/ 636 h 670"/>
                <a:gd name="T56" fmla="*/ 738 w 756"/>
                <a:gd name="T57" fmla="*/ 620 h 670"/>
                <a:gd name="T58" fmla="*/ 734 w 756"/>
                <a:gd name="T59" fmla="*/ 604 h 670"/>
                <a:gd name="T60" fmla="*/ 406 w 756"/>
                <a:gd name="T61" fmla="*/ 36 h 670"/>
                <a:gd name="T62" fmla="*/ 394 w 756"/>
                <a:gd name="T63" fmla="*/ 24 h 670"/>
                <a:gd name="T64" fmla="*/ 378 w 756"/>
                <a:gd name="T65" fmla="*/ 18 h 670"/>
                <a:gd name="T66" fmla="*/ 378 w 756"/>
                <a:gd name="T67" fmla="*/ 18 h 670"/>
                <a:gd name="T68" fmla="*/ 362 w 756"/>
                <a:gd name="T69" fmla="*/ 24 h 670"/>
                <a:gd name="T70" fmla="*/ 350 w 756"/>
                <a:gd name="T71" fmla="*/ 36 h 6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56" h="670">
                  <a:moveTo>
                    <a:pt x="706" y="670"/>
                  </a:moveTo>
                  <a:lnTo>
                    <a:pt x="50" y="670"/>
                  </a:lnTo>
                  <a:lnTo>
                    <a:pt x="50" y="670"/>
                  </a:lnTo>
                  <a:lnTo>
                    <a:pt x="36" y="668"/>
                  </a:lnTo>
                  <a:lnTo>
                    <a:pt x="24" y="664"/>
                  </a:lnTo>
                  <a:lnTo>
                    <a:pt x="14" y="656"/>
                  </a:lnTo>
                  <a:lnTo>
                    <a:pt x="6" y="646"/>
                  </a:lnTo>
                  <a:lnTo>
                    <a:pt x="6" y="646"/>
                  </a:lnTo>
                  <a:lnTo>
                    <a:pt x="0" y="632"/>
                  </a:lnTo>
                  <a:lnTo>
                    <a:pt x="0" y="620"/>
                  </a:lnTo>
                  <a:lnTo>
                    <a:pt x="0" y="606"/>
                  </a:lnTo>
                  <a:lnTo>
                    <a:pt x="6" y="594"/>
                  </a:lnTo>
                  <a:lnTo>
                    <a:pt x="334" y="26"/>
                  </a:lnTo>
                  <a:lnTo>
                    <a:pt x="334" y="26"/>
                  </a:lnTo>
                  <a:lnTo>
                    <a:pt x="342" y="16"/>
                  </a:lnTo>
                  <a:lnTo>
                    <a:pt x="352" y="8"/>
                  </a:lnTo>
                  <a:lnTo>
                    <a:pt x="364" y="2"/>
                  </a:lnTo>
                  <a:lnTo>
                    <a:pt x="378" y="0"/>
                  </a:lnTo>
                  <a:lnTo>
                    <a:pt x="378" y="0"/>
                  </a:lnTo>
                  <a:lnTo>
                    <a:pt x="378" y="0"/>
                  </a:lnTo>
                  <a:lnTo>
                    <a:pt x="378" y="0"/>
                  </a:lnTo>
                  <a:lnTo>
                    <a:pt x="392" y="2"/>
                  </a:lnTo>
                  <a:lnTo>
                    <a:pt x="404" y="8"/>
                  </a:lnTo>
                  <a:lnTo>
                    <a:pt x="414" y="16"/>
                  </a:lnTo>
                  <a:lnTo>
                    <a:pt x="422" y="26"/>
                  </a:lnTo>
                  <a:lnTo>
                    <a:pt x="750" y="594"/>
                  </a:lnTo>
                  <a:lnTo>
                    <a:pt x="750" y="594"/>
                  </a:lnTo>
                  <a:lnTo>
                    <a:pt x="754" y="606"/>
                  </a:lnTo>
                  <a:lnTo>
                    <a:pt x="756" y="620"/>
                  </a:lnTo>
                  <a:lnTo>
                    <a:pt x="754" y="632"/>
                  </a:lnTo>
                  <a:lnTo>
                    <a:pt x="750" y="646"/>
                  </a:lnTo>
                  <a:lnTo>
                    <a:pt x="750" y="646"/>
                  </a:lnTo>
                  <a:lnTo>
                    <a:pt x="742" y="656"/>
                  </a:lnTo>
                  <a:lnTo>
                    <a:pt x="732" y="664"/>
                  </a:lnTo>
                  <a:lnTo>
                    <a:pt x="720" y="668"/>
                  </a:lnTo>
                  <a:lnTo>
                    <a:pt x="706" y="670"/>
                  </a:lnTo>
                  <a:lnTo>
                    <a:pt x="706" y="670"/>
                  </a:lnTo>
                  <a:close/>
                  <a:moveTo>
                    <a:pt x="350" y="36"/>
                  </a:moveTo>
                  <a:lnTo>
                    <a:pt x="22" y="604"/>
                  </a:lnTo>
                  <a:lnTo>
                    <a:pt x="22" y="604"/>
                  </a:lnTo>
                  <a:lnTo>
                    <a:pt x="18" y="612"/>
                  </a:lnTo>
                  <a:lnTo>
                    <a:pt x="18" y="620"/>
                  </a:lnTo>
                  <a:lnTo>
                    <a:pt x="18" y="628"/>
                  </a:lnTo>
                  <a:lnTo>
                    <a:pt x="22" y="636"/>
                  </a:lnTo>
                  <a:lnTo>
                    <a:pt x="22" y="636"/>
                  </a:lnTo>
                  <a:lnTo>
                    <a:pt x="26" y="642"/>
                  </a:lnTo>
                  <a:lnTo>
                    <a:pt x="34" y="648"/>
                  </a:lnTo>
                  <a:lnTo>
                    <a:pt x="42" y="652"/>
                  </a:lnTo>
                  <a:lnTo>
                    <a:pt x="50" y="652"/>
                  </a:lnTo>
                  <a:lnTo>
                    <a:pt x="706" y="652"/>
                  </a:lnTo>
                  <a:lnTo>
                    <a:pt x="706" y="652"/>
                  </a:lnTo>
                  <a:lnTo>
                    <a:pt x="714" y="652"/>
                  </a:lnTo>
                  <a:lnTo>
                    <a:pt x="722" y="648"/>
                  </a:lnTo>
                  <a:lnTo>
                    <a:pt x="730" y="642"/>
                  </a:lnTo>
                  <a:lnTo>
                    <a:pt x="734" y="636"/>
                  </a:lnTo>
                  <a:lnTo>
                    <a:pt x="734" y="636"/>
                  </a:lnTo>
                  <a:lnTo>
                    <a:pt x="738" y="628"/>
                  </a:lnTo>
                  <a:lnTo>
                    <a:pt x="738" y="620"/>
                  </a:lnTo>
                  <a:lnTo>
                    <a:pt x="738" y="612"/>
                  </a:lnTo>
                  <a:lnTo>
                    <a:pt x="734" y="604"/>
                  </a:lnTo>
                  <a:lnTo>
                    <a:pt x="406" y="36"/>
                  </a:lnTo>
                  <a:lnTo>
                    <a:pt x="406" y="36"/>
                  </a:lnTo>
                  <a:lnTo>
                    <a:pt x="400" y="28"/>
                  </a:lnTo>
                  <a:lnTo>
                    <a:pt x="394" y="24"/>
                  </a:lnTo>
                  <a:lnTo>
                    <a:pt x="386" y="20"/>
                  </a:lnTo>
                  <a:lnTo>
                    <a:pt x="378" y="18"/>
                  </a:lnTo>
                  <a:lnTo>
                    <a:pt x="378" y="18"/>
                  </a:lnTo>
                  <a:lnTo>
                    <a:pt x="378" y="18"/>
                  </a:lnTo>
                  <a:lnTo>
                    <a:pt x="370" y="20"/>
                  </a:lnTo>
                  <a:lnTo>
                    <a:pt x="362" y="24"/>
                  </a:lnTo>
                  <a:lnTo>
                    <a:pt x="356" y="28"/>
                  </a:lnTo>
                  <a:lnTo>
                    <a:pt x="350" y="36"/>
                  </a:lnTo>
                  <a:lnTo>
                    <a:pt x="350" y="36"/>
                  </a:lnTo>
                  <a:close/>
                </a:path>
              </a:pathLst>
            </a:custGeom>
            <a:solidFill>
              <a:srgbClr val="F6F6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>
                <a:latin typeface="+mj-lt"/>
              </a:endParaRPr>
            </a:p>
          </p:txBody>
        </p:sp>
        <p:sp>
          <p:nvSpPr>
            <p:cNvPr id="14" name="Freeform 31">
              <a:extLst>
                <a:ext uri="{FF2B5EF4-FFF2-40B4-BE49-F238E27FC236}">
                  <a16:creationId xmlns:a16="http://schemas.microsoft.com/office/drawing/2014/main" id="{D01AEF4A-1204-4F31-8CBE-84336F6A243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23" y="1385"/>
              <a:ext cx="92" cy="94"/>
            </a:xfrm>
            <a:custGeom>
              <a:avLst/>
              <a:gdLst>
                <a:gd name="T0" fmla="*/ 46 w 92"/>
                <a:gd name="T1" fmla="*/ 94 h 94"/>
                <a:gd name="T2" fmla="*/ 46 w 92"/>
                <a:gd name="T3" fmla="*/ 94 h 94"/>
                <a:gd name="T4" fmla="*/ 36 w 92"/>
                <a:gd name="T5" fmla="*/ 92 h 94"/>
                <a:gd name="T6" fmla="*/ 28 w 92"/>
                <a:gd name="T7" fmla="*/ 90 h 94"/>
                <a:gd name="T8" fmla="*/ 20 w 92"/>
                <a:gd name="T9" fmla="*/ 86 h 94"/>
                <a:gd name="T10" fmla="*/ 14 w 92"/>
                <a:gd name="T11" fmla="*/ 80 h 94"/>
                <a:gd name="T12" fmla="*/ 8 w 92"/>
                <a:gd name="T13" fmla="*/ 74 h 94"/>
                <a:gd name="T14" fmla="*/ 4 w 92"/>
                <a:gd name="T15" fmla="*/ 66 h 94"/>
                <a:gd name="T16" fmla="*/ 0 w 92"/>
                <a:gd name="T17" fmla="*/ 56 h 94"/>
                <a:gd name="T18" fmla="*/ 0 w 92"/>
                <a:gd name="T19" fmla="*/ 48 h 94"/>
                <a:gd name="T20" fmla="*/ 0 w 92"/>
                <a:gd name="T21" fmla="*/ 48 h 94"/>
                <a:gd name="T22" fmla="*/ 0 w 92"/>
                <a:gd name="T23" fmla="*/ 38 h 94"/>
                <a:gd name="T24" fmla="*/ 4 w 92"/>
                <a:gd name="T25" fmla="*/ 30 h 94"/>
                <a:gd name="T26" fmla="*/ 8 w 92"/>
                <a:gd name="T27" fmla="*/ 22 h 94"/>
                <a:gd name="T28" fmla="*/ 14 w 92"/>
                <a:gd name="T29" fmla="*/ 14 h 94"/>
                <a:gd name="T30" fmla="*/ 20 w 92"/>
                <a:gd name="T31" fmla="*/ 8 h 94"/>
                <a:gd name="T32" fmla="*/ 28 w 92"/>
                <a:gd name="T33" fmla="*/ 4 h 94"/>
                <a:gd name="T34" fmla="*/ 36 w 92"/>
                <a:gd name="T35" fmla="*/ 2 h 94"/>
                <a:gd name="T36" fmla="*/ 46 w 92"/>
                <a:gd name="T37" fmla="*/ 0 h 94"/>
                <a:gd name="T38" fmla="*/ 46 w 92"/>
                <a:gd name="T39" fmla="*/ 0 h 94"/>
                <a:gd name="T40" fmla="*/ 56 w 92"/>
                <a:gd name="T41" fmla="*/ 2 h 94"/>
                <a:gd name="T42" fmla="*/ 64 w 92"/>
                <a:gd name="T43" fmla="*/ 4 h 94"/>
                <a:gd name="T44" fmla="*/ 72 w 92"/>
                <a:gd name="T45" fmla="*/ 8 h 94"/>
                <a:gd name="T46" fmla="*/ 78 w 92"/>
                <a:gd name="T47" fmla="*/ 14 h 94"/>
                <a:gd name="T48" fmla="*/ 84 w 92"/>
                <a:gd name="T49" fmla="*/ 22 h 94"/>
                <a:gd name="T50" fmla="*/ 88 w 92"/>
                <a:gd name="T51" fmla="*/ 30 h 94"/>
                <a:gd name="T52" fmla="*/ 92 w 92"/>
                <a:gd name="T53" fmla="*/ 38 h 94"/>
                <a:gd name="T54" fmla="*/ 92 w 92"/>
                <a:gd name="T55" fmla="*/ 48 h 94"/>
                <a:gd name="T56" fmla="*/ 92 w 92"/>
                <a:gd name="T57" fmla="*/ 48 h 94"/>
                <a:gd name="T58" fmla="*/ 92 w 92"/>
                <a:gd name="T59" fmla="*/ 56 h 94"/>
                <a:gd name="T60" fmla="*/ 88 w 92"/>
                <a:gd name="T61" fmla="*/ 66 h 94"/>
                <a:gd name="T62" fmla="*/ 84 w 92"/>
                <a:gd name="T63" fmla="*/ 74 h 94"/>
                <a:gd name="T64" fmla="*/ 78 w 92"/>
                <a:gd name="T65" fmla="*/ 80 h 94"/>
                <a:gd name="T66" fmla="*/ 72 w 92"/>
                <a:gd name="T67" fmla="*/ 86 h 94"/>
                <a:gd name="T68" fmla="*/ 64 w 92"/>
                <a:gd name="T69" fmla="*/ 90 h 94"/>
                <a:gd name="T70" fmla="*/ 56 w 92"/>
                <a:gd name="T71" fmla="*/ 92 h 94"/>
                <a:gd name="T72" fmla="*/ 46 w 92"/>
                <a:gd name="T73" fmla="*/ 94 h 94"/>
                <a:gd name="T74" fmla="*/ 46 w 92"/>
                <a:gd name="T75" fmla="*/ 94 h 94"/>
                <a:gd name="T76" fmla="*/ 46 w 92"/>
                <a:gd name="T77" fmla="*/ 18 h 94"/>
                <a:gd name="T78" fmla="*/ 46 w 92"/>
                <a:gd name="T79" fmla="*/ 18 h 94"/>
                <a:gd name="T80" fmla="*/ 34 w 92"/>
                <a:gd name="T81" fmla="*/ 20 h 94"/>
                <a:gd name="T82" fmla="*/ 26 w 92"/>
                <a:gd name="T83" fmla="*/ 26 h 94"/>
                <a:gd name="T84" fmla="*/ 20 w 92"/>
                <a:gd name="T85" fmla="*/ 36 h 94"/>
                <a:gd name="T86" fmla="*/ 18 w 92"/>
                <a:gd name="T87" fmla="*/ 48 h 94"/>
                <a:gd name="T88" fmla="*/ 18 w 92"/>
                <a:gd name="T89" fmla="*/ 48 h 94"/>
                <a:gd name="T90" fmla="*/ 20 w 92"/>
                <a:gd name="T91" fmla="*/ 58 h 94"/>
                <a:gd name="T92" fmla="*/ 26 w 92"/>
                <a:gd name="T93" fmla="*/ 68 h 94"/>
                <a:gd name="T94" fmla="*/ 34 w 92"/>
                <a:gd name="T95" fmla="*/ 74 h 94"/>
                <a:gd name="T96" fmla="*/ 46 w 92"/>
                <a:gd name="T97" fmla="*/ 76 h 94"/>
                <a:gd name="T98" fmla="*/ 46 w 92"/>
                <a:gd name="T99" fmla="*/ 76 h 94"/>
                <a:gd name="T100" fmla="*/ 58 w 92"/>
                <a:gd name="T101" fmla="*/ 74 h 94"/>
                <a:gd name="T102" fmla="*/ 66 w 92"/>
                <a:gd name="T103" fmla="*/ 68 h 94"/>
                <a:gd name="T104" fmla="*/ 72 w 92"/>
                <a:gd name="T105" fmla="*/ 58 h 94"/>
                <a:gd name="T106" fmla="*/ 74 w 92"/>
                <a:gd name="T107" fmla="*/ 48 h 94"/>
                <a:gd name="T108" fmla="*/ 74 w 92"/>
                <a:gd name="T109" fmla="*/ 48 h 94"/>
                <a:gd name="T110" fmla="*/ 72 w 92"/>
                <a:gd name="T111" fmla="*/ 36 h 94"/>
                <a:gd name="T112" fmla="*/ 66 w 92"/>
                <a:gd name="T113" fmla="*/ 26 h 94"/>
                <a:gd name="T114" fmla="*/ 58 w 92"/>
                <a:gd name="T115" fmla="*/ 20 h 94"/>
                <a:gd name="T116" fmla="*/ 46 w 92"/>
                <a:gd name="T117" fmla="*/ 18 h 94"/>
                <a:gd name="T118" fmla="*/ 46 w 92"/>
                <a:gd name="T119" fmla="*/ 18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2" h="94">
                  <a:moveTo>
                    <a:pt x="46" y="94"/>
                  </a:moveTo>
                  <a:lnTo>
                    <a:pt x="46" y="94"/>
                  </a:lnTo>
                  <a:lnTo>
                    <a:pt x="36" y="92"/>
                  </a:lnTo>
                  <a:lnTo>
                    <a:pt x="28" y="90"/>
                  </a:lnTo>
                  <a:lnTo>
                    <a:pt x="20" y="86"/>
                  </a:lnTo>
                  <a:lnTo>
                    <a:pt x="14" y="80"/>
                  </a:lnTo>
                  <a:lnTo>
                    <a:pt x="8" y="74"/>
                  </a:lnTo>
                  <a:lnTo>
                    <a:pt x="4" y="66"/>
                  </a:lnTo>
                  <a:lnTo>
                    <a:pt x="0" y="56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38"/>
                  </a:lnTo>
                  <a:lnTo>
                    <a:pt x="4" y="30"/>
                  </a:lnTo>
                  <a:lnTo>
                    <a:pt x="8" y="22"/>
                  </a:lnTo>
                  <a:lnTo>
                    <a:pt x="14" y="14"/>
                  </a:lnTo>
                  <a:lnTo>
                    <a:pt x="20" y="8"/>
                  </a:lnTo>
                  <a:lnTo>
                    <a:pt x="28" y="4"/>
                  </a:lnTo>
                  <a:lnTo>
                    <a:pt x="36" y="2"/>
                  </a:lnTo>
                  <a:lnTo>
                    <a:pt x="46" y="0"/>
                  </a:lnTo>
                  <a:lnTo>
                    <a:pt x="46" y="0"/>
                  </a:lnTo>
                  <a:lnTo>
                    <a:pt x="56" y="2"/>
                  </a:lnTo>
                  <a:lnTo>
                    <a:pt x="64" y="4"/>
                  </a:lnTo>
                  <a:lnTo>
                    <a:pt x="72" y="8"/>
                  </a:lnTo>
                  <a:lnTo>
                    <a:pt x="78" y="14"/>
                  </a:lnTo>
                  <a:lnTo>
                    <a:pt x="84" y="22"/>
                  </a:lnTo>
                  <a:lnTo>
                    <a:pt x="88" y="30"/>
                  </a:lnTo>
                  <a:lnTo>
                    <a:pt x="92" y="3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56"/>
                  </a:lnTo>
                  <a:lnTo>
                    <a:pt x="88" y="66"/>
                  </a:lnTo>
                  <a:lnTo>
                    <a:pt x="84" y="74"/>
                  </a:lnTo>
                  <a:lnTo>
                    <a:pt x="78" y="80"/>
                  </a:lnTo>
                  <a:lnTo>
                    <a:pt x="72" y="86"/>
                  </a:lnTo>
                  <a:lnTo>
                    <a:pt x="64" y="90"/>
                  </a:lnTo>
                  <a:lnTo>
                    <a:pt x="56" y="92"/>
                  </a:lnTo>
                  <a:lnTo>
                    <a:pt x="46" y="94"/>
                  </a:lnTo>
                  <a:lnTo>
                    <a:pt x="46" y="94"/>
                  </a:lnTo>
                  <a:close/>
                  <a:moveTo>
                    <a:pt x="46" y="18"/>
                  </a:moveTo>
                  <a:lnTo>
                    <a:pt x="46" y="18"/>
                  </a:lnTo>
                  <a:lnTo>
                    <a:pt x="34" y="20"/>
                  </a:lnTo>
                  <a:lnTo>
                    <a:pt x="26" y="26"/>
                  </a:lnTo>
                  <a:lnTo>
                    <a:pt x="20" y="36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20" y="58"/>
                  </a:lnTo>
                  <a:lnTo>
                    <a:pt x="26" y="68"/>
                  </a:lnTo>
                  <a:lnTo>
                    <a:pt x="34" y="74"/>
                  </a:lnTo>
                  <a:lnTo>
                    <a:pt x="46" y="76"/>
                  </a:lnTo>
                  <a:lnTo>
                    <a:pt x="46" y="76"/>
                  </a:lnTo>
                  <a:lnTo>
                    <a:pt x="58" y="74"/>
                  </a:lnTo>
                  <a:lnTo>
                    <a:pt x="66" y="68"/>
                  </a:lnTo>
                  <a:lnTo>
                    <a:pt x="72" y="58"/>
                  </a:lnTo>
                  <a:lnTo>
                    <a:pt x="74" y="48"/>
                  </a:lnTo>
                  <a:lnTo>
                    <a:pt x="74" y="48"/>
                  </a:lnTo>
                  <a:lnTo>
                    <a:pt x="72" y="36"/>
                  </a:lnTo>
                  <a:lnTo>
                    <a:pt x="66" y="26"/>
                  </a:lnTo>
                  <a:lnTo>
                    <a:pt x="58" y="20"/>
                  </a:lnTo>
                  <a:lnTo>
                    <a:pt x="46" y="18"/>
                  </a:lnTo>
                  <a:lnTo>
                    <a:pt x="46" y="18"/>
                  </a:lnTo>
                  <a:close/>
                </a:path>
              </a:pathLst>
            </a:custGeom>
            <a:solidFill>
              <a:srgbClr val="F6F6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>
                <a:latin typeface="+mj-lt"/>
              </a:endParaRPr>
            </a:p>
          </p:txBody>
        </p:sp>
        <p:sp>
          <p:nvSpPr>
            <p:cNvPr id="15" name="Freeform 32">
              <a:extLst>
                <a:ext uri="{FF2B5EF4-FFF2-40B4-BE49-F238E27FC236}">
                  <a16:creationId xmlns:a16="http://schemas.microsoft.com/office/drawing/2014/main" id="{C3D6C027-2F7A-4A31-B34B-885DD6BCB78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7" y="1049"/>
              <a:ext cx="104" cy="308"/>
            </a:xfrm>
            <a:custGeom>
              <a:avLst/>
              <a:gdLst>
                <a:gd name="T0" fmla="*/ 52 w 104"/>
                <a:gd name="T1" fmla="*/ 308 h 308"/>
                <a:gd name="T2" fmla="*/ 38 w 104"/>
                <a:gd name="T3" fmla="*/ 306 h 308"/>
                <a:gd name="T4" fmla="*/ 26 w 104"/>
                <a:gd name="T5" fmla="*/ 298 h 308"/>
                <a:gd name="T6" fmla="*/ 18 w 104"/>
                <a:gd name="T7" fmla="*/ 286 h 308"/>
                <a:gd name="T8" fmla="*/ 14 w 104"/>
                <a:gd name="T9" fmla="*/ 272 h 308"/>
                <a:gd name="T10" fmla="*/ 0 w 104"/>
                <a:gd name="T11" fmla="*/ 40 h 308"/>
                <a:gd name="T12" fmla="*/ 2 w 104"/>
                <a:gd name="T13" fmla="*/ 24 h 308"/>
                <a:gd name="T14" fmla="*/ 10 w 104"/>
                <a:gd name="T15" fmla="*/ 12 h 308"/>
                <a:gd name="T16" fmla="*/ 16 w 104"/>
                <a:gd name="T17" fmla="*/ 6 h 308"/>
                <a:gd name="T18" fmla="*/ 30 w 104"/>
                <a:gd name="T19" fmla="*/ 0 h 308"/>
                <a:gd name="T20" fmla="*/ 66 w 104"/>
                <a:gd name="T21" fmla="*/ 0 h 308"/>
                <a:gd name="T22" fmla="*/ 74 w 104"/>
                <a:gd name="T23" fmla="*/ 0 h 308"/>
                <a:gd name="T24" fmla="*/ 88 w 104"/>
                <a:gd name="T25" fmla="*/ 6 h 308"/>
                <a:gd name="T26" fmla="*/ 94 w 104"/>
                <a:gd name="T27" fmla="*/ 12 h 308"/>
                <a:gd name="T28" fmla="*/ 102 w 104"/>
                <a:gd name="T29" fmla="*/ 24 h 308"/>
                <a:gd name="T30" fmla="*/ 104 w 104"/>
                <a:gd name="T31" fmla="*/ 40 h 308"/>
                <a:gd name="T32" fmla="*/ 90 w 104"/>
                <a:gd name="T33" fmla="*/ 272 h 308"/>
                <a:gd name="T34" fmla="*/ 86 w 104"/>
                <a:gd name="T35" fmla="*/ 286 h 308"/>
                <a:gd name="T36" fmla="*/ 78 w 104"/>
                <a:gd name="T37" fmla="*/ 298 h 308"/>
                <a:gd name="T38" fmla="*/ 66 w 104"/>
                <a:gd name="T39" fmla="*/ 306 h 308"/>
                <a:gd name="T40" fmla="*/ 52 w 104"/>
                <a:gd name="T41" fmla="*/ 308 h 308"/>
                <a:gd name="T42" fmla="*/ 38 w 104"/>
                <a:gd name="T43" fmla="*/ 18 h 308"/>
                <a:gd name="T44" fmla="*/ 30 w 104"/>
                <a:gd name="T45" fmla="*/ 18 h 308"/>
                <a:gd name="T46" fmla="*/ 22 w 104"/>
                <a:gd name="T47" fmla="*/ 24 h 308"/>
                <a:gd name="T48" fmla="*/ 16 w 104"/>
                <a:gd name="T49" fmla="*/ 38 h 308"/>
                <a:gd name="T50" fmla="*/ 32 w 104"/>
                <a:gd name="T51" fmla="*/ 272 h 308"/>
                <a:gd name="T52" fmla="*/ 38 w 104"/>
                <a:gd name="T53" fmla="*/ 286 h 308"/>
                <a:gd name="T54" fmla="*/ 52 w 104"/>
                <a:gd name="T55" fmla="*/ 290 h 308"/>
                <a:gd name="T56" fmla="*/ 60 w 104"/>
                <a:gd name="T57" fmla="*/ 290 h 308"/>
                <a:gd name="T58" fmla="*/ 70 w 104"/>
                <a:gd name="T59" fmla="*/ 278 h 308"/>
                <a:gd name="T60" fmla="*/ 86 w 104"/>
                <a:gd name="T61" fmla="*/ 38 h 308"/>
                <a:gd name="T62" fmla="*/ 86 w 104"/>
                <a:gd name="T63" fmla="*/ 30 h 308"/>
                <a:gd name="T64" fmla="*/ 82 w 104"/>
                <a:gd name="T65" fmla="*/ 24 h 308"/>
                <a:gd name="T66" fmla="*/ 66 w 104"/>
                <a:gd name="T67" fmla="*/ 18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4" h="308">
                  <a:moveTo>
                    <a:pt x="52" y="308"/>
                  </a:moveTo>
                  <a:lnTo>
                    <a:pt x="52" y="308"/>
                  </a:lnTo>
                  <a:lnTo>
                    <a:pt x="44" y="308"/>
                  </a:lnTo>
                  <a:lnTo>
                    <a:pt x="38" y="306"/>
                  </a:lnTo>
                  <a:lnTo>
                    <a:pt x="32" y="302"/>
                  </a:lnTo>
                  <a:lnTo>
                    <a:pt x="26" y="298"/>
                  </a:lnTo>
                  <a:lnTo>
                    <a:pt x="20" y="292"/>
                  </a:lnTo>
                  <a:lnTo>
                    <a:pt x="18" y="286"/>
                  </a:lnTo>
                  <a:lnTo>
                    <a:pt x="14" y="280"/>
                  </a:lnTo>
                  <a:lnTo>
                    <a:pt x="14" y="272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32"/>
                  </a:lnTo>
                  <a:lnTo>
                    <a:pt x="2" y="24"/>
                  </a:lnTo>
                  <a:lnTo>
                    <a:pt x="4" y="18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6" y="6"/>
                  </a:lnTo>
                  <a:lnTo>
                    <a:pt x="22" y="2"/>
                  </a:lnTo>
                  <a:lnTo>
                    <a:pt x="30" y="0"/>
                  </a:lnTo>
                  <a:lnTo>
                    <a:pt x="38" y="0"/>
                  </a:lnTo>
                  <a:lnTo>
                    <a:pt x="66" y="0"/>
                  </a:lnTo>
                  <a:lnTo>
                    <a:pt x="66" y="0"/>
                  </a:lnTo>
                  <a:lnTo>
                    <a:pt x="74" y="0"/>
                  </a:lnTo>
                  <a:lnTo>
                    <a:pt x="82" y="2"/>
                  </a:lnTo>
                  <a:lnTo>
                    <a:pt x="88" y="6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100" y="18"/>
                  </a:lnTo>
                  <a:lnTo>
                    <a:pt x="102" y="24"/>
                  </a:lnTo>
                  <a:lnTo>
                    <a:pt x="104" y="32"/>
                  </a:lnTo>
                  <a:lnTo>
                    <a:pt x="104" y="40"/>
                  </a:lnTo>
                  <a:lnTo>
                    <a:pt x="90" y="272"/>
                  </a:lnTo>
                  <a:lnTo>
                    <a:pt x="90" y="272"/>
                  </a:lnTo>
                  <a:lnTo>
                    <a:pt x="90" y="280"/>
                  </a:lnTo>
                  <a:lnTo>
                    <a:pt x="86" y="286"/>
                  </a:lnTo>
                  <a:lnTo>
                    <a:pt x="84" y="292"/>
                  </a:lnTo>
                  <a:lnTo>
                    <a:pt x="78" y="298"/>
                  </a:lnTo>
                  <a:lnTo>
                    <a:pt x="72" y="302"/>
                  </a:lnTo>
                  <a:lnTo>
                    <a:pt x="66" y="306"/>
                  </a:lnTo>
                  <a:lnTo>
                    <a:pt x="60" y="308"/>
                  </a:lnTo>
                  <a:lnTo>
                    <a:pt x="52" y="308"/>
                  </a:lnTo>
                  <a:lnTo>
                    <a:pt x="52" y="308"/>
                  </a:lnTo>
                  <a:close/>
                  <a:moveTo>
                    <a:pt x="38" y="18"/>
                  </a:moveTo>
                  <a:lnTo>
                    <a:pt x="38" y="18"/>
                  </a:lnTo>
                  <a:lnTo>
                    <a:pt x="30" y="18"/>
                  </a:lnTo>
                  <a:lnTo>
                    <a:pt x="22" y="24"/>
                  </a:lnTo>
                  <a:lnTo>
                    <a:pt x="22" y="24"/>
                  </a:lnTo>
                  <a:lnTo>
                    <a:pt x="18" y="30"/>
                  </a:lnTo>
                  <a:lnTo>
                    <a:pt x="16" y="38"/>
                  </a:lnTo>
                  <a:lnTo>
                    <a:pt x="32" y="272"/>
                  </a:lnTo>
                  <a:lnTo>
                    <a:pt x="32" y="272"/>
                  </a:lnTo>
                  <a:lnTo>
                    <a:pt x="34" y="278"/>
                  </a:lnTo>
                  <a:lnTo>
                    <a:pt x="38" y="286"/>
                  </a:lnTo>
                  <a:lnTo>
                    <a:pt x="44" y="290"/>
                  </a:lnTo>
                  <a:lnTo>
                    <a:pt x="52" y="290"/>
                  </a:lnTo>
                  <a:lnTo>
                    <a:pt x="52" y="290"/>
                  </a:lnTo>
                  <a:lnTo>
                    <a:pt x="60" y="290"/>
                  </a:lnTo>
                  <a:lnTo>
                    <a:pt x="66" y="286"/>
                  </a:lnTo>
                  <a:lnTo>
                    <a:pt x="70" y="278"/>
                  </a:lnTo>
                  <a:lnTo>
                    <a:pt x="72" y="272"/>
                  </a:lnTo>
                  <a:lnTo>
                    <a:pt x="86" y="38"/>
                  </a:lnTo>
                  <a:lnTo>
                    <a:pt x="86" y="38"/>
                  </a:lnTo>
                  <a:lnTo>
                    <a:pt x="86" y="30"/>
                  </a:lnTo>
                  <a:lnTo>
                    <a:pt x="82" y="24"/>
                  </a:lnTo>
                  <a:lnTo>
                    <a:pt x="82" y="24"/>
                  </a:lnTo>
                  <a:lnTo>
                    <a:pt x="74" y="18"/>
                  </a:lnTo>
                  <a:lnTo>
                    <a:pt x="66" y="18"/>
                  </a:lnTo>
                  <a:lnTo>
                    <a:pt x="38" y="18"/>
                  </a:lnTo>
                  <a:close/>
                </a:path>
              </a:pathLst>
            </a:custGeom>
            <a:solidFill>
              <a:srgbClr val="F6F6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>
                <a:latin typeface="+mj-lt"/>
              </a:endParaRPr>
            </a:p>
          </p:txBody>
        </p:sp>
      </p:grp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74985E4E-CCCE-49A1-B6C1-11106A2D4DCC}"/>
              </a:ext>
            </a:extLst>
          </p:cNvPr>
          <p:cNvSpPr/>
          <p:nvPr/>
        </p:nvSpPr>
        <p:spPr>
          <a:xfrm>
            <a:off x="387904" y="4569774"/>
            <a:ext cx="3943157" cy="758736"/>
          </a:xfrm>
          <a:prstGeom prst="roundRect">
            <a:avLst>
              <a:gd name="adj" fmla="val 15792"/>
            </a:avLst>
          </a:prstGeom>
          <a:noFill/>
          <a:ln w="9525" cap="flat" cmpd="sng" algn="ctr">
            <a:solidFill>
              <a:srgbClr val="47B05E"/>
            </a:solidFill>
            <a:prstDash val="solid"/>
          </a:ln>
          <a:effectLst/>
        </p:spPr>
        <p:txBody>
          <a:bodyPr rtlCol="0" anchor="ctr" anchorCtr="0"/>
          <a:lstStyle/>
          <a:p>
            <a:pPr lvl="0" algn="ctr">
              <a:defRPr/>
            </a:pPr>
            <a:r>
              <a:rPr lang="ru-RU" sz="1100" kern="0" dirty="0">
                <a:solidFill>
                  <a:schemeClr val="bg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НПА, регулирующий порядок подтверждения целевого </a:t>
            </a:r>
            <a:r>
              <a:rPr lang="ru-RU" sz="1100" kern="0" dirty="0" smtClean="0">
                <a:solidFill>
                  <a:schemeClr val="bg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назначения, </a:t>
            </a:r>
            <a:r>
              <a:rPr lang="ru-RU" sz="1100" kern="0" dirty="0" smtClean="0">
                <a:solidFill>
                  <a:schemeClr val="bg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на текущий момент отсутствует</a:t>
            </a:r>
            <a:r>
              <a:rPr lang="ru-RU" sz="1100" kern="0" dirty="0" smtClean="0">
                <a:solidFill>
                  <a:schemeClr val="bg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  <a:p>
            <a:pPr lvl="0" algn="ctr">
              <a:defRPr/>
            </a:pPr>
            <a:r>
              <a:rPr kumimoji="0" lang="ru-RU" sz="1100" i="0" u="sng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Ответственный орган – Минсельхоз России</a:t>
            </a:r>
            <a:endParaRPr kumimoji="0" lang="ru-RU" sz="1100" i="0" u="sng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738F4B1B-1C37-4CB3-AEA9-A2D873379988}"/>
              </a:ext>
            </a:extLst>
          </p:cNvPr>
          <p:cNvSpPr/>
          <p:nvPr/>
        </p:nvSpPr>
        <p:spPr>
          <a:xfrm>
            <a:off x="4490440" y="1184910"/>
            <a:ext cx="3581504" cy="523383"/>
          </a:xfrm>
          <a:prstGeom prst="roundRect">
            <a:avLst/>
          </a:prstGeom>
          <a:solidFill>
            <a:srgbClr val="47B05E"/>
          </a:solidFill>
          <a:ln w="9525">
            <a:solidFill>
              <a:srgbClr val="47B05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ru-RU" sz="1200" b="1" kern="0" dirty="0">
                <a:solidFill>
                  <a:schemeClr val="tx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Временное обнуление ввозных таможенных пошлин</a:t>
            </a:r>
            <a:endParaRPr lang="en-US" sz="1200" b="1" kern="0" dirty="0">
              <a:solidFill>
                <a:schemeClr val="tx1"/>
              </a:solidFill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2335C66D-944D-438D-9DE5-0219D2F3B560}"/>
              </a:ext>
            </a:extLst>
          </p:cNvPr>
          <p:cNvSpPr/>
          <p:nvPr/>
        </p:nvSpPr>
        <p:spPr>
          <a:xfrm>
            <a:off x="4481378" y="1802784"/>
            <a:ext cx="3590566" cy="267670"/>
          </a:xfrm>
          <a:prstGeom prst="roundRect">
            <a:avLst/>
          </a:prstGeom>
          <a:noFill/>
          <a:ln w="9525" cap="flat" cmpd="sng" algn="ctr">
            <a:solidFill>
              <a:srgbClr val="47B05E"/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Решение Совета ЕЭК от 05.04.2022 № 46 </a:t>
            </a:r>
            <a:endParaRPr kumimoji="0" lang="en-US" sz="110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DFF0249C-F132-484B-8311-F6978E98AC8C}"/>
              </a:ext>
            </a:extLst>
          </p:cNvPr>
          <p:cNvSpPr/>
          <p:nvPr/>
        </p:nvSpPr>
        <p:spPr>
          <a:xfrm>
            <a:off x="4481378" y="2151469"/>
            <a:ext cx="3590566" cy="250481"/>
          </a:xfrm>
          <a:prstGeom prst="roundRect">
            <a:avLst/>
          </a:prstGeom>
          <a:noFill/>
          <a:ln w="9525" cap="flat" cmpd="sng" algn="ctr">
            <a:solidFill>
              <a:srgbClr val="47B05E"/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Решение Коллегии ЕЭК от 12.04.2022 № 63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8FF4397-BD66-4D1F-95A5-55BF6233873F}"/>
              </a:ext>
            </a:extLst>
          </p:cNvPr>
          <p:cNvSpPr txBox="1"/>
          <p:nvPr/>
        </p:nvSpPr>
        <p:spPr>
          <a:xfrm>
            <a:off x="4446708" y="3325846"/>
            <a:ext cx="3622076" cy="2622769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ru-RU" sz="1100" b="1" dirty="0">
                <a:solidFill>
                  <a:schemeClr val="bg2"/>
                </a:solidFill>
                <a:latin typeface="+mj-lt"/>
              </a:rPr>
              <a:t>Обнуление ставок ввозных пошлин</a:t>
            </a:r>
          </a:p>
          <a:p>
            <a:pPr marL="285750" indent="-285750" algn="ctr">
              <a:spcAft>
                <a:spcPts val="400"/>
              </a:spcAft>
              <a:buClr>
                <a:srgbClr val="47B05E"/>
              </a:buClr>
              <a:buSzPct val="70000"/>
              <a:buFont typeface="Arial" panose="020B0604020202020204" pitchFamily="34" charset="0"/>
              <a:buChar char="►"/>
            </a:pPr>
            <a:r>
              <a:rPr lang="ru-RU" sz="1100" dirty="0" smtClean="0">
                <a:solidFill>
                  <a:schemeClr val="bg2"/>
                </a:solidFill>
                <a:latin typeface="+mj-lt"/>
              </a:rPr>
              <a:t>Продукция растительного происхождения (</a:t>
            </a:r>
            <a:r>
              <a:rPr lang="ru-RU" sz="1100" dirty="0">
                <a:solidFill>
                  <a:schemeClr val="bg2"/>
                </a:solidFill>
                <a:latin typeface="+mj-lt"/>
              </a:rPr>
              <a:t>о</a:t>
            </a:r>
            <a:r>
              <a:rPr lang="ru-RU" sz="1100" dirty="0" smtClean="0">
                <a:solidFill>
                  <a:schemeClr val="bg2"/>
                </a:solidFill>
                <a:latin typeface="+mj-lt"/>
              </a:rPr>
              <a:t>вощи, корнеплоды, фрукты, кофе, чай, орехи, злаки)</a:t>
            </a:r>
          </a:p>
          <a:p>
            <a:pPr marL="285750" indent="-285750" algn="ctr">
              <a:spcAft>
                <a:spcPts val="400"/>
              </a:spcAft>
              <a:buClr>
                <a:srgbClr val="47B05E"/>
              </a:buClr>
              <a:buSzPct val="70000"/>
              <a:buFont typeface="Arial" panose="020B0604020202020204" pitchFamily="34" charset="0"/>
              <a:buChar char="►"/>
            </a:pPr>
            <a:r>
              <a:rPr lang="ru-RU" sz="1100" dirty="0" smtClean="0">
                <a:solidFill>
                  <a:schemeClr val="bg2"/>
                </a:solidFill>
                <a:latin typeface="+mj-lt"/>
              </a:rPr>
              <a:t>Продукция животного происхождения (молочная продукция, пчелы и насекомые)</a:t>
            </a:r>
          </a:p>
          <a:p>
            <a:pPr marL="285750" indent="-285750" algn="ctr">
              <a:spcAft>
                <a:spcPts val="400"/>
              </a:spcAft>
              <a:buClr>
                <a:srgbClr val="47B05E"/>
              </a:buClr>
              <a:buSzPct val="70000"/>
              <a:buFont typeface="Arial" panose="020B0604020202020204" pitchFamily="34" charset="0"/>
              <a:buChar char="►"/>
            </a:pPr>
            <a:r>
              <a:rPr lang="ru-RU" sz="1100" dirty="0" smtClean="0">
                <a:solidFill>
                  <a:schemeClr val="bg2"/>
                </a:solidFill>
                <a:latin typeface="+mj-lt"/>
              </a:rPr>
              <a:t>Пищевые продукты, безалкогольные напитки</a:t>
            </a:r>
          </a:p>
          <a:p>
            <a:pPr marL="285750" indent="-285750" algn="ctr">
              <a:spcAft>
                <a:spcPts val="400"/>
              </a:spcAft>
              <a:buClr>
                <a:srgbClr val="47B05E"/>
              </a:buClr>
              <a:buSzPct val="70000"/>
              <a:buFont typeface="Arial" panose="020B0604020202020204" pitchFamily="34" charset="0"/>
              <a:buChar char="►"/>
            </a:pPr>
            <a:r>
              <a:rPr lang="ru-RU" sz="1100" dirty="0">
                <a:solidFill>
                  <a:schemeClr val="bg2"/>
                </a:solidFill>
                <a:latin typeface="+mj-lt"/>
              </a:rPr>
              <a:t>К</a:t>
            </a:r>
            <a:r>
              <a:rPr lang="ru-RU" sz="1100" dirty="0" smtClean="0">
                <a:solidFill>
                  <a:schemeClr val="bg2"/>
                </a:solidFill>
                <a:latin typeface="+mj-lt"/>
              </a:rPr>
              <a:t>орма для </a:t>
            </a:r>
            <a:r>
              <a:rPr lang="ru-RU" sz="1100" dirty="0" smtClean="0">
                <a:solidFill>
                  <a:schemeClr val="bg2"/>
                </a:solidFill>
                <a:latin typeface="+mj-lt"/>
              </a:rPr>
              <a:t>животных</a:t>
            </a:r>
          </a:p>
          <a:p>
            <a:pPr marL="285750" indent="-285750" algn="ctr">
              <a:spcAft>
                <a:spcPts val="400"/>
              </a:spcAft>
              <a:buClr>
                <a:srgbClr val="47B05E"/>
              </a:buClr>
              <a:buSzPct val="70000"/>
              <a:buFont typeface="Arial" panose="020B0604020202020204" pitchFamily="34" charset="0"/>
              <a:buChar char="►"/>
            </a:pPr>
            <a:r>
              <a:rPr lang="ru-RU" sz="1100" dirty="0" smtClean="0">
                <a:solidFill>
                  <a:schemeClr val="bg2"/>
                </a:solidFill>
                <a:latin typeface="+mj-lt"/>
              </a:rPr>
              <a:t>Пр. </a:t>
            </a:r>
            <a:endParaRPr lang="ru-RU" sz="1100" dirty="0" smtClean="0">
              <a:solidFill>
                <a:schemeClr val="bg2"/>
              </a:solidFill>
              <a:latin typeface="+mj-lt"/>
            </a:endParaRPr>
          </a:p>
          <a:p>
            <a:pPr marL="285750" indent="-285750" algn="ctr">
              <a:spcAft>
                <a:spcPts val="400"/>
              </a:spcAft>
              <a:buClr>
                <a:srgbClr val="47B05E"/>
              </a:buClr>
              <a:buSzPct val="70000"/>
              <a:buFont typeface="Arial" panose="020B0604020202020204" pitchFamily="34" charset="0"/>
              <a:buChar char="►"/>
            </a:pPr>
            <a:endParaRPr lang="ru-RU" sz="1100" dirty="0" smtClean="0">
              <a:solidFill>
                <a:schemeClr val="bg2"/>
              </a:solidFill>
              <a:latin typeface="+mj-lt"/>
            </a:endParaRPr>
          </a:p>
          <a:p>
            <a:pPr marL="285750" indent="-285750" algn="ctr">
              <a:spcAft>
                <a:spcPts val="400"/>
              </a:spcAft>
              <a:buClr>
                <a:srgbClr val="47B05E"/>
              </a:buClr>
              <a:buSzPct val="70000"/>
              <a:buFont typeface="Arial" panose="020B0604020202020204" pitchFamily="34" charset="0"/>
              <a:buChar char="►"/>
            </a:pPr>
            <a:endParaRPr lang="ru-RU" sz="1100" dirty="0">
              <a:solidFill>
                <a:schemeClr val="bg2"/>
              </a:solidFill>
              <a:latin typeface="+mj-lt"/>
            </a:endParaRPr>
          </a:p>
          <a:p>
            <a:pPr marL="171450" indent="-171450" algn="ctr">
              <a:lnSpc>
                <a:spcPct val="85000"/>
              </a:lnSpc>
              <a:spcAft>
                <a:spcPts val="600"/>
              </a:spcAft>
              <a:buClr>
                <a:srgbClr val="47B05E"/>
              </a:buClr>
              <a:buSzPct val="70000"/>
              <a:buFont typeface="Arial" panose="020B0604020202020204" pitchFamily="34" charset="0"/>
              <a:buChar char="•"/>
            </a:pPr>
            <a:endParaRPr lang="en-US" sz="1100" dirty="0" err="1">
              <a:solidFill>
                <a:schemeClr val="bg1"/>
              </a:solidFill>
              <a:latin typeface="+mj-lt"/>
            </a:endParaRP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3964E6A4-00C9-44C9-9778-ED3A92EFCE24}"/>
              </a:ext>
            </a:extLst>
          </p:cNvPr>
          <p:cNvCxnSpPr>
            <a:cxnSpLocks/>
          </p:cNvCxnSpPr>
          <p:nvPr/>
        </p:nvCxnSpPr>
        <p:spPr>
          <a:xfrm flipV="1">
            <a:off x="8534400" y="1374010"/>
            <a:ext cx="0" cy="5119331"/>
          </a:xfrm>
          <a:prstGeom prst="line">
            <a:avLst/>
          </a:prstGeom>
          <a:ln w="12700">
            <a:solidFill>
              <a:schemeClr val="bg1">
                <a:lumMod val="40000"/>
                <a:lumOff val="6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7EAA6B73-0204-47F4-BA6F-DB1189411C08}"/>
              </a:ext>
            </a:extLst>
          </p:cNvPr>
          <p:cNvSpPr txBox="1"/>
          <p:nvPr/>
        </p:nvSpPr>
        <p:spPr>
          <a:xfrm>
            <a:off x="889536" y="5612674"/>
            <a:ext cx="7396730" cy="109260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algn="ctr">
              <a:spcAft>
                <a:spcPts val="600"/>
              </a:spcAft>
              <a:buClr>
                <a:srgbClr val="144766"/>
              </a:buClr>
            </a:pPr>
            <a:r>
              <a:rPr lang="ru-RU" sz="1200" b="1" dirty="0">
                <a:solidFill>
                  <a:schemeClr val="bg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Действие тарифных льгот и нулевых ставок:</a:t>
            </a:r>
          </a:p>
          <a:p>
            <a:pPr marL="285750" indent="-285750">
              <a:buClr>
                <a:srgbClr val="47B05E"/>
              </a:buClr>
              <a:buSzPct val="70000"/>
              <a:buFont typeface="Arial" panose="020B0604020202020204" pitchFamily="34" charset="0"/>
              <a:buChar char="►"/>
            </a:pPr>
            <a:r>
              <a:rPr lang="ru-RU" sz="1200" b="1" dirty="0">
                <a:solidFill>
                  <a:schemeClr val="bg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с</a:t>
            </a:r>
            <a:r>
              <a:rPr lang="ru-RU" sz="1200" dirty="0">
                <a:solidFill>
                  <a:schemeClr val="bg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u="sng" dirty="0">
                <a:solidFill>
                  <a:schemeClr val="bg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28.03.2022</a:t>
            </a:r>
            <a:r>
              <a:rPr lang="ru-RU" sz="1200" dirty="0">
                <a:solidFill>
                  <a:schemeClr val="bg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 (ретроспективное действие) </a:t>
            </a:r>
            <a:r>
              <a:rPr lang="ru-RU" sz="1200" u="sng" dirty="0">
                <a:solidFill>
                  <a:schemeClr val="bg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или 08.05.2022</a:t>
            </a:r>
            <a:endParaRPr lang="ru-RU" sz="1200" dirty="0">
              <a:solidFill>
                <a:schemeClr val="bg1"/>
              </a:solidFill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Clr>
                <a:srgbClr val="47B05E"/>
              </a:buClr>
              <a:buSzPct val="70000"/>
              <a:buFont typeface="Arial" panose="020B0604020202020204" pitchFamily="34" charset="0"/>
              <a:buChar char="►"/>
            </a:pPr>
            <a:r>
              <a:rPr lang="ru-RU" sz="1200" b="1" dirty="0">
                <a:solidFill>
                  <a:schemeClr val="bg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до</a:t>
            </a:r>
            <a:r>
              <a:rPr lang="ru-RU" sz="1200" dirty="0">
                <a:solidFill>
                  <a:schemeClr val="bg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u="sng" dirty="0">
                <a:solidFill>
                  <a:schemeClr val="bg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30.09.2022</a:t>
            </a:r>
            <a:r>
              <a:rPr lang="ru-RU" sz="1200" u="sng" dirty="0" smtClean="0">
                <a:solidFill>
                  <a:schemeClr val="bg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  <a:p>
            <a:pPr marL="285750" indent="-285750">
              <a:buClr>
                <a:srgbClr val="47B05E"/>
              </a:buClr>
              <a:buSzPct val="70000"/>
              <a:buFont typeface="Arial" panose="020B0604020202020204" pitchFamily="34" charset="0"/>
              <a:buChar char="►"/>
            </a:pPr>
            <a:r>
              <a:rPr lang="ru-RU" sz="1200" kern="0" dirty="0">
                <a:solidFill>
                  <a:schemeClr val="bg2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Возможность возврата излишне уплаченных таможенных пошлин</a:t>
            </a:r>
          </a:p>
          <a:p>
            <a:pPr marL="285750" indent="-285750">
              <a:buClr>
                <a:srgbClr val="47B05E"/>
              </a:buClr>
              <a:buSzPct val="70000"/>
              <a:buFont typeface="Arial" panose="020B0604020202020204" pitchFamily="34" charset="0"/>
              <a:buChar char="►"/>
            </a:pPr>
            <a:endParaRPr lang="ru-RU" sz="1200" u="sng" dirty="0">
              <a:solidFill>
                <a:schemeClr val="bg1"/>
              </a:solidFill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32" name="Group 83">
            <a:extLst>
              <a:ext uri="{FF2B5EF4-FFF2-40B4-BE49-F238E27FC236}">
                <a16:creationId xmlns:a16="http://schemas.microsoft.com/office/drawing/2014/main" id="{0B7E69C2-3FED-441F-AF94-2C070985157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829449" y="5843410"/>
            <a:ext cx="413043" cy="385659"/>
            <a:chOff x="4490" y="3030"/>
            <a:chExt cx="724" cy="676"/>
          </a:xfrm>
        </p:grpSpPr>
        <p:sp>
          <p:nvSpPr>
            <p:cNvPr id="33" name="AutoShape 82">
              <a:extLst>
                <a:ext uri="{FF2B5EF4-FFF2-40B4-BE49-F238E27FC236}">
                  <a16:creationId xmlns:a16="http://schemas.microsoft.com/office/drawing/2014/main" id="{98B37A4E-D5A1-44D0-A86F-C929330A125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490" y="3030"/>
              <a:ext cx="724" cy="6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4" name="Freeform 84">
              <a:extLst>
                <a:ext uri="{FF2B5EF4-FFF2-40B4-BE49-F238E27FC236}">
                  <a16:creationId xmlns:a16="http://schemas.microsoft.com/office/drawing/2014/main" id="{BF9944D3-83E5-4307-8007-FC33CE6136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90" y="3172"/>
              <a:ext cx="724" cy="534"/>
            </a:xfrm>
            <a:custGeom>
              <a:avLst/>
              <a:gdLst>
                <a:gd name="T0" fmla="*/ 724 w 724"/>
                <a:gd name="T1" fmla="*/ 534 h 534"/>
                <a:gd name="T2" fmla="*/ 0 w 724"/>
                <a:gd name="T3" fmla="*/ 534 h 534"/>
                <a:gd name="T4" fmla="*/ 0 w 724"/>
                <a:gd name="T5" fmla="*/ 0 h 534"/>
                <a:gd name="T6" fmla="*/ 724 w 724"/>
                <a:gd name="T7" fmla="*/ 0 h 534"/>
                <a:gd name="T8" fmla="*/ 724 w 724"/>
                <a:gd name="T9" fmla="*/ 534 h 534"/>
                <a:gd name="T10" fmla="*/ 18 w 724"/>
                <a:gd name="T11" fmla="*/ 516 h 534"/>
                <a:gd name="T12" fmla="*/ 706 w 724"/>
                <a:gd name="T13" fmla="*/ 516 h 534"/>
                <a:gd name="T14" fmla="*/ 706 w 724"/>
                <a:gd name="T15" fmla="*/ 18 h 534"/>
                <a:gd name="T16" fmla="*/ 18 w 724"/>
                <a:gd name="T17" fmla="*/ 18 h 534"/>
                <a:gd name="T18" fmla="*/ 18 w 724"/>
                <a:gd name="T19" fmla="*/ 516 h 5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4" h="534">
                  <a:moveTo>
                    <a:pt x="724" y="534"/>
                  </a:moveTo>
                  <a:lnTo>
                    <a:pt x="0" y="534"/>
                  </a:lnTo>
                  <a:lnTo>
                    <a:pt x="0" y="0"/>
                  </a:lnTo>
                  <a:lnTo>
                    <a:pt x="724" y="0"/>
                  </a:lnTo>
                  <a:lnTo>
                    <a:pt x="724" y="534"/>
                  </a:lnTo>
                  <a:close/>
                  <a:moveTo>
                    <a:pt x="18" y="516"/>
                  </a:moveTo>
                  <a:lnTo>
                    <a:pt x="706" y="516"/>
                  </a:lnTo>
                  <a:lnTo>
                    <a:pt x="706" y="18"/>
                  </a:lnTo>
                  <a:lnTo>
                    <a:pt x="18" y="18"/>
                  </a:lnTo>
                  <a:lnTo>
                    <a:pt x="18" y="516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5" name="Freeform 85">
              <a:extLst>
                <a:ext uri="{FF2B5EF4-FFF2-40B4-BE49-F238E27FC236}">
                  <a16:creationId xmlns:a16="http://schemas.microsoft.com/office/drawing/2014/main" id="{2F19C816-9AEF-42F0-9178-B09BA88761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92" y="3312"/>
              <a:ext cx="72" cy="70"/>
            </a:xfrm>
            <a:custGeom>
              <a:avLst/>
              <a:gdLst>
                <a:gd name="T0" fmla="*/ 72 w 72"/>
                <a:gd name="T1" fmla="*/ 70 h 70"/>
                <a:gd name="T2" fmla="*/ 0 w 72"/>
                <a:gd name="T3" fmla="*/ 70 h 70"/>
                <a:gd name="T4" fmla="*/ 0 w 72"/>
                <a:gd name="T5" fmla="*/ 0 h 70"/>
                <a:gd name="T6" fmla="*/ 72 w 72"/>
                <a:gd name="T7" fmla="*/ 0 h 70"/>
                <a:gd name="T8" fmla="*/ 72 w 72"/>
                <a:gd name="T9" fmla="*/ 70 h 70"/>
                <a:gd name="T10" fmla="*/ 18 w 72"/>
                <a:gd name="T11" fmla="*/ 52 h 70"/>
                <a:gd name="T12" fmla="*/ 54 w 72"/>
                <a:gd name="T13" fmla="*/ 52 h 70"/>
                <a:gd name="T14" fmla="*/ 54 w 72"/>
                <a:gd name="T15" fmla="*/ 18 h 70"/>
                <a:gd name="T16" fmla="*/ 18 w 72"/>
                <a:gd name="T17" fmla="*/ 18 h 70"/>
                <a:gd name="T18" fmla="*/ 18 w 72"/>
                <a:gd name="T19" fmla="*/ 5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0">
                  <a:moveTo>
                    <a:pt x="72" y="70"/>
                  </a:moveTo>
                  <a:lnTo>
                    <a:pt x="0" y="70"/>
                  </a:lnTo>
                  <a:lnTo>
                    <a:pt x="0" y="0"/>
                  </a:lnTo>
                  <a:lnTo>
                    <a:pt x="72" y="0"/>
                  </a:lnTo>
                  <a:lnTo>
                    <a:pt x="72" y="70"/>
                  </a:lnTo>
                  <a:close/>
                  <a:moveTo>
                    <a:pt x="18" y="52"/>
                  </a:moveTo>
                  <a:lnTo>
                    <a:pt x="54" y="52"/>
                  </a:lnTo>
                  <a:lnTo>
                    <a:pt x="54" y="18"/>
                  </a:lnTo>
                  <a:lnTo>
                    <a:pt x="18" y="18"/>
                  </a:lnTo>
                  <a:lnTo>
                    <a:pt x="18" y="52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6" name="Freeform 86">
              <a:extLst>
                <a:ext uri="{FF2B5EF4-FFF2-40B4-BE49-F238E27FC236}">
                  <a16:creationId xmlns:a16="http://schemas.microsoft.com/office/drawing/2014/main" id="{29F10713-756D-4EBC-8C43-A582A8B752C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00" y="3312"/>
              <a:ext cx="72" cy="70"/>
            </a:xfrm>
            <a:custGeom>
              <a:avLst/>
              <a:gdLst>
                <a:gd name="T0" fmla="*/ 72 w 72"/>
                <a:gd name="T1" fmla="*/ 70 h 70"/>
                <a:gd name="T2" fmla="*/ 0 w 72"/>
                <a:gd name="T3" fmla="*/ 70 h 70"/>
                <a:gd name="T4" fmla="*/ 0 w 72"/>
                <a:gd name="T5" fmla="*/ 0 h 70"/>
                <a:gd name="T6" fmla="*/ 72 w 72"/>
                <a:gd name="T7" fmla="*/ 0 h 70"/>
                <a:gd name="T8" fmla="*/ 72 w 72"/>
                <a:gd name="T9" fmla="*/ 70 h 70"/>
                <a:gd name="T10" fmla="*/ 18 w 72"/>
                <a:gd name="T11" fmla="*/ 52 h 70"/>
                <a:gd name="T12" fmla="*/ 54 w 72"/>
                <a:gd name="T13" fmla="*/ 52 h 70"/>
                <a:gd name="T14" fmla="*/ 54 w 72"/>
                <a:gd name="T15" fmla="*/ 18 h 70"/>
                <a:gd name="T16" fmla="*/ 18 w 72"/>
                <a:gd name="T17" fmla="*/ 18 h 70"/>
                <a:gd name="T18" fmla="*/ 18 w 72"/>
                <a:gd name="T19" fmla="*/ 5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0">
                  <a:moveTo>
                    <a:pt x="72" y="70"/>
                  </a:moveTo>
                  <a:lnTo>
                    <a:pt x="0" y="70"/>
                  </a:lnTo>
                  <a:lnTo>
                    <a:pt x="0" y="0"/>
                  </a:lnTo>
                  <a:lnTo>
                    <a:pt x="72" y="0"/>
                  </a:lnTo>
                  <a:lnTo>
                    <a:pt x="72" y="70"/>
                  </a:lnTo>
                  <a:close/>
                  <a:moveTo>
                    <a:pt x="18" y="52"/>
                  </a:moveTo>
                  <a:lnTo>
                    <a:pt x="54" y="52"/>
                  </a:lnTo>
                  <a:lnTo>
                    <a:pt x="54" y="18"/>
                  </a:lnTo>
                  <a:lnTo>
                    <a:pt x="18" y="18"/>
                  </a:lnTo>
                  <a:lnTo>
                    <a:pt x="18" y="52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7" name="Freeform 87">
              <a:extLst>
                <a:ext uri="{FF2B5EF4-FFF2-40B4-BE49-F238E27FC236}">
                  <a16:creationId xmlns:a16="http://schemas.microsoft.com/office/drawing/2014/main" id="{F3068A21-BE29-4124-8465-02F9A911D6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08" y="3312"/>
              <a:ext cx="72" cy="70"/>
            </a:xfrm>
            <a:custGeom>
              <a:avLst/>
              <a:gdLst>
                <a:gd name="T0" fmla="*/ 72 w 72"/>
                <a:gd name="T1" fmla="*/ 70 h 70"/>
                <a:gd name="T2" fmla="*/ 0 w 72"/>
                <a:gd name="T3" fmla="*/ 70 h 70"/>
                <a:gd name="T4" fmla="*/ 0 w 72"/>
                <a:gd name="T5" fmla="*/ 0 h 70"/>
                <a:gd name="T6" fmla="*/ 72 w 72"/>
                <a:gd name="T7" fmla="*/ 0 h 70"/>
                <a:gd name="T8" fmla="*/ 72 w 72"/>
                <a:gd name="T9" fmla="*/ 70 h 70"/>
                <a:gd name="T10" fmla="*/ 18 w 72"/>
                <a:gd name="T11" fmla="*/ 52 h 70"/>
                <a:gd name="T12" fmla="*/ 54 w 72"/>
                <a:gd name="T13" fmla="*/ 52 h 70"/>
                <a:gd name="T14" fmla="*/ 54 w 72"/>
                <a:gd name="T15" fmla="*/ 18 h 70"/>
                <a:gd name="T16" fmla="*/ 18 w 72"/>
                <a:gd name="T17" fmla="*/ 18 h 70"/>
                <a:gd name="T18" fmla="*/ 18 w 72"/>
                <a:gd name="T19" fmla="*/ 5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0">
                  <a:moveTo>
                    <a:pt x="72" y="70"/>
                  </a:moveTo>
                  <a:lnTo>
                    <a:pt x="0" y="70"/>
                  </a:lnTo>
                  <a:lnTo>
                    <a:pt x="0" y="0"/>
                  </a:lnTo>
                  <a:lnTo>
                    <a:pt x="72" y="0"/>
                  </a:lnTo>
                  <a:lnTo>
                    <a:pt x="72" y="70"/>
                  </a:lnTo>
                  <a:close/>
                  <a:moveTo>
                    <a:pt x="18" y="52"/>
                  </a:moveTo>
                  <a:lnTo>
                    <a:pt x="54" y="52"/>
                  </a:lnTo>
                  <a:lnTo>
                    <a:pt x="54" y="18"/>
                  </a:lnTo>
                  <a:lnTo>
                    <a:pt x="18" y="18"/>
                  </a:lnTo>
                  <a:lnTo>
                    <a:pt x="18" y="52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8" name="Freeform 88">
              <a:extLst>
                <a:ext uri="{FF2B5EF4-FFF2-40B4-BE49-F238E27FC236}">
                  <a16:creationId xmlns:a16="http://schemas.microsoft.com/office/drawing/2014/main" id="{9D6D6CEC-E20D-4F49-953C-ED96B3F849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16" y="3312"/>
              <a:ext cx="72" cy="70"/>
            </a:xfrm>
            <a:custGeom>
              <a:avLst/>
              <a:gdLst>
                <a:gd name="T0" fmla="*/ 72 w 72"/>
                <a:gd name="T1" fmla="*/ 70 h 70"/>
                <a:gd name="T2" fmla="*/ 0 w 72"/>
                <a:gd name="T3" fmla="*/ 70 h 70"/>
                <a:gd name="T4" fmla="*/ 0 w 72"/>
                <a:gd name="T5" fmla="*/ 0 h 70"/>
                <a:gd name="T6" fmla="*/ 72 w 72"/>
                <a:gd name="T7" fmla="*/ 0 h 70"/>
                <a:gd name="T8" fmla="*/ 72 w 72"/>
                <a:gd name="T9" fmla="*/ 70 h 70"/>
                <a:gd name="T10" fmla="*/ 18 w 72"/>
                <a:gd name="T11" fmla="*/ 52 h 70"/>
                <a:gd name="T12" fmla="*/ 54 w 72"/>
                <a:gd name="T13" fmla="*/ 52 h 70"/>
                <a:gd name="T14" fmla="*/ 54 w 72"/>
                <a:gd name="T15" fmla="*/ 18 h 70"/>
                <a:gd name="T16" fmla="*/ 18 w 72"/>
                <a:gd name="T17" fmla="*/ 18 h 70"/>
                <a:gd name="T18" fmla="*/ 18 w 72"/>
                <a:gd name="T19" fmla="*/ 5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0">
                  <a:moveTo>
                    <a:pt x="72" y="70"/>
                  </a:moveTo>
                  <a:lnTo>
                    <a:pt x="0" y="70"/>
                  </a:lnTo>
                  <a:lnTo>
                    <a:pt x="0" y="0"/>
                  </a:lnTo>
                  <a:lnTo>
                    <a:pt x="72" y="0"/>
                  </a:lnTo>
                  <a:lnTo>
                    <a:pt x="72" y="70"/>
                  </a:lnTo>
                  <a:close/>
                  <a:moveTo>
                    <a:pt x="18" y="52"/>
                  </a:moveTo>
                  <a:lnTo>
                    <a:pt x="54" y="52"/>
                  </a:lnTo>
                  <a:lnTo>
                    <a:pt x="54" y="18"/>
                  </a:lnTo>
                  <a:lnTo>
                    <a:pt x="18" y="18"/>
                  </a:lnTo>
                  <a:lnTo>
                    <a:pt x="18" y="52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9" name="Freeform 89">
              <a:extLst>
                <a:ext uri="{FF2B5EF4-FFF2-40B4-BE49-F238E27FC236}">
                  <a16:creationId xmlns:a16="http://schemas.microsoft.com/office/drawing/2014/main" id="{3347E3F7-A91E-4FE7-A921-59414132D1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24" y="3312"/>
              <a:ext cx="70" cy="70"/>
            </a:xfrm>
            <a:custGeom>
              <a:avLst/>
              <a:gdLst>
                <a:gd name="T0" fmla="*/ 70 w 70"/>
                <a:gd name="T1" fmla="*/ 70 h 70"/>
                <a:gd name="T2" fmla="*/ 0 w 70"/>
                <a:gd name="T3" fmla="*/ 70 h 70"/>
                <a:gd name="T4" fmla="*/ 0 w 70"/>
                <a:gd name="T5" fmla="*/ 0 h 70"/>
                <a:gd name="T6" fmla="*/ 70 w 70"/>
                <a:gd name="T7" fmla="*/ 0 h 70"/>
                <a:gd name="T8" fmla="*/ 70 w 70"/>
                <a:gd name="T9" fmla="*/ 70 h 70"/>
                <a:gd name="T10" fmla="*/ 18 w 70"/>
                <a:gd name="T11" fmla="*/ 52 h 70"/>
                <a:gd name="T12" fmla="*/ 52 w 70"/>
                <a:gd name="T13" fmla="*/ 52 h 70"/>
                <a:gd name="T14" fmla="*/ 52 w 70"/>
                <a:gd name="T15" fmla="*/ 18 h 70"/>
                <a:gd name="T16" fmla="*/ 18 w 70"/>
                <a:gd name="T17" fmla="*/ 18 h 70"/>
                <a:gd name="T18" fmla="*/ 18 w 70"/>
                <a:gd name="T19" fmla="*/ 5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0" h="70">
                  <a:moveTo>
                    <a:pt x="70" y="70"/>
                  </a:moveTo>
                  <a:lnTo>
                    <a:pt x="0" y="70"/>
                  </a:lnTo>
                  <a:lnTo>
                    <a:pt x="0" y="0"/>
                  </a:lnTo>
                  <a:lnTo>
                    <a:pt x="70" y="0"/>
                  </a:lnTo>
                  <a:lnTo>
                    <a:pt x="70" y="70"/>
                  </a:lnTo>
                  <a:close/>
                  <a:moveTo>
                    <a:pt x="18" y="52"/>
                  </a:moveTo>
                  <a:lnTo>
                    <a:pt x="52" y="52"/>
                  </a:lnTo>
                  <a:lnTo>
                    <a:pt x="52" y="18"/>
                  </a:lnTo>
                  <a:lnTo>
                    <a:pt x="18" y="18"/>
                  </a:lnTo>
                  <a:lnTo>
                    <a:pt x="18" y="52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0" name="Freeform 90">
              <a:extLst>
                <a:ext uri="{FF2B5EF4-FFF2-40B4-BE49-F238E27FC236}">
                  <a16:creationId xmlns:a16="http://schemas.microsoft.com/office/drawing/2014/main" id="{1AED54CC-EE0A-4621-A426-A92E5DE4F3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32" y="3312"/>
              <a:ext cx="70" cy="70"/>
            </a:xfrm>
            <a:custGeom>
              <a:avLst/>
              <a:gdLst>
                <a:gd name="T0" fmla="*/ 70 w 70"/>
                <a:gd name="T1" fmla="*/ 70 h 70"/>
                <a:gd name="T2" fmla="*/ 0 w 70"/>
                <a:gd name="T3" fmla="*/ 70 h 70"/>
                <a:gd name="T4" fmla="*/ 0 w 70"/>
                <a:gd name="T5" fmla="*/ 0 h 70"/>
                <a:gd name="T6" fmla="*/ 70 w 70"/>
                <a:gd name="T7" fmla="*/ 0 h 70"/>
                <a:gd name="T8" fmla="*/ 70 w 70"/>
                <a:gd name="T9" fmla="*/ 70 h 70"/>
                <a:gd name="T10" fmla="*/ 18 w 70"/>
                <a:gd name="T11" fmla="*/ 52 h 70"/>
                <a:gd name="T12" fmla="*/ 52 w 70"/>
                <a:gd name="T13" fmla="*/ 52 h 70"/>
                <a:gd name="T14" fmla="*/ 52 w 70"/>
                <a:gd name="T15" fmla="*/ 18 h 70"/>
                <a:gd name="T16" fmla="*/ 18 w 70"/>
                <a:gd name="T17" fmla="*/ 18 h 70"/>
                <a:gd name="T18" fmla="*/ 18 w 70"/>
                <a:gd name="T19" fmla="*/ 5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0" h="70">
                  <a:moveTo>
                    <a:pt x="70" y="70"/>
                  </a:moveTo>
                  <a:lnTo>
                    <a:pt x="0" y="70"/>
                  </a:lnTo>
                  <a:lnTo>
                    <a:pt x="0" y="0"/>
                  </a:lnTo>
                  <a:lnTo>
                    <a:pt x="70" y="0"/>
                  </a:lnTo>
                  <a:lnTo>
                    <a:pt x="70" y="70"/>
                  </a:lnTo>
                  <a:close/>
                  <a:moveTo>
                    <a:pt x="18" y="52"/>
                  </a:moveTo>
                  <a:lnTo>
                    <a:pt x="52" y="52"/>
                  </a:lnTo>
                  <a:lnTo>
                    <a:pt x="52" y="18"/>
                  </a:lnTo>
                  <a:lnTo>
                    <a:pt x="18" y="18"/>
                  </a:lnTo>
                  <a:lnTo>
                    <a:pt x="18" y="52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1" name="Freeform 91">
              <a:extLst>
                <a:ext uri="{FF2B5EF4-FFF2-40B4-BE49-F238E27FC236}">
                  <a16:creationId xmlns:a16="http://schemas.microsoft.com/office/drawing/2014/main" id="{9472AE93-216C-427B-832D-6D93607892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40" y="3312"/>
              <a:ext cx="70" cy="70"/>
            </a:xfrm>
            <a:custGeom>
              <a:avLst/>
              <a:gdLst>
                <a:gd name="T0" fmla="*/ 70 w 70"/>
                <a:gd name="T1" fmla="*/ 70 h 70"/>
                <a:gd name="T2" fmla="*/ 0 w 70"/>
                <a:gd name="T3" fmla="*/ 70 h 70"/>
                <a:gd name="T4" fmla="*/ 0 w 70"/>
                <a:gd name="T5" fmla="*/ 0 h 70"/>
                <a:gd name="T6" fmla="*/ 70 w 70"/>
                <a:gd name="T7" fmla="*/ 0 h 70"/>
                <a:gd name="T8" fmla="*/ 70 w 70"/>
                <a:gd name="T9" fmla="*/ 70 h 70"/>
                <a:gd name="T10" fmla="*/ 18 w 70"/>
                <a:gd name="T11" fmla="*/ 52 h 70"/>
                <a:gd name="T12" fmla="*/ 52 w 70"/>
                <a:gd name="T13" fmla="*/ 52 h 70"/>
                <a:gd name="T14" fmla="*/ 52 w 70"/>
                <a:gd name="T15" fmla="*/ 18 h 70"/>
                <a:gd name="T16" fmla="*/ 18 w 70"/>
                <a:gd name="T17" fmla="*/ 18 h 70"/>
                <a:gd name="T18" fmla="*/ 18 w 70"/>
                <a:gd name="T19" fmla="*/ 5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0" h="70">
                  <a:moveTo>
                    <a:pt x="70" y="70"/>
                  </a:moveTo>
                  <a:lnTo>
                    <a:pt x="0" y="70"/>
                  </a:lnTo>
                  <a:lnTo>
                    <a:pt x="0" y="0"/>
                  </a:lnTo>
                  <a:lnTo>
                    <a:pt x="70" y="0"/>
                  </a:lnTo>
                  <a:lnTo>
                    <a:pt x="70" y="70"/>
                  </a:lnTo>
                  <a:close/>
                  <a:moveTo>
                    <a:pt x="18" y="52"/>
                  </a:moveTo>
                  <a:lnTo>
                    <a:pt x="52" y="52"/>
                  </a:lnTo>
                  <a:lnTo>
                    <a:pt x="52" y="18"/>
                  </a:lnTo>
                  <a:lnTo>
                    <a:pt x="18" y="18"/>
                  </a:lnTo>
                  <a:lnTo>
                    <a:pt x="18" y="52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2" name="Freeform 92">
              <a:extLst>
                <a:ext uri="{FF2B5EF4-FFF2-40B4-BE49-F238E27FC236}">
                  <a16:creationId xmlns:a16="http://schemas.microsoft.com/office/drawing/2014/main" id="{D8119E86-D73A-4115-A2FE-C27A823472C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92" y="3400"/>
              <a:ext cx="72" cy="72"/>
            </a:xfrm>
            <a:custGeom>
              <a:avLst/>
              <a:gdLst>
                <a:gd name="T0" fmla="*/ 72 w 72"/>
                <a:gd name="T1" fmla="*/ 72 h 72"/>
                <a:gd name="T2" fmla="*/ 0 w 72"/>
                <a:gd name="T3" fmla="*/ 72 h 72"/>
                <a:gd name="T4" fmla="*/ 0 w 72"/>
                <a:gd name="T5" fmla="*/ 0 h 72"/>
                <a:gd name="T6" fmla="*/ 72 w 72"/>
                <a:gd name="T7" fmla="*/ 0 h 72"/>
                <a:gd name="T8" fmla="*/ 72 w 72"/>
                <a:gd name="T9" fmla="*/ 72 h 72"/>
                <a:gd name="T10" fmla="*/ 18 w 72"/>
                <a:gd name="T11" fmla="*/ 54 h 72"/>
                <a:gd name="T12" fmla="*/ 54 w 72"/>
                <a:gd name="T13" fmla="*/ 54 h 72"/>
                <a:gd name="T14" fmla="*/ 54 w 72"/>
                <a:gd name="T15" fmla="*/ 18 h 72"/>
                <a:gd name="T16" fmla="*/ 18 w 72"/>
                <a:gd name="T17" fmla="*/ 18 h 72"/>
                <a:gd name="T18" fmla="*/ 18 w 72"/>
                <a:gd name="T19" fmla="*/ 5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2">
                  <a:moveTo>
                    <a:pt x="72" y="72"/>
                  </a:moveTo>
                  <a:lnTo>
                    <a:pt x="0" y="72"/>
                  </a:lnTo>
                  <a:lnTo>
                    <a:pt x="0" y="0"/>
                  </a:lnTo>
                  <a:lnTo>
                    <a:pt x="72" y="0"/>
                  </a:lnTo>
                  <a:lnTo>
                    <a:pt x="72" y="72"/>
                  </a:lnTo>
                  <a:close/>
                  <a:moveTo>
                    <a:pt x="18" y="54"/>
                  </a:moveTo>
                  <a:lnTo>
                    <a:pt x="54" y="54"/>
                  </a:lnTo>
                  <a:lnTo>
                    <a:pt x="54" y="18"/>
                  </a:lnTo>
                  <a:lnTo>
                    <a:pt x="18" y="18"/>
                  </a:lnTo>
                  <a:lnTo>
                    <a:pt x="18" y="54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3" name="Freeform 93">
              <a:extLst>
                <a:ext uri="{FF2B5EF4-FFF2-40B4-BE49-F238E27FC236}">
                  <a16:creationId xmlns:a16="http://schemas.microsoft.com/office/drawing/2014/main" id="{C0388638-C824-403D-AD01-0D7A36460D2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00" y="3400"/>
              <a:ext cx="72" cy="72"/>
            </a:xfrm>
            <a:custGeom>
              <a:avLst/>
              <a:gdLst>
                <a:gd name="T0" fmla="*/ 72 w 72"/>
                <a:gd name="T1" fmla="*/ 72 h 72"/>
                <a:gd name="T2" fmla="*/ 0 w 72"/>
                <a:gd name="T3" fmla="*/ 72 h 72"/>
                <a:gd name="T4" fmla="*/ 0 w 72"/>
                <a:gd name="T5" fmla="*/ 0 h 72"/>
                <a:gd name="T6" fmla="*/ 72 w 72"/>
                <a:gd name="T7" fmla="*/ 0 h 72"/>
                <a:gd name="T8" fmla="*/ 72 w 72"/>
                <a:gd name="T9" fmla="*/ 72 h 72"/>
                <a:gd name="T10" fmla="*/ 18 w 72"/>
                <a:gd name="T11" fmla="*/ 54 h 72"/>
                <a:gd name="T12" fmla="*/ 54 w 72"/>
                <a:gd name="T13" fmla="*/ 54 h 72"/>
                <a:gd name="T14" fmla="*/ 54 w 72"/>
                <a:gd name="T15" fmla="*/ 18 h 72"/>
                <a:gd name="T16" fmla="*/ 18 w 72"/>
                <a:gd name="T17" fmla="*/ 18 h 72"/>
                <a:gd name="T18" fmla="*/ 18 w 72"/>
                <a:gd name="T19" fmla="*/ 5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2">
                  <a:moveTo>
                    <a:pt x="72" y="72"/>
                  </a:moveTo>
                  <a:lnTo>
                    <a:pt x="0" y="72"/>
                  </a:lnTo>
                  <a:lnTo>
                    <a:pt x="0" y="0"/>
                  </a:lnTo>
                  <a:lnTo>
                    <a:pt x="72" y="0"/>
                  </a:lnTo>
                  <a:lnTo>
                    <a:pt x="72" y="72"/>
                  </a:lnTo>
                  <a:close/>
                  <a:moveTo>
                    <a:pt x="18" y="54"/>
                  </a:moveTo>
                  <a:lnTo>
                    <a:pt x="54" y="54"/>
                  </a:lnTo>
                  <a:lnTo>
                    <a:pt x="54" y="18"/>
                  </a:lnTo>
                  <a:lnTo>
                    <a:pt x="18" y="18"/>
                  </a:lnTo>
                  <a:lnTo>
                    <a:pt x="18" y="54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4" name="Freeform 94">
              <a:extLst>
                <a:ext uri="{FF2B5EF4-FFF2-40B4-BE49-F238E27FC236}">
                  <a16:creationId xmlns:a16="http://schemas.microsoft.com/office/drawing/2014/main" id="{7BBB9362-B554-4038-8262-D82F0A6630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08" y="3402"/>
              <a:ext cx="72" cy="70"/>
            </a:xfrm>
            <a:custGeom>
              <a:avLst/>
              <a:gdLst>
                <a:gd name="T0" fmla="*/ 72 w 72"/>
                <a:gd name="T1" fmla="*/ 70 h 70"/>
                <a:gd name="T2" fmla="*/ 0 w 72"/>
                <a:gd name="T3" fmla="*/ 70 h 70"/>
                <a:gd name="T4" fmla="*/ 0 w 72"/>
                <a:gd name="T5" fmla="*/ 0 h 70"/>
                <a:gd name="T6" fmla="*/ 72 w 72"/>
                <a:gd name="T7" fmla="*/ 0 h 70"/>
                <a:gd name="T8" fmla="*/ 72 w 72"/>
                <a:gd name="T9" fmla="*/ 70 h 70"/>
                <a:gd name="T10" fmla="*/ 18 w 72"/>
                <a:gd name="T11" fmla="*/ 52 h 70"/>
                <a:gd name="T12" fmla="*/ 54 w 72"/>
                <a:gd name="T13" fmla="*/ 52 h 70"/>
                <a:gd name="T14" fmla="*/ 54 w 72"/>
                <a:gd name="T15" fmla="*/ 18 h 70"/>
                <a:gd name="T16" fmla="*/ 18 w 72"/>
                <a:gd name="T17" fmla="*/ 18 h 70"/>
                <a:gd name="T18" fmla="*/ 18 w 72"/>
                <a:gd name="T19" fmla="*/ 5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0">
                  <a:moveTo>
                    <a:pt x="72" y="70"/>
                  </a:moveTo>
                  <a:lnTo>
                    <a:pt x="0" y="70"/>
                  </a:lnTo>
                  <a:lnTo>
                    <a:pt x="0" y="0"/>
                  </a:lnTo>
                  <a:lnTo>
                    <a:pt x="72" y="0"/>
                  </a:lnTo>
                  <a:lnTo>
                    <a:pt x="72" y="70"/>
                  </a:lnTo>
                  <a:close/>
                  <a:moveTo>
                    <a:pt x="18" y="52"/>
                  </a:moveTo>
                  <a:lnTo>
                    <a:pt x="54" y="52"/>
                  </a:lnTo>
                  <a:lnTo>
                    <a:pt x="54" y="18"/>
                  </a:lnTo>
                  <a:lnTo>
                    <a:pt x="18" y="18"/>
                  </a:lnTo>
                  <a:lnTo>
                    <a:pt x="18" y="52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5" name="Freeform 95">
              <a:extLst>
                <a:ext uri="{FF2B5EF4-FFF2-40B4-BE49-F238E27FC236}">
                  <a16:creationId xmlns:a16="http://schemas.microsoft.com/office/drawing/2014/main" id="{A4D2626E-9BA1-4FDD-81BD-754E8D3041E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16" y="3402"/>
              <a:ext cx="72" cy="70"/>
            </a:xfrm>
            <a:custGeom>
              <a:avLst/>
              <a:gdLst>
                <a:gd name="T0" fmla="*/ 72 w 72"/>
                <a:gd name="T1" fmla="*/ 70 h 70"/>
                <a:gd name="T2" fmla="*/ 0 w 72"/>
                <a:gd name="T3" fmla="*/ 70 h 70"/>
                <a:gd name="T4" fmla="*/ 0 w 72"/>
                <a:gd name="T5" fmla="*/ 0 h 70"/>
                <a:gd name="T6" fmla="*/ 72 w 72"/>
                <a:gd name="T7" fmla="*/ 0 h 70"/>
                <a:gd name="T8" fmla="*/ 72 w 72"/>
                <a:gd name="T9" fmla="*/ 70 h 70"/>
                <a:gd name="T10" fmla="*/ 18 w 72"/>
                <a:gd name="T11" fmla="*/ 52 h 70"/>
                <a:gd name="T12" fmla="*/ 54 w 72"/>
                <a:gd name="T13" fmla="*/ 52 h 70"/>
                <a:gd name="T14" fmla="*/ 54 w 72"/>
                <a:gd name="T15" fmla="*/ 18 h 70"/>
                <a:gd name="T16" fmla="*/ 18 w 72"/>
                <a:gd name="T17" fmla="*/ 18 h 70"/>
                <a:gd name="T18" fmla="*/ 18 w 72"/>
                <a:gd name="T19" fmla="*/ 5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0">
                  <a:moveTo>
                    <a:pt x="72" y="70"/>
                  </a:moveTo>
                  <a:lnTo>
                    <a:pt x="0" y="70"/>
                  </a:lnTo>
                  <a:lnTo>
                    <a:pt x="0" y="0"/>
                  </a:lnTo>
                  <a:lnTo>
                    <a:pt x="72" y="0"/>
                  </a:lnTo>
                  <a:lnTo>
                    <a:pt x="72" y="70"/>
                  </a:lnTo>
                  <a:close/>
                  <a:moveTo>
                    <a:pt x="18" y="52"/>
                  </a:moveTo>
                  <a:lnTo>
                    <a:pt x="54" y="52"/>
                  </a:lnTo>
                  <a:lnTo>
                    <a:pt x="54" y="18"/>
                  </a:lnTo>
                  <a:lnTo>
                    <a:pt x="18" y="18"/>
                  </a:lnTo>
                  <a:lnTo>
                    <a:pt x="18" y="52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6" name="Freeform 96">
              <a:extLst>
                <a:ext uri="{FF2B5EF4-FFF2-40B4-BE49-F238E27FC236}">
                  <a16:creationId xmlns:a16="http://schemas.microsoft.com/office/drawing/2014/main" id="{74993499-F72D-4320-B5B4-83FF99E9B58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24" y="3402"/>
              <a:ext cx="70" cy="70"/>
            </a:xfrm>
            <a:custGeom>
              <a:avLst/>
              <a:gdLst>
                <a:gd name="T0" fmla="*/ 70 w 70"/>
                <a:gd name="T1" fmla="*/ 70 h 70"/>
                <a:gd name="T2" fmla="*/ 0 w 70"/>
                <a:gd name="T3" fmla="*/ 70 h 70"/>
                <a:gd name="T4" fmla="*/ 0 w 70"/>
                <a:gd name="T5" fmla="*/ 0 h 70"/>
                <a:gd name="T6" fmla="*/ 70 w 70"/>
                <a:gd name="T7" fmla="*/ 0 h 70"/>
                <a:gd name="T8" fmla="*/ 70 w 70"/>
                <a:gd name="T9" fmla="*/ 70 h 70"/>
                <a:gd name="T10" fmla="*/ 18 w 70"/>
                <a:gd name="T11" fmla="*/ 52 h 70"/>
                <a:gd name="T12" fmla="*/ 52 w 70"/>
                <a:gd name="T13" fmla="*/ 52 h 70"/>
                <a:gd name="T14" fmla="*/ 52 w 70"/>
                <a:gd name="T15" fmla="*/ 18 h 70"/>
                <a:gd name="T16" fmla="*/ 18 w 70"/>
                <a:gd name="T17" fmla="*/ 18 h 70"/>
                <a:gd name="T18" fmla="*/ 18 w 70"/>
                <a:gd name="T19" fmla="*/ 5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0" h="70">
                  <a:moveTo>
                    <a:pt x="70" y="70"/>
                  </a:moveTo>
                  <a:lnTo>
                    <a:pt x="0" y="70"/>
                  </a:lnTo>
                  <a:lnTo>
                    <a:pt x="0" y="0"/>
                  </a:lnTo>
                  <a:lnTo>
                    <a:pt x="70" y="0"/>
                  </a:lnTo>
                  <a:lnTo>
                    <a:pt x="70" y="70"/>
                  </a:lnTo>
                  <a:close/>
                  <a:moveTo>
                    <a:pt x="18" y="52"/>
                  </a:moveTo>
                  <a:lnTo>
                    <a:pt x="52" y="52"/>
                  </a:lnTo>
                  <a:lnTo>
                    <a:pt x="52" y="18"/>
                  </a:lnTo>
                  <a:lnTo>
                    <a:pt x="18" y="18"/>
                  </a:lnTo>
                  <a:lnTo>
                    <a:pt x="18" y="52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7" name="Freeform 97">
              <a:extLst>
                <a:ext uri="{FF2B5EF4-FFF2-40B4-BE49-F238E27FC236}">
                  <a16:creationId xmlns:a16="http://schemas.microsoft.com/office/drawing/2014/main" id="{B291F6E3-7E36-468C-A98E-76458CD330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32" y="3402"/>
              <a:ext cx="70" cy="70"/>
            </a:xfrm>
            <a:custGeom>
              <a:avLst/>
              <a:gdLst>
                <a:gd name="T0" fmla="*/ 70 w 70"/>
                <a:gd name="T1" fmla="*/ 70 h 70"/>
                <a:gd name="T2" fmla="*/ 0 w 70"/>
                <a:gd name="T3" fmla="*/ 70 h 70"/>
                <a:gd name="T4" fmla="*/ 0 w 70"/>
                <a:gd name="T5" fmla="*/ 0 h 70"/>
                <a:gd name="T6" fmla="*/ 70 w 70"/>
                <a:gd name="T7" fmla="*/ 0 h 70"/>
                <a:gd name="T8" fmla="*/ 70 w 70"/>
                <a:gd name="T9" fmla="*/ 70 h 70"/>
                <a:gd name="T10" fmla="*/ 18 w 70"/>
                <a:gd name="T11" fmla="*/ 52 h 70"/>
                <a:gd name="T12" fmla="*/ 52 w 70"/>
                <a:gd name="T13" fmla="*/ 52 h 70"/>
                <a:gd name="T14" fmla="*/ 52 w 70"/>
                <a:gd name="T15" fmla="*/ 18 h 70"/>
                <a:gd name="T16" fmla="*/ 18 w 70"/>
                <a:gd name="T17" fmla="*/ 18 h 70"/>
                <a:gd name="T18" fmla="*/ 18 w 70"/>
                <a:gd name="T19" fmla="*/ 5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0" h="70">
                  <a:moveTo>
                    <a:pt x="70" y="70"/>
                  </a:moveTo>
                  <a:lnTo>
                    <a:pt x="0" y="70"/>
                  </a:lnTo>
                  <a:lnTo>
                    <a:pt x="0" y="0"/>
                  </a:lnTo>
                  <a:lnTo>
                    <a:pt x="70" y="0"/>
                  </a:lnTo>
                  <a:lnTo>
                    <a:pt x="70" y="70"/>
                  </a:lnTo>
                  <a:close/>
                  <a:moveTo>
                    <a:pt x="18" y="52"/>
                  </a:moveTo>
                  <a:lnTo>
                    <a:pt x="52" y="52"/>
                  </a:lnTo>
                  <a:lnTo>
                    <a:pt x="52" y="18"/>
                  </a:lnTo>
                  <a:lnTo>
                    <a:pt x="18" y="18"/>
                  </a:lnTo>
                  <a:lnTo>
                    <a:pt x="18" y="52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8" name="Freeform 98">
              <a:extLst>
                <a:ext uri="{FF2B5EF4-FFF2-40B4-BE49-F238E27FC236}">
                  <a16:creationId xmlns:a16="http://schemas.microsoft.com/office/drawing/2014/main" id="{99F0CF07-0493-49AF-A642-5DF85EFBC1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40" y="3402"/>
              <a:ext cx="70" cy="70"/>
            </a:xfrm>
            <a:custGeom>
              <a:avLst/>
              <a:gdLst>
                <a:gd name="T0" fmla="*/ 70 w 70"/>
                <a:gd name="T1" fmla="*/ 70 h 70"/>
                <a:gd name="T2" fmla="*/ 0 w 70"/>
                <a:gd name="T3" fmla="*/ 70 h 70"/>
                <a:gd name="T4" fmla="*/ 0 w 70"/>
                <a:gd name="T5" fmla="*/ 0 h 70"/>
                <a:gd name="T6" fmla="*/ 70 w 70"/>
                <a:gd name="T7" fmla="*/ 0 h 70"/>
                <a:gd name="T8" fmla="*/ 70 w 70"/>
                <a:gd name="T9" fmla="*/ 70 h 70"/>
                <a:gd name="T10" fmla="*/ 18 w 70"/>
                <a:gd name="T11" fmla="*/ 52 h 70"/>
                <a:gd name="T12" fmla="*/ 52 w 70"/>
                <a:gd name="T13" fmla="*/ 52 h 70"/>
                <a:gd name="T14" fmla="*/ 52 w 70"/>
                <a:gd name="T15" fmla="*/ 18 h 70"/>
                <a:gd name="T16" fmla="*/ 18 w 70"/>
                <a:gd name="T17" fmla="*/ 18 h 70"/>
                <a:gd name="T18" fmla="*/ 18 w 70"/>
                <a:gd name="T19" fmla="*/ 5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0" h="70">
                  <a:moveTo>
                    <a:pt x="70" y="70"/>
                  </a:moveTo>
                  <a:lnTo>
                    <a:pt x="0" y="70"/>
                  </a:lnTo>
                  <a:lnTo>
                    <a:pt x="0" y="0"/>
                  </a:lnTo>
                  <a:lnTo>
                    <a:pt x="70" y="0"/>
                  </a:lnTo>
                  <a:lnTo>
                    <a:pt x="70" y="70"/>
                  </a:lnTo>
                  <a:close/>
                  <a:moveTo>
                    <a:pt x="18" y="52"/>
                  </a:moveTo>
                  <a:lnTo>
                    <a:pt x="52" y="52"/>
                  </a:lnTo>
                  <a:lnTo>
                    <a:pt x="52" y="18"/>
                  </a:lnTo>
                  <a:lnTo>
                    <a:pt x="18" y="18"/>
                  </a:lnTo>
                  <a:lnTo>
                    <a:pt x="18" y="52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49" name="Freeform 99">
              <a:extLst>
                <a:ext uri="{FF2B5EF4-FFF2-40B4-BE49-F238E27FC236}">
                  <a16:creationId xmlns:a16="http://schemas.microsoft.com/office/drawing/2014/main" id="{616B72E4-D596-4341-9257-90AAB110351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92" y="3490"/>
              <a:ext cx="72" cy="70"/>
            </a:xfrm>
            <a:custGeom>
              <a:avLst/>
              <a:gdLst>
                <a:gd name="T0" fmla="*/ 72 w 72"/>
                <a:gd name="T1" fmla="*/ 70 h 70"/>
                <a:gd name="T2" fmla="*/ 0 w 72"/>
                <a:gd name="T3" fmla="*/ 70 h 70"/>
                <a:gd name="T4" fmla="*/ 0 w 72"/>
                <a:gd name="T5" fmla="*/ 0 h 70"/>
                <a:gd name="T6" fmla="*/ 72 w 72"/>
                <a:gd name="T7" fmla="*/ 0 h 70"/>
                <a:gd name="T8" fmla="*/ 72 w 72"/>
                <a:gd name="T9" fmla="*/ 70 h 70"/>
                <a:gd name="T10" fmla="*/ 18 w 72"/>
                <a:gd name="T11" fmla="*/ 52 h 70"/>
                <a:gd name="T12" fmla="*/ 54 w 72"/>
                <a:gd name="T13" fmla="*/ 52 h 70"/>
                <a:gd name="T14" fmla="*/ 54 w 72"/>
                <a:gd name="T15" fmla="*/ 18 h 70"/>
                <a:gd name="T16" fmla="*/ 18 w 72"/>
                <a:gd name="T17" fmla="*/ 18 h 70"/>
                <a:gd name="T18" fmla="*/ 18 w 72"/>
                <a:gd name="T19" fmla="*/ 5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0">
                  <a:moveTo>
                    <a:pt x="72" y="70"/>
                  </a:moveTo>
                  <a:lnTo>
                    <a:pt x="0" y="70"/>
                  </a:lnTo>
                  <a:lnTo>
                    <a:pt x="0" y="0"/>
                  </a:lnTo>
                  <a:lnTo>
                    <a:pt x="72" y="0"/>
                  </a:lnTo>
                  <a:lnTo>
                    <a:pt x="72" y="70"/>
                  </a:lnTo>
                  <a:close/>
                  <a:moveTo>
                    <a:pt x="18" y="52"/>
                  </a:moveTo>
                  <a:lnTo>
                    <a:pt x="54" y="52"/>
                  </a:lnTo>
                  <a:lnTo>
                    <a:pt x="54" y="18"/>
                  </a:lnTo>
                  <a:lnTo>
                    <a:pt x="18" y="18"/>
                  </a:lnTo>
                  <a:lnTo>
                    <a:pt x="18" y="52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0" name="Freeform 100">
              <a:extLst>
                <a:ext uri="{FF2B5EF4-FFF2-40B4-BE49-F238E27FC236}">
                  <a16:creationId xmlns:a16="http://schemas.microsoft.com/office/drawing/2014/main" id="{D6CFEAFD-A09C-4A36-B39F-F01E38F0B2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00" y="3490"/>
              <a:ext cx="72" cy="70"/>
            </a:xfrm>
            <a:custGeom>
              <a:avLst/>
              <a:gdLst>
                <a:gd name="T0" fmla="*/ 72 w 72"/>
                <a:gd name="T1" fmla="*/ 70 h 70"/>
                <a:gd name="T2" fmla="*/ 0 w 72"/>
                <a:gd name="T3" fmla="*/ 70 h 70"/>
                <a:gd name="T4" fmla="*/ 0 w 72"/>
                <a:gd name="T5" fmla="*/ 0 h 70"/>
                <a:gd name="T6" fmla="*/ 72 w 72"/>
                <a:gd name="T7" fmla="*/ 0 h 70"/>
                <a:gd name="T8" fmla="*/ 72 w 72"/>
                <a:gd name="T9" fmla="*/ 70 h 70"/>
                <a:gd name="T10" fmla="*/ 18 w 72"/>
                <a:gd name="T11" fmla="*/ 52 h 70"/>
                <a:gd name="T12" fmla="*/ 54 w 72"/>
                <a:gd name="T13" fmla="*/ 52 h 70"/>
                <a:gd name="T14" fmla="*/ 54 w 72"/>
                <a:gd name="T15" fmla="*/ 18 h 70"/>
                <a:gd name="T16" fmla="*/ 18 w 72"/>
                <a:gd name="T17" fmla="*/ 18 h 70"/>
                <a:gd name="T18" fmla="*/ 18 w 72"/>
                <a:gd name="T19" fmla="*/ 5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0">
                  <a:moveTo>
                    <a:pt x="72" y="70"/>
                  </a:moveTo>
                  <a:lnTo>
                    <a:pt x="0" y="70"/>
                  </a:lnTo>
                  <a:lnTo>
                    <a:pt x="0" y="0"/>
                  </a:lnTo>
                  <a:lnTo>
                    <a:pt x="72" y="0"/>
                  </a:lnTo>
                  <a:lnTo>
                    <a:pt x="72" y="70"/>
                  </a:lnTo>
                  <a:close/>
                  <a:moveTo>
                    <a:pt x="18" y="52"/>
                  </a:moveTo>
                  <a:lnTo>
                    <a:pt x="54" y="52"/>
                  </a:lnTo>
                  <a:lnTo>
                    <a:pt x="54" y="18"/>
                  </a:lnTo>
                  <a:lnTo>
                    <a:pt x="18" y="18"/>
                  </a:lnTo>
                  <a:lnTo>
                    <a:pt x="18" y="52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1" name="Freeform 101">
              <a:extLst>
                <a:ext uri="{FF2B5EF4-FFF2-40B4-BE49-F238E27FC236}">
                  <a16:creationId xmlns:a16="http://schemas.microsoft.com/office/drawing/2014/main" id="{760B8C40-53C7-4907-8949-93EF0166EF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08" y="3492"/>
              <a:ext cx="72" cy="72"/>
            </a:xfrm>
            <a:custGeom>
              <a:avLst/>
              <a:gdLst>
                <a:gd name="T0" fmla="*/ 72 w 72"/>
                <a:gd name="T1" fmla="*/ 72 h 72"/>
                <a:gd name="T2" fmla="*/ 0 w 72"/>
                <a:gd name="T3" fmla="*/ 72 h 72"/>
                <a:gd name="T4" fmla="*/ 0 w 72"/>
                <a:gd name="T5" fmla="*/ 0 h 72"/>
                <a:gd name="T6" fmla="*/ 72 w 72"/>
                <a:gd name="T7" fmla="*/ 0 h 72"/>
                <a:gd name="T8" fmla="*/ 72 w 72"/>
                <a:gd name="T9" fmla="*/ 72 h 72"/>
                <a:gd name="T10" fmla="*/ 18 w 72"/>
                <a:gd name="T11" fmla="*/ 54 h 72"/>
                <a:gd name="T12" fmla="*/ 54 w 72"/>
                <a:gd name="T13" fmla="*/ 54 h 72"/>
                <a:gd name="T14" fmla="*/ 54 w 72"/>
                <a:gd name="T15" fmla="*/ 18 h 72"/>
                <a:gd name="T16" fmla="*/ 18 w 72"/>
                <a:gd name="T17" fmla="*/ 18 h 72"/>
                <a:gd name="T18" fmla="*/ 18 w 72"/>
                <a:gd name="T19" fmla="*/ 5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2">
                  <a:moveTo>
                    <a:pt x="72" y="72"/>
                  </a:moveTo>
                  <a:lnTo>
                    <a:pt x="0" y="72"/>
                  </a:lnTo>
                  <a:lnTo>
                    <a:pt x="0" y="0"/>
                  </a:lnTo>
                  <a:lnTo>
                    <a:pt x="72" y="0"/>
                  </a:lnTo>
                  <a:lnTo>
                    <a:pt x="72" y="72"/>
                  </a:lnTo>
                  <a:close/>
                  <a:moveTo>
                    <a:pt x="18" y="54"/>
                  </a:moveTo>
                  <a:lnTo>
                    <a:pt x="54" y="54"/>
                  </a:lnTo>
                  <a:lnTo>
                    <a:pt x="54" y="18"/>
                  </a:lnTo>
                  <a:lnTo>
                    <a:pt x="18" y="18"/>
                  </a:lnTo>
                  <a:lnTo>
                    <a:pt x="18" y="54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2" name="Freeform 102">
              <a:extLst>
                <a:ext uri="{FF2B5EF4-FFF2-40B4-BE49-F238E27FC236}">
                  <a16:creationId xmlns:a16="http://schemas.microsoft.com/office/drawing/2014/main" id="{8CB383FB-FDF5-45D2-A5DF-10CCEAE211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16" y="3492"/>
              <a:ext cx="72" cy="72"/>
            </a:xfrm>
            <a:custGeom>
              <a:avLst/>
              <a:gdLst>
                <a:gd name="T0" fmla="*/ 72 w 72"/>
                <a:gd name="T1" fmla="*/ 72 h 72"/>
                <a:gd name="T2" fmla="*/ 0 w 72"/>
                <a:gd name="T3" fmla="*/ 72 h 72"/>
                <a:gd name="T4" fmla="*/ 0 w 72"/>
                <a:gd name="T5" fmla="*/ 0 h 72"/>
                <a:gd name="T6" fmla="*/ 72 w 72"/>
                <a:gd name="T7" fmla="*/ 0 h 72"/>
                <a:gd name="T8" fmla="*/ 72 w 72"/>
                <a:gd name="T9" fmla="*/ 72 h 72"/>
                <a:gd name="T10" fmla="*/ 18 w 72"/>
                <a:gd name="T11" fmla="*/ 54 h 72"/>
                <a:gd name="T12" fmla="*/ 54 w 72"/>
                <a:gd name="T13" fmla="*/ 54 h 72"/>
                <a:gd name="T14" fmla="*/ 54 w 72"/>
                <a:gd name="T15" fmla="*/ 18 h 72"/>
                <a:gd name="T16" fmla="*/ 18 w 72"/>
                <a:gd name="T17" fmla="*/ 18 h 72"/>
                <a:gd name="T18" fmla="*/ 18 w 72"/>
                <a:gd name="T19" fmla="*/ 5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2">
                  <a:moveTo>
                    <a:pt x="72" y="72"/>
                  </a:moveTo>
                  <a:lnTo>
                    <a:pt x="0" y="72"/>
                  </a:lnTo>
                  <a:lnTo>
                    <a:pt x="0" y="0"/>
                  </a:lnTo>
                  <a:lnTo>
                    <a:pt x="72" y="0"/>
                  </a:lnTo>
                  <a:lnTo>
                    <a:pt x="72" y="72"/>
                  </a:lnTo>
                  <a:close/>
                  <a:moveTo>
                    <a:pt x="18" y="54"/>
                  </a:moveTo>
                  <a:lnTo>
                    <a:pt x="54" y="54"/>
                  </a:lnTo>
                  <a:lnTo>
                    <a:pt x="54" y="18"/>
                  </a:lnTo>
                  <a:lnTo>
                    <a:pt x="18" y="18"/>
                  </a:lnTo>
                  <a:lnTo>
                    <a:pt x="18" y="54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3" name="Freeform 103">
              <a:extLst>
                <a:ext uri="{FF2B5EF4-FFF2-40B4-BE49-F238E27FC236}">
                  <a16:creationId xmlns:a16="http://schemas.microsoft.com/office/drawing/2014/main" id="{10DE07EF-1476-42EB-96C6-15654C0CC89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24" y="3492"/>
              <a:ext cx="70" cy="72"/>
            </a:xfrm>
            <a:custGeom>
              <a:avLst/>
              <a:gdLst>
                <a:gd name="T0" fmla="*/ 70 w 70"/>
                <a:gd name="T1" fmla="*/ 72 h 72"/>
                <a:gd name="T2" fmla="*/ 0 w 70"/>
                <a:gd name="T3" fmla="*/ 72 h 72"/>
                <a:gd name="T4" fmla="*/ 0 w 70"/>
                <a:gd name="T5" fmla="*/ 0 h 72"/>
                <a:gd name="T6" fmla="*/ 70 w 70"/>
                <a:gd name="T7" fmla="*/ 0 h 72"/>
                <a:gd name="T8" fmla="*/ 70 w 70"/>
                <a:gd name="T9" fmla="*/ 72 h 72"/>
                <a:gd name="T10" fmla="*/ 18 w 70"/>
                <a:gd name="T11" fmla="*/ 54 h 72"/>
                <a:gd name="T12" fmla="*/ 52 w 70"/>
                <a:gd name="T13" fmla="*/ 54 h 72"/>
                <a:gd name="T14" fmla="*/ 52 w 70"/>
                <a:gd name="T15" fmla="*/ 18 h 72"/>
                <a:gd name="T16" fmla="*/ 18 w 70"/>
                <a:gd name="T17" fmla="*/ 18 h 72"/>
                <a:gd name="T18" fmla="*/ 18 w 70"/>
                <a:gd name="T19" fmla="*/ 5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0" h="72">
                  <a:moveTo>
                    <a:pt x="70" y="72"/>
                  </a:moveTo>
                  <a:lnTo>
                    <a:pt x="0" y="72"/>
                  </a:lnTo>
                  <a:lnTo>
                    <a:pt x="0" y="0"/>
                  </a:lnTo>
                  <a:lnTo>
                    <a:pt x="70" y="0"/>
                  </a:lnTo>
                  <a:lnTo>
                    <a:pt x="70" y="72"/>
                  </a:lnTo>
                  <a:close/>
                  <a:moveTo>
                    <a:pt x="18" y="54"/>
                  </a:moveTo>
                  <a:lnTo>
                    <a:pt x="52" y="54"/>
                  </a:lnTo>
                  <a:lnTo>
                    <a:pt x="52" y="18"/>
                  </a:lnTo>
                  <a:lnTo>
                    <a:pt x="18" y="18"/>
                  </a:lnTo>
                  <a:lnTo>
                    <a:pt x="18" y="54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4" name="Freeform 104">
              <a:extLst>
                <a:ext uri="{FF2B5EF4-FFF2-40B4-BE49-F238E27FC236}">
                  <a16:creationId xmlns:a16="http://schemas.microsoft.com/office/drawing/2014/main" id="{8D667655-E603-4972-9EBA-79A3DA12F0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32" y="3492"/>
              <a:ext cx="70" cy="72"/>
            </a:xfrm>
            <a:custGeom>
              <a:avLst/>
              <a:gdLst>
                <a:gd name="T0" fmla="*/ 70 w 70"/>
                <a:gd name="T1" fmla="*/ 72 h 72"/>
                <a:gd name="T2" fmla="*/ 0 w 70"/>
                <a:gd name="T3" fmla="*/ 72 h 72"/>
                <a:gd name="T4" fmla="*/ 0 w 70"/>
                <a:gd name="T5" fmla="*/ 0 h 72"/>
                <a:gd name="T6" fmla="*/ 70 w 70"/>
                <a:gd name="T7" fmla="*/ 0 h 72"/>
                <a:gd name="T8" fmla="*/ 70 w 70"/>
                <a:gd name="T9" fmla="*/ 72 h 72"/>
                <a:gd name="T10" fmla="*/ 18 w 70"/>
                <a:gd name="T11" fmla="*/ 54 h 72"/>
                <a:gd name="T12" fmla="*/ 52 w 70"/>
                <a:gd name="T13" fmla="*/ 54 h 72"/>
                <a:gd name="T14" fmla="*/ 52 w 70"/>
                <a:gd name="T15" fmla="*/ 18 h 72"/>
                <a:gd name="T16" fmla="*/ 18 w 70"/>
                <a:gd name="T17" fmla="*/ 18 h 72"/>
                <a:gd name="T18" fmla="*/ 18 w 70"/>
                <a:gd name="T19" fmla="*/ 5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0" h="72">
                  <a:moveTo>
                    <a:pt x="70" y="72"/>
                  </a:moveTo>
                  <a:lnTo>
                    <a:pt x="0" y="72"/>
                  </a:lnTo>
                  <a:lnTo>
                    <a:pt x="0" y="0"/>
                  </a:lnTo>
                  <a:lnTo>
                    <a:pt x="70" y="0"/>
                  </a:lnTo>
                  <a:lnTo>
                    <a:pt x="70" y="72"/>
                  </a:lnTo>
                  <a:close/>
                  <a:moveTo>
                    <a:pt x="18" y="54"/>
                  </a:moveTo>
                  <a:lnTo>
                    <a:pt x="52" y="54"/>
                  </a:lnTo>
                  <a:lnTo>
                    <a:pt x="52" y="18"/>
                  </a:lnTo>
                  <a:lnTo>
                    <a:pt x="18" y="18"/>
                  </a:lnTo>
                  <a:lnTo>
                    <a:pt x="18" y="54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5" name="Freeform 105">
              <a:extLst>
                <a:ext uri="{FF2B5EF4-FFF2-40B4-BE49-F238E27FC236}">
                  <a16:creationId xmlns:a16="http://schemas.microsoft.com/office/drawing/2014/main" id="{6D95CE83-B6EA-4F1C-82C7-9FEB4F65BDD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40" y="3492"/>
              <a:ext cx="70" cy="72"/>
            </a:xfrm>
            <a:custGeom>
              <a:avLst/>
              <a:gdLst>
                <a:gd name="T0" fmla="*/ 70 w 70"/>
                <a:gd name="T1" fmla="*/ 72 h 72"/>
                <a:gd name="T2" fmla="*/ 0 w 70"/>
                <a:gd name="T3" fmla="*/ 72 h 72"/>
                <a:gd name="T4" fmla="*/ 0 w 70"/>
                <a:gd name="T5" fmla="*/ 0 h 72"/>
                <a:gd name="T6" fmla="*/ 70 w 70"/>
                <a:gd name="T7" fmla="*/ 0 h 72"/>
                <a:gd name="T8" fmla="*/ 70 w 70"/>
                <a:gd name="T9" fmla="*/ 72 h 72"/>
                <a:gd name="T10" fmla="*/ 18 w 70"/>
                <a:gd name="T11" fmla="*/ 54 h 72"/>
                <a:gd name="T12" fmla="*/ 52 w 70"/>
                <a:gd name="T13" fmla="*/ 54 h 72"/>
                <a:gd name="T14" fmla="*/ 52 w 70"/>
                <a:gd name="T15" fmla="*/ 18 h 72"/>
                <a:gd name="T16" fmla="*/ 18 w 70"/>
                <a:gd name="T17" fmla="*/ 18 h 72"/>
                <a:gd name="T18" fmla="*/ 18 w 70"/>
                <a:gd name="T19" fmla="*/ 5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0" h="72">
                  <a:moveTo>
                    <a:pt x="70" y="72"/>
                  </a:moveTo>
                  <a:lnTo>
                    <a:pt x="0" y="72"/>
                  </a:lnTo>
                  <a:lnTo>
                    <a:pt x="0" y="0"/>
                  </a:lnTo>
                  <a:lnTo>
                    <a:pt x="70" y="0"/>
                  </a:lnTo>
                  <a:lnTo>
                    <a:pt x="70" y="72"/>
                  </a:lnTo>
                  <a:close/>
                  <a:moveTo>
                    <a:pt x="18" y="54"/>
                  </a:moveTo>
                  <a:lnTo>
                    <a:pt x="52" y="54"/>
                  </a:lnTo>
                  <a:lnTo>
                    <a:pt x="52" y="18"/>
                  </a:lnTo>
                  <a:lnTo>
                    <a:pt x="18" y="18"/>
                  </a:lnTo>
                  <a:lnTo>
                    <a:pt x="18" y="54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6" name="Freeform 106">
              <a:extLst>
                <a:ext uri="{FF2B5EF4-FFF2-40B4-BE49-F238E27FC236}">
                  <a16:creationId xmlns:a16="http://schemas.microsoft.com/office/drawing/2014/main" id="{941697A0-B5EC-4224-9C81-F3F1E9CF2A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08" y="3582"/>
              <a:ext cx="72" cy="72"/>
            </a:xfrm>
            <a:custGeom>
              <a:avLst/>
              <a:gdLst>
                <a:gd name="T0" fmla="*/ 72 w 72"/>
                <a:gd name="T1" fmla="*/ 72 h 72"/>
                <a:gd name="T2" fmla="*/ 0 w 72"/>
                <a:gd name="T3" fmla="*/ 72 h 72"/>
                <a:gd name="T4" fmla="*/ 0 w 72"/>
                <a:gd name="T5" fmla="*/ 0 h 72"/>
                <a:gd name="T6" fmla="*/ 72 w 72"/>
                <a:gd name="T7" fmla="*/ 0 h 72"/>
                <a:gd name="T8" fmla="*/ 72 w 72"/>
                <a:gd name="T9" fmla="*/ 72 h 72"/>
                <a:gd name="T10" fmla="*/ 18 w 72"/>
                <a:gd name="T11" fmla="*/ 54 h 72"/>
                <a:gd name="T12" fmla="*/ 54 w 72"/>
                <a:gd name="T13" fmla="*/ 54 h 72"/>
                <a:gd name="T14" fmla="*/ 54 w 72"/>
                <a:gd name="T15" fmla="*/ 18 h 72"/>
                <a:gd name="T16" fmla="*/ 18 w 72"/>
                <a:gd name="T17" fmla="*/ 18 h 72"/>
                <a:gd name="T18" fmla="*/ 18 w 72"/>
                <a:gd name="T19" fmla="*/ 5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2">
                  <a:moveTo>
                    <a:pt x="72" y="72"/>
                  </a:moveTo>
                  <a:lnTo>
                    <a:pt x="0" y="72"/>
                  </a:lnTo>
                  <a:lnTo>
                    <a:pt x="0" y="0"/>
                  </a:lnTo>
                  <a:lnTo>
                    <a:pt x="72" y="0"/>
                  </a:lnTo>
                  <a:lnTo>
                    <a:pt x="72" y="72"/>
                  </a:lnTo>
                  <a:close/>
                  <a:moveTo>
                    <a:pt x="18" y="54"/>
                  </a:moveTo>
                  <a:lnTo>
                    <a:pt x="54" y="54"/>
                  </a:lnTo>
                  <a:lnTo>
                    <a:pt x="54" y="18"/>
                  </a:lnTo>
                  <a:lnTo>
                    <a:pt x="18" y="18"/>
                  </a:lnTo>
                  <a:lnTo>
                    <a:pt x="18" y="54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7" name="Freeform 107">
              <a:extLst>
                <a:ext uri="{FF2B5EF4-FFF2-40B4-BE49-F238E27FC236}">
                  <a16:creationId xmlns:a16="http://schemas.microsoft.com/office/drawing/2014/main" id="{70E05426-7325-4590-B8CD-94B736857B0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16" y="3582"/>
              <a:ext cx="72" cy="72"/>
            </a:xfrm>
            <a:custGeom>
              <a:avLst/>
              <a:gdLst>
                <a:gd name="T0" fmla="*/ 72 w 72"/>
                <a:gd name="T1" fmla="*/ 72 h 72"/>
                <a:gd name="T2" fmla="*/ 0 w 72"/>
                <a:gd name="T3" fmla="*/ 72 h 72"/>
                <a:gd name="T4" fmla="*/ 0 w 72"/>
                <a:gd name="T5" fmla="*/ 0 h 72"/>
                <a:gd name="T6" fmla="*/ 72 w 72"/>
                <a:gd name="T7" fmla="*/ 0 h 72"/>
                <a:gd name="T8" fmla="*/ 72 w 72"/>
                <a:gd name="T9" fmla="*/ 72 h 72"/>
                <a:gd name="T10" fmla="*/ 18 w 72"/>
                <a:gd name="T11" fmla="*/ 54 h 72"/>
                <a:gd name="T12" fmla="*/ 54 w 72"/>
                <a:gd name="T13" fmla="*/ 54 h 72"/>
                <a:gd name="T14" fmla="*/ 54 w 72"/>
                <a:gd name="T15" fmla="*/ 18 h 72"/>
                <a:gd name="T16" fmla="*/ 18 w 72"/>
                <a:gd name="T17" fmla="*/ 18 h 72"/>
                <a:gd name="T18" fmla="*/ 18 w 72"/>
                <a:gd name="T19" fmla="*/ 5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2">
                  <a:moveTo>
                    <a:pt x="72" y="72"/>
                  </a:moveTo>
                  <a:lnTo>
                    <a:pt x="0" y="72"/>
                  </a:lnTo>
                  <a:lnTo>
                    <a:pt x="0" y="0"/>
                  </a:lnTo>
                  <a:lnTo>
                    <a:pt x="72" y="0"/>
                  </a:lnTo>
                  <a:lnTo>
                    <a:pt x="72" y="72"/>
                  </a:lnTo>
                  <a:close/>
                  <a:moveTo>
                    <a:pt x="18" y="54"/>
                  </a:moveTo>
                  <a:lnTo>
                    <a:pt x="54" y="54"/>
                  </a:lnTo>
                  <a:lnTo>
                    <a:pt x="54" y="18"/>
                  </a:lnTo>
                  <a:lnTo>
                    <a:pt x="18" y="18"/>
                  </a:lnTo>
                  <a:lnTo>
                    <a:pt x="18" y="54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8" name="Freeform 108">
              <a:extLst>
                <a:ext uri="{FF2B5EF4-FFF2-40B4-BE49-F238E27FC236}">
                  <a16:creationId xmlns:a16="http://schemas.microsoft.com/office/drawing/2014/main" id="{871AC964-2D62-4031-AB9D-4AECACF0655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24" y="3582"/>
              <a:ext cx="70" cy="72"/>
            </a:xfrm>
            <a:custGeom>
              <a:avLst/>
              <a:gdLst>
                <a:gd name="T0" fmla="*/ 70 w 70"/>
                <a:gd name="T1" fmla="*/ 72 h 72"/>
                <a:gd name="T2" fmla="*/ 0 w 70"/>
                <a:gd name="T3" fmla="*/ 72 h 72"/>
                <a:gd name="T4" fmla="*/ 0 w 70"/>
                <a:gd name="T5" fmla="*/ 0 h 72"/>
                <a:gd name="T6" fmla="*/ 70 w 70"/>
                <a:gd name="T7" fmla="*/ 0 h 72"/>
                <a:gd name="T8" fmla="*/ 70 w 70"/>
                <a:gd name="T9" fmla="*/ 72 h 72"/>
                <a:gd name="T10" fmla="*/ 18 w 70"/>
                <a:gd name="T11" fmla="*/ 54 h 72"/>
                <a:gd name="T12" fmla="*/ 52 w 70"/>
                <a:gd name="T13" fmla="*/ 54 h 72"/>
                <a:gd name="T14" fmla="*/ 52 w 70"/>
                <a:gd name="T15" fmla="*/ 18 h 72"/>
                <a:gd name="T16" fmla="*/ 18 w 70"/>
                <a:gd name="T17" fmla="*/ 18 h 72"/>
                <a:gd name="T18" fmla="*/ 18 w 70"/>
                <a:gd name="T19" fmla="*/ 5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0" h="72">
                  <a:moveTo>
                    <a:pt x="70" y="72"/>
                  </a:moveTo>
                  <a:lnTo>
                    <a:pt x="0" y="72"/>
                  </a:lnTo>
                  <a:lnTo>
                    <a:pt x="0" y="0"/>
                  </a:lnTo>
                  <a:lnTo>
                    <a:pt x="70" y="0"/>
                  </a:lnTo>
                  <a:lnTo>
                    <a:pt x="70" y="72"/>
                  </a:lnTo>
                  <a:close/>
                  <a:moveTo>
                    <a:pt x="18" y="54"/>
                  </a:moveTo>
                  <a:lnTo>
                    <a:pt x="52" y="54"/>
                  </a:lnTo>
                  <a:lnTo>
                    <a:pt x="52" y="18"/>
                  </a:lnTo>
                  <a:lnTo>
                    <a:pt x="18" y="18"/>
                  </a:lnTo>
                  <a:lnTo>
                    <a:pt x="18" y="54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9" name="Freeform 109">
              <a:extLst>
                <a:ext uri="{FF2B5EF4-FFF2-40B4-BE49-F238E27FC236}">
                  <a16:creationId xmlns:a16="http://schemas.microsoft.com/office/drawing/2014/main" id="{567537F3-BADF-45C1-88ED-2F3834451C7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32" y="3582"/>
              <a:ext cx="70" cy="72"/>
            </a:xfrm>
            <a:custGeom>
              <a:avLst/>
              <a:gdLst>
                <a:gd name="T0" fmla="*/ 70 w 70"/>
                <a:gd name="T1" fmla="*/ 72 h 72"/>
                <a:gd name="T2" fmla="*/ 0 w 70"/>
                <a:gd name="T3" fmla="*/ 72 h 72"/>
                <a:gd name="T4" fmla="*/ 0 w 70"/>
                <a:gd name="T5" fmla="*/ 0 h 72"/>
                <a:gd name="T6" fmla="*/ 70 w 70"/>
                <a:gd name="T7" fmla="*/ 0 h 72"/>
                <a:gd name="T8" fmla="*/ 70 w 70"/>
                <a:gd name="T9" fmla="*/ 72 h 72"/>
                <a:gd name="T10" fmla="*/ 18 w 70"/>
                <a:gd name="T11" fmla="*/ 54 h 72"/>
                <a:gd name="T12" fmla="*/ 52 w 70"/>
                <a:gd name="T13" fmla="*/ 54 h 72"/>
                <a:gd name="T14" fmla="*/ 52 w 70"/>
                <a:gd name="T15" fmla="*/ 18 h 72"/>
                <a:gd name="T16" fmla="*/ 18 w 70"/>
                <a:gd name="T17" fmla="*/ 18 h 72"/>
                <a:gd name="T18" fmla="*/ 18 w 70"/>
                <a:gd name="T19" fmla="*/ 5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0" h="72">
                  <a:moveTo>
                    <a:pt x="70" y="72"/>
                  </a:moveTo>
                  <a:lnTo>
                    <a:pt x="0" y="72"/>
                  </a:lnTo>
                  <a:lnTo>
                    <a:pt x="0" y="0"/>
                  </a:lnTo>
                  <a:lnTo>
                    <a:pt x="70" y="0"/>
                  </a:lnTo>
                  <a:lnTo>
                    <a:pt x="70" y="72"/>
                  </a:lnTo>
                  <a:close/>
                  <a:moveTo>
                    <a:pt x="18" y="54"/>
                  </a:moveTo>
                  <a:lnTo>
                    <a:pt x="52" y="54"/>
                  </a:lnTo>
                  <a:lnTo>
                    <a:pt x="52" y="18"/>
                  </a:lnTo>
                  <a:lnTo>
                    <a:pt x="18" y="18"/>
                  </a:lnTo>
                  <a:lnTo>
                    <a:pt x="18" y="54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60" name="Freeform 110">
              <a:extLst>
                <a:ext uri="{FF2B5EF4-FFF2-40B4-BE49-F238E27FC236}">
                  <a16:creationId xmlns:a16="http://schemas.microsoft.com/office/drawing/2014/main" id="{7632E196-C503-4458-8CE0-5850C9F940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92" y="3222"/>
              <a:ext cx="72" cy="70"/>
            </a:xfrm>
            <a:custGeom>
              <a:avLst/>
              <a:gdLst>
                <a:gd name="T0" fmla="*/ 72 w 72"/>
                <a:gd name="T1" fmla="*/ 70 h 70"/>
                <a:gd name="T2" fmla="*/ 0 w 72"/>
                <a:gd name="T3" fmla="*/ 70 h 70"/>
                <a:gd name="T4" fmla="*/ 0 w 72"/>
                <a:gd name="T5" fmla="*/ 0 h 70"/>
                <a:gd name="T6" fmla="*/ 72 w 72"/>
                <a:gd name="T7" fmla="*/ 0 h 70"/>
                <a:gd name="T8" fmla="*/ 72 w 72"/>
                <a:gd name="T9" fmla="*/ 70 h 70"/>
                <a:gd name="T10" fmla="*/ 18 w 72"/>
                <a:gd name="T11" fmla="*/ 52 h 70"/>
                <a:gd name="T12" fmla="*/ 54 w 72"/>
                <a:gd name="T13" fmla="*/ 52 h 70"/>
                <a:gd name="T14" fmla="*/ 54 w 72"/>
                <a:gd name="T15" fmla="*/ 18 h 70"/>
                <a:gd name="T16" fmla="*/ 18 w 72"/>
                <a:gd name="T17" fmla="*/ 18 h 70"/>
                <a:gd name="T18" fmla="*/ 18 w 72"/>
                <a:gd name="T19" fmla="*/ 5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0">
                  <a:moveTo>
                    <a:pt x="72" y="70"/>
                  </a:moveTo>
                  <a:lnTo>
                    <a:pt x="0" y="70"/>
                  </a:lnTo>
                  <a:lnTo>
                    <a:pt x="0" y="0"/>
                  </a:lnTo>
                  <a:lnTo>
                    <a:pt x="72" y="0"/>
                  </a:lnTo>
                  <a:lnTo>
                    <a:pt x="72" y="70"/>
                  </a:lnTo>
                  <a:close/>
                  <a:moveTo>
                    <a:pt x="18" y="52"/>
                  </a:moveTo>
                  <a:lnTo>
                    <a:pt x="54" y="52"/>
                  </a:lnTo>
                  <a:lnTo>
                    <a:pt x="54" y="18"/>
                  </a:lnTo>
                  <a:lnTo>
                    <a:pt x="18" y="18"/>
                  </a:lnTo>
                  <a:lnTo>
                    <a:pt x="18" y="52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61" name="Freeform 111">
              <a:extLst>
                <a:ext uri="{FF2B5EF4-FFF2-40B4-BE49-F238E27FC236}">
                  <a16:creationId xmlns:a16="http://schemas.microsoft.com/office/drawing/2014/main" id="{297A0DA4-168A-457B-914E-FC40C1A43F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00" y="3222"/>
              <a:ext cx="72" cy="70"/>
            </a:xfrm>
            <a:custGeom>
              <a:avLst/>
              <a:gdLst>
                <a:gd name="T0" fmla="*/ 72 w 72"/>
                <a:gd name="T1" fmla="*/ 70 h 70"/>
                <a:gd name="T2" fmla="*/ 0 w 72"/>
                <a:gd name="T3" fmla="*/ 70 h 70"/>
                <a:gd name="T4" fmla="*/ 0 w 72"/>
                <a:gd name="T5" fmla="*/ 0 h 70"/>
                <a:gd name="T6" fmla="*/ 72 w 72"/>
                <a:gd name="T7" fmla="*/ 0 h 70"/>
                <a:gd name="T8" fmla="*/ 72 w 72"/>
                <a:gd name="T9" fmla="*/ 70 h 70"/>
                <a:gd name="T10" fmla="*/ 18 w 72"/>
                <a:gd name="T11" fmla="*/ 52 h 70"/>
                <a:gd name="T12" fmla="*/ 54 w 72"/>
                <a:gd name="T13" fmla="*/ 52 h 70"/>
                <a:gd name="T14" fmla="*/ 54 w 72"/>
                <a:gd name="T15" fmla="*/ 18 h 70"/>
                <a:gd name="T16" fmla="*/ 18 w 72"/>
                <a:gd name="T17" fmla="*/ 18 h 70"/>
                <a:gd name="T18" fmla="*/ 18 w 72"/>
                <a:gd name="T19" fmla="*/ 5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0">
                  <a:moveTo>
                    <a:pt x="72" y="70"/>
                  </a:moveTo>
                  <a:lnTo>
                    <a:pt x="0" y="70"/>
                  </a:lnTo>
                  <a:lnTo>
                    <a:pt x="0" y="0"/>
                  </a:lnTo>
                  <a:lnTo>
                    <a:pt x="72" y="0"/>
                  </a:lnTo>
                  <a:lnTo>
                    <a:pt x="72" y="70"/>
                  </a:lnTo>
                  <a:close/>
                  <a:moveTo>
                    <a:pt x="18" y="52"/>
                  </a:moveTo>
                  <a:lnTo>
                    <a:pt x="54" y="52"/>
                  </a:lnTo>
                  <a:lnTo>
                    <a:pt x="54" y="18"/>
                  </a:lnTo>
                  <a:lnTo>
                    <a:pt x="18" y="18"/>
                  </a:lnTo>
                  <a:lnTo>
                    <a:pt x="18" y="52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62" name="Freeform 112">
              <a:extLst>
                <a:ext uri="{FF2B5EF4-FFF2-40B4-BE49-F238E27FC236}">
                  <a16:creationId xmlns:a16="http://schemas.microsoft.com/office/drawing/2014/main" id="{71B36A09-BF36-445E-A7EB-C335373A64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08" y="3222"/>
              <a:ext cx="72" cy="70"/>
            </a:xfrm>
            <a:custGeom>
              <a:avLst/>
              <a:gdLst>
                <a:gd name="T0" fmla="*/ 72 w 72"/>
                <a:gd name="T1" fmla="*/ 70 h 70"/>
                <a:gd name="T2" fmla="*/ 0 w 72"/>
                <a:gd name="T3" fmla="*/ 70 h 70"/>
                <a:gd name="T4" fmla="*/ 0 w 72"/>
                <a:gd name="T5" fmla="*/ 0 h 70"/>
                <a:gd name="T6" fmla="*/ 72 w 72"/>
                <a:gd name="T7" fmla="*/ 0 h 70"/>
                <a:gd name="T8" fmla="*/ 72 w 72"/>
                <a:gd name="T9" fmla="*/ 70 h 70"/>
                <a:gd name="T10" fmla="*/ 18 w 72"/>
                <a:gd name="T11" fmla="*/ 52 h 70"/>
                <a:gd name="T12" fmla="*/ 54 w 72"/>
                <a:gd name="T13" fmla="*/ 52 h 70"/>
                <a:gd name="T14" fmla="*/ 54 w 72"/>
                <a:gd name="T15" fmla="*/ 18 h 70"/>
                <a:gd name="T16" fmla="*/ 18 w 72"/>
                <a:gd name="T17" fmla="*/ 18 h 70"/>
                <a:gd name="T18" fmla="*/ 18 w 72"/>
                <a:gd name="T19" fmla="*/ 5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0">
                  <a:moveTo>
                    <a:pt x="72" y="70"/>
                  </a:moveTo>
                  <a:lnTo>
                    <a:pt x="0" y="70"/>
                  </a:lnTo>
                  <a:lnTo>
                    <a:pt x="0" y="0"/>
                  </a:lnTo>
                  <a:lnTo>
                    <a:pt x="72" y="0"/>
                  </a:lnTo>
                  <a:lnTo>
                    <a:pt x="72" y="70"/>
                  </a:lnTo>
                  <a:close/>
                  <a:moveTo>
                    <a:pt x="18" y="52"/>
                  </a:moveTo>
                  <a:lnTo>
                    <a:pt x="54" y="52"/>
                  </a:lnTo>
                  <a:lnTo>
                    <a:pt x="54" y="18"/>
                  </a:lnTo>
                  <a:lnTo>
                    <a:pt x="18" y="18"/>
                  </a:lnTo>
                  <a:lnTo>
                    <a:pt x="18" y="52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63" name="Freeform 113">
              <a:extLst>
                <a:ext uri="{FF2B5EF4-FFF2-40B4-BE49-F238E27FC236}">
                  <a16:creationId xmlns:a16="http://schemas.microsoft.com/office/drawing/2014/main" id="{84CDF979-EBB0-4564-9482-402175C12CD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16" y="3222"/>
              <a:ext cx="72" cy="70"/>
            </a:xfrm>
            <a:custGeom>
              <a:avLst/>
              <a:gdLst>
                <a:gd name="T0" fmla="*/ 72 w 72"/>
                <a:gd name="T1" fmla="*/ 70 h 70"/>
                <a:gd name="T2" fmla="*/ 0 w 72"/>
                <a:gd name="T3" fmla="*/ 70 h 70"/>
                <a:gd name="T4" fmla="*/ 0 w 72"/>
                <a:gd name="T5" fmla="*/ 0 h 70"/>
                <a:gd name="T6" fmla="*/ 72 w 72"/>
                <a:gd name="T7" fmla="*/ 0 h 70"/>
                <a:gd name="T8" fmla="*/ 72 w 72"/>
                <a:gd name="T9" fmla="*/ 70 h 70"/>
                <a:gd name="T10" fmla="*/ 18 w 72"/>
                <a:gd name="T11" fmla="*/ 52 h 70"/>
                <a:gd name="T12" fmla="*/ 54 w 72"/>
                <a:gd name="T13" fmla="*/ 52 h 70"/>
                <a:gd name="T14" fmla="*/ 54 w 72"/>
                <a:gd name="T15" fmla="*/ 18 h 70"/>
                <a:gd name="T16" fmla="*/ 18 w 72"/>
                <a:gd name="T17" fmla="*/ 18 h 70"/>
                <a:gd name="T18" fmla="*/ 18 w 72"/>
                <a:gd name="T19" fmla="*/ 5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0">
                  <a:moveTo>
                    <a:pt x="72" y="70"/>
                  </a:moveTo>
                  <a:lnTo>
                    <a:pt x="0" y="70"/>
                  </a:lnTo>
                  <a:lnTo>
                    <a:pt x="0" y="0"/>
                  </a:lnTo>
                  <a:lnTo>
                    <a:pt x="72" y="0"/>
                  </a:lnTo>
                  <a:lnTo>
                    <a:pt x="72" y="70"/>
                  </a:lnTo>
                  <a:close/>
                  <a:moveTo>
                    <a:pt x="18" y="52"/>
                  </a:moveTo>
                  <a:lnTo>
                    <a:pt x="54" y="52"/>
                  </a:lnTo>
                  <a:lnTo>
                    <a:pt x="54" y="18"/>
                  </a:lnTo>
                  <a:lnTo>
                    <a:pt x="18" y="18"/>
                  </a:lnTo>
                  <a:lnTo>
                    <a:pt x="18" y="52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64" name="Freeform 114">
              <a:extLst>
                <a:ext uri="{FF2B5EF4-FFF2-40B4-BE49-F238E27FC236}">
                  <a16:creationId xmlns:a16="http://schemas.microsoft.com/office/drawing/2014/main" id="{1F3FFD0B-132D-4CA5-BBF0-915B408EFA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40" y="3582"/>
              <a:ext cx="70" cy="72"/>
            </a:xfrm>
            <a:custGeom>
              <a:avLst/>
              <a:gdLst>
                <a:gd name="T0" fmla="*/ 70 w 70"/>
                <a:gd name="T1" fmla="*/ 72 h 72"/>
                <a:gd name="T2" fmla="*/ 0 w 70"/>
                <a:gd name="T3" fmla="*/ 72 h 72"/>
                <a:gd name="T4" fmla="*/ 0 w 70"/>
                <a:gd name="T5" fmla="*/ 0 h 72"/>
                <a:gd name="T6" fmla="*/ 70 w 70"/>
                <a:gd name="T7" fmla="*/ 0 h 72"/>
                <a:gd name="T8" fmla="*/ 70 w 70"/>
                <a:gd name="T9" fmla="*/ 72 h 72"/>
                <a:gd name="T10" fmla="*/ 18 w 70"/>
                <a:gd name="T11" fmla="*/ 54 h 72"/>
                <a:gd name="T12" fmla="*/ 52 w 70"/>
                <a:gd name="T13" fmla="*/ 54 h 72"/>
                <a:gd name="T14" fmla="*/ 52 w 70"/>
                <a:gd name="T15" fmla="*/ 18 h 72"/>
                <a:gd name="T16" fmla="*/ 18 w 70"/>
                <a:gd name="T17" fmla="*/ 18 h 72"/>
                <a:gd name="T18" fmla="*/ 18 w 70"/>
                <a:gd name="T19" fmla="*/ 5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0" h="72">
                  <a:moveTo>
                    <a:pt x="70" y="72"/>
                  </a:moveTo>
                  <a:lnTo>
                    <a:pt x="0" y="72"/>
                  </a:lnTo>
                  <a:lnTo>
                    <a:pt x="0" y="0"/>
                  </a:lnTo>
                  <a:lnTo>
                    <a:pt x="70" y="0"/>
                  </a:lnTo>
                  <a:lnTo>
                    <a:pt x="70" y="72"/>
                  </a:lnTo>
                  <a:close/>
                  <a:moveTo>
                    <a:pt x="18" y="54"/>
                  </a:moveTo>
                  <a:lnTo>
                    <a:pt x="52" y="54"/>
                  </a:lnTo>
                  <a:lnTo>
                    <a:pt x="52" y="18"/>
                  </a:lnTo>
                  <a:lnTo>
                    <a:pt x="18" y="18"/>
                  </a:lnTo>
                  <a:lnTo>
                    <a:pt x="18" y="54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65" name="Freeform 115">
              <a:extLst>
                <a:ext uri="{FF2B5EF4-FFF2-40B4-BE49-F238E27FC236}">
                  <a16:creationId xmlns:a16="http://schemas.microsoft.com/office/drawing/2014/main" id="{B8AC577B-E5DB-4124-8ECF-A7EF61F717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90" y="3030"/>
              <a:ext cx="724" cy="160"/>
            </a:xfrm>
            <a:custGeom>
              <a:avLst/>
              <a:gdLst>
                <a:gd name="T0" fmla="*/ 0 w 724"/>
                <a:gd name="T1" fmla="*/ 160 h 160"/>
                <a:gd name="T2" fmla="*/ 84 w 724"/>
                <a:gd name="T3" fmla="*/ 38 h 160"/>
                <a:gd name="T4" fmla="*/ 88 w 724"/>
                <a:gd name="T5" fmla="*/ 30 h 160"/>
                <a:gd name="T6" fmla="*/ 96 w 724"/>
                <a:gd name="T7" fmla="*/ 16 h 160"/>
                <a:gd name="T8" fmla="*/ 108 w 724"/>
                <a:gd name="T9" fmla="*/ 6 h 160"/>
                <a:gd name="T10" fmla="*/ 124 w 724"/>
                <a:gd name="T11" fmla="*/ 0 h 160"/>
                <a:gd name="T12" fmla="*/ 132 w 724"/>
                <a:gd name="T13" fmla="*/ 0 h 160"/>
                <a:gd name="T14" fmla="*/ 148 w 724"/>
                <a:gd name="T15" fmla="*/ 2 h 160"/>
                <a:gd name="T16" fmla="*/ 162 w 724"/>
                <a:gd name="T17" fmla="*/ 10 h 160"/>
                <a:gd name="T18" fmla="*/ 174 w 724"/>
                <a:gd name="T19" fmla="*/ 22 h 160"/>
                <a:gd name="T20" fmla="*/ 180 w 724"/>
                <a:gd name="T21" fmla="*/ 38 h 160"/>
                <a:gd name="T22" fmla="*/ 544 w 724"/>
                <a:gd name="T23" fmla="*/ 38 h 160"/>
                <a:gd name="T24" fmla="*/ 550 w 724"/>
                <a:gd name="T25" fmla="*/ 22 h 160"/>
                <a:gd name="T26" fmla="*/ 560 w 724"/>
                <a:gd name="T27" fmla="*/ 10 h 160"/>
                <a:gd name="T28" fmla="*/ 574 w 724"/>
                <a:gd name="T29" fmla="*/ 2 h 160"/>
                <a:gd name="T30" fmla="*/ 592 w 724"/>
                <a:gd name="T31" fmla="*/ 0 h 160"/>
                <a:gd name="T32" fmla="*/ 600 w 724"/>
                <a:gd name="T33" fmla="*/ 0 h 160"/>
                <a:gd name="T34" fmla="*/ 616 w 724"/>
                <a:gd name="T35" fmla="*/ 6 h 160"/>
                <a:gd name="T36" fmla="*/ 628 w 724"/>
                <a:gd name="T37" fmla="*/ 16 h 160"/>
                <a:gd name="T38" fmla="*/ 636 w 724"/>
                <a:gd name="T39" fmla="*/ 30 h 160"/>
                <a:gd name="T40" fmla="*/ 724 w 724"/>
                <a:gd name="T41" fmla="*/ 38 h 160"/>
                <a:gd name="T42" fmla="*/ 18 w 724"/>
                <a:gd name="T43" fmla="*/ 142 h 160"/>
                <a:gd name="T44" fmla="*/ 706 w 724"/>
                <a:gd name="T45" fmla="*/ 56 h 160"/>
                <a:gd name="T46" fmla="*/ 622 w 724"/>
                <a:gd name="T47" fmla="*/ 48 h 160"/>
                <a:gd name="T48" fmla="*/ 620 w 724"/>
                <a:gd name="T49" fmla="*/ 42 h 160"/>
                <a:gd name="T50" fmla="*/ 612 w 724"/>
                <a:gd name="T51" fmla="*/ 26 h 160"/>
                <a:gd name="T52" fmla="*/ 598 w 724"/>
                <a:gd name="T53" fmla="*/ 18 h 160"/>
                <a:gd name="T54" fmla="*/ 592 w 724"/>
                <a:gd name="T55" fmla="*/ 18 h 160"/>
                <a:gd name="T56" fmla="*/ 580 w 724"/>
                <a:gd name="T57" fmla="*/ 20 h 160"/>
                <a:gd name="T58" fmla="*/ 564 w 724"/>
                <a:gd name="T59" fmla="*/ 36 h 160"/>
                <a:gd name="T60" fmla="*/ 562 w 724"/>
                <a:gd name="T61" fmla="*/ 48 h 160"/>
                <a:gd name="T62" fmla="*/ 162 w 724"/>
                <a:gd name="T63" fmla="*/ 56 h 160"/>
                <a:gd name="T64" fmla="*/ 162 w 724"/>
                <a:gd name="T65" fmla="*/ 48 h 160"/>
                <a:gd name="T66" fmla="*/ 160 w 724"/>
                <a:gd name="T67" fmla="*/ 36 h 160"/>
                <a:gd name="T68" fmla="*/ 144 w 724"/>
                <a:gd name="T69" fmla="*/ 20 h 160"/>
                <a:gd name="T70" fmla="*/ 132 w 724"/>
                <a:gd name="T71" fmla="*/ 18 h 160"/>
                <a:gd name="T72" fmla="*/ 126 w 724"/>
                <a:gd name="T73" fmla="*/ 18 h 160"/>
                <a:gd name="T74" fmla="*/ 110 w 724"/>
                <a:gd name="T75" fmla="*/ 26 h 160"/>
                <a:gd name="T76" fmla="*/ 102 w 724"/>
                <a:gd name="T77" fmla="*/ 42 h 160"/>
                <a:gd name="T78" fmla="*/ 102 w 724"/>
                <a:gd name="T79" fmla="*/ 56 h 160"/>
                <a:gd name="T80" fmla="*/ 18 w 724"/>
                <a:gd name="T81" fmla="*/ 142 h 160"/>
                <a:gd name="T82" fmla="*/ 640 w 724"/>
                <a:gd name="T83" fmla="*/ 48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24" h="160">
                  <a:moveTo>
                    <a:pt x="724" y="160"/>
                  </a:moveTo>
                  <a:lnTo>
                    <a:pt x="0" y="160"/>
                  </a:lnTo>
                  <a:lnTo>
                    <a:pt x="0" y="38"/>
                  </a:lnTo>
                  <a:lnTo>
                    <a:pt x="84" y="38"/>
                  </a:lnTo>
                  <a:lnTo>
                    <a:pt x="84" y="38"/>
                  </a:lnTo>
                  <a:lnTo>
                    <a:pt x="88" y="30"/>
                  </a:lnTo>
                  <a:lnTo>
                    <a:pt x="90" y="22"/>
                  </a:lnTo>
                  <a:lnTo>
                    <a:pt x="96" y="16"/>
                  </a:lnTo>
                  <a:lnTo>
                    <a:pt x="102" y="10"/>
                  </a:lnTo>
                  <a:lnTo>
                    <a:pt x="108" y="6"/>
                  </a:lnTo>
                  <a:lnTo>
                    <a:pt x="116" y="2"/>
                  </a:lnTo>
                  <a:lnTo>
                    <a:pt x="124" y="0"/>
                  </a:lnTo>
                  <a:lnTo>
                    <a:pt x="132" y="0"/>
                  </a:lnTo>
                  <a:lnTo>
                    <a:pt x="132" y="0"/>
                  </a:lnTo>
                  <a:lnTo>
                    <a:pt x="140" y="0"/>
                  </a:lnTo>
                  <a:lnTo>
                    <a:pt x="148" y="2"/>
                  </a:lnTo>
                  <a:lnTo>
                    <a:pt x="156" y="6"/>
                  </a:lnTo>
                  <a:lnTo>
                    <a:pt x="162" y="10"/>
                  </a:lnTo>
                  <a:lnTo>
                    <a:pt x="168" y="16"/>
                  </a:lnTo>
                  <a:lnTo>
                    <a:pt x="174" y="22"/>
                  </a:lnTo>
                  <a:lnTo>
                    <a:pt x="178" y="30"/>
                  </a:lnTo>
                  <a:lnTo>
                    <a:pt x="180" y="38"/>
                  </a:lnTo>
                  <a:lnTo>
                    <a:pt x="544" y="38"/>
                  </a:lnTo>
                  <a:lnTo>
                    <a:pt x="544" y="38"/>
                  </a:lnTo>
                  <a:lnTo>
                    <a:pt x="546" y="30"/>
                  </a:lnTo>
                  <a:lnTo>
                    <a:pt x="550" y="22"/>
                  </a:lnTo>
                  <a:lnTo>
                    <a:pt x="554" y="16"/>
                  </a:lnTo>
                  <a:lnTo>
                    <a:pt x="560" y="10"/>
                  </a:lnTo>
                  <a:lnTo>
                    <a:pt x="568" y="6"/>
                  </a:lnTo>
                  <a:lnTo>
                    <a:pt x="574" y="2"/>
                  </a:lnTo>
                  <a:lnTo>
                    <a:pt x="582" y="0"/>
                  </a:lnTo>
                  <a:lnTo>
                    <a:pt x="592" y="0"/>
                  </a:lnTo>
                  <a:lnTo>
                    <a:pt x="592" y="0"/>
                  </a:lnTo>
                  <a:lnTo>
                    <a:pt x="600" y="0"/>
                  </a:lnTo>
                  <a:lnTo>
                    <a:pt x="608" y="2"/>
                  </a:lnTo>
                  <a:lnTo>
                    <a:pt x="616" y="6"/>
                  </a:lnTo>
                  <a:lnTo>
                    <a:pt x="622" y="10"/>
                  </a:lnTo>
                  <a:lnTo>
                    <a:pt x="628" y="16"/>
                  </a:lnTo>
                  <a:lnTo>
                    <a:pt x="632" y="22"/>
                  </a:lnTo>
                  <a:lnTo>
                    <a:pt x="636" y="30"/>
                  </a:lnTo>
                  <a:lnTo>
                    <a:pt x="638" y="38"/>
                  </a:lnTo>
                  <a:lnTo>
                    <a:pt x="724" y="38"/>
                  </a:lnTo>
                  <a:lnTo>
                    <a:pt x="724" y="160"/>
                  </a:lnTo>
                  <a:close/>
                  <a:moveTo>
                    <a:pt x="18" y="142"/>
                  </a:moveTo>
                  <a:lnTo>
                    <a:pt x="706" y="142"/>
                  </a:lnTo>
                  <a:lnTo>
                    <a:pt x="706" y="56"/>
                  </a:lnTo>
                  <a:lnTo>
                    <a:pt x="622" y="56"/>
                  </a:lnTo>
                  <a:lnTo>
                    <a:pt x="622" y="48"/>
                  </a:lnTo>
                  <a:lnTo>
                    <a:pt x="622" y="48"/>
                  </a:lnTo>
                  <a:lnTo>
                    <a:pt x="620" y="42"/>
                  </a:lnTo>
                  <a:lnTo>
                    <a:pt x="620" y="36"/>
                  </a:lnTo>
                  <a:lnTo>
                    <a:pt x="612" y="26"/>
                  </a:lnTo>
                  <a:lnTo>
                    <a:pt x="604" y="20"/>
                  </a:lnTo>
                  <a:lnTo>
                    <a:pt x="598" y="18"/>
                  </a:lnTo>
                  <a:lnTo>
                    <a:pt x="592" y="18"/>
                  </a:lnTo>
                  <a:lnTo>
                    <a:pt x="592" y="18"/>
                  </a:lnTo>
                  <a:lnTo>
                    <a:pt x="586" y="18"/>
                  </a:lnTo>
                  <a:lnTo>
                    <a:pt x="580" y="20"/>
                  </a:lnTo>
                  <a:lnTo>
                    <a:pt x="570" y="26"/>
                  </a:lnTo>
                  <a:lnTo>
                    <a:pt x="564" y="36"/>
                  </a:lnTo>
                  <a:lnTo>
                    <a:pt x="562" y="42"/>
                  </a:lnTo>
                  <a:lnTo>
                    <a:pt x="562" y="48"/>
                  </a:lnTo>
                  <a:lnTo>
                    <a:pt x="562" y="56"/>
                  </a:lnTo>
                  <a:lnTo>
                    <a:pt x="162" y="56"/>
                  </a:lnTo>
                  <a:lnTo>
                    <a:pt x="162" y="48"/>
                  </a:lnTo>
                  <a:lnTo>
                    <a:pt x="162" y="48"/>
                  </a:lnTo>
                  <a:lnTo>
                    <a:pt x="162" y="42"/>
                  </a:lnTo>
                  <a:lnTo>
                    <a:pt x="160" y="36"/>
                  </a:lnTo>
                  <a:lnTo>
                    <a:pt x="154" y="26"/>
                  </a:lnTo>
                  <a:lnTo>
                    <a:pt x="144" y="20"/>
                  </a:lnTo>
                  <a:lnTo>
                    <a:pt x="138" y="18"/>
                  </a:lnTo>
                  <a:lnTo>
                    <a:pt x="132" y="18"/>
                  </a:lnTo>
                  <a:lnTo>
                    <a:pt x="132" y="18"/>
                  </a:lnTo>
                  <a:lnTo>
                    <a:pt x="126" y="18"/>
                  </a:lnTo>
                  <a:lnTo>
                    <a:pt x="120" y="20"/>
                  </a:lnTo>
                  <a:lnTo>
                    <a:pt x="110" y="26"/>
                  </a:lnTo>
                  <a:lnTo>
                    <a:pt x="104" y="36"/>
                  </a:lnTo>
                  <a:lnTo>
                    <a:pt x="102" y="42"/>
                  </a:lnTo>
                  <a:lnTo>
                    <a:pt x="102" y="48"/>
                  </a:lnTo>
                  <a:lnTo>
                    <a:pt x="102" y="56"/>
                  </a:lnTo>
                  <a:lnTo>
                    <a:pt x="18" y="56"/>
                  </a:lnTo>
                  <a:lnTo>
                    <a:pt x="18" y="142"/>
                  </a:lnTo>
                  <a:close/>
                  <a:moveTo>
                    <a:pt x="640" y="48"/>
                  </a:moveTo>
                  <a:lnTo>
                    <a:pt x="640" y="48"/>
                  </a:lnTo>
                  <a:lnTo>
                    <a:pt x="640" y="48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66" name="Rectangle 116">
              <a:extLst>
                <a:ext uri="{FF2B5EF4-FFF2-40B4-BE49-F238E27FC236}">
                  <a16:creationId xmlns:a16="http://schemas.microsoft.com/office/drawing/2014/main" id="{3224F9F1-56E5-4222-8FA3-6BE13E1DB2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60" y="3124"/>
              <a:ext cx="584" cy="18"/>
            </a:xfrm>
            <a:prstGeom prst="rect">
              <a:avLst/>
            </a:pr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</p:grpSp>
      <p:sp>
        <p:nvSpPr>
          <p:cNvPr id="3" name="Left Brace 2"/>
          <p:cNvSpPr/>
          <p:nvPr/>
        </p:nvSpPr>
        <p:spPr>
          <a:xfrm rot="16200000">
            <a:off x="4194952" y="2785834"/>
            <a:ext cx="279673" cy="5402364"/>
          </a:xfrm>
          <a:prstGeom prst="leftBrace">
            <a:avLst/>
          </a:prstGeom>
          <a:ln w="9525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>
              <a:latin typeface="+mj-lt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4F81996B-608A-49AA-AE65-43EC7CA14C42}"/>
              </a:ext>
            </a:extLst>
          </p:cNvPr>
          <p:cNvSpPr txBox="1"/>
          <p:nvPr/>
        </p:nvSpPr>
        <p:spPr>
          <a:xfrm>
            <a:off x="8802737" y="2926128"/>
            <a:ext cx="3274200" cy="1221873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285750" indent="-285750">
              <a:buClr>
                <a:schemeClr val="tx2"/>
              </a:buClr>
              <a:buFont typeface="Arial" panose="020B0604020202020204" pitchFamily="34" charset="0"/>
              <a:buChar char="►"/>
            </a:pPr>
            <a:r>
              <a:rPr lang="ru-RU" sz="1100" dirty="0">
                <a:solidFill>
                  <a:schemeClr val="bg1"/>
                </a:solidFill>
                <a:latin typeface="+mj-lt"/>
              </a:rPr>
              <a:t>С 01.03.2022 по 31.12.2023 </a:t>
            </a:r>
            <a:r>
              <a:rPr lang="ru-RU" sz="1100" b="1" dirty="0">
                <a:solidFill>
                  <a:schemeClr val="bg1"/>
                </a:solidFill>
                <a:latin typeface="+mj-lt"/>
              </a:rPr>
              <a:t>условие непосредственной закупки</a:t>
            </a:r>
            <a:r>
              <a:rPr lang="ru-RU" sz="1100" dirty="0">
                <a:solidFill>
                  <a:schemeClr val="bg1"/>
                </a:solidFill>
                <a:latin typeface="+mj-lt"/>
              </a:rPr>
              <a:t> </a:t>
            </a:r>
            <a:r>
              <a:rPr lang="ru-RU" sz="1100" u="sng" dirty="0">
                <a:solidFill>
                  <a:schemeClr val="bg1"/>
                </a:solidFill>
                <a:latin typeface="+mj-lt"/>
              </a:rPr>
              <a:t>не применяется</a:t>
            </a:r>
            <a:r>
              <a:rPr lang="ru-RU" sz="1100" dirty="0">
                <a:solidFill>
                  <a:schemeClr val="bg1"/>
                </a:solidFill>
                <a:latin typeface="+mj-lt"/>
              </a:rPr>
              <a:t>.</a:t>
            </a:r>
          </a:p>
          <a:p>
            <a:pPr marL="285750" indent="-285750">
              <a:buClr>
                <a:schemeClr val="tx2"/>
              </a:buClr>
              <a:buFont typeface="Arial" panose="020B0604020202020204" pitchFamily="34" charset="0"/>
              <a:buChar char="►"/>
            </a:pPr>
            <a:r>
              <a:rPr lang="ru-RU" sz="1100" dirty="0">
                <a:solidFill>
                  <a:schemeClr val="bg1"/>
                </a:solidFill>
                <a:latin typeface="+mj-lt"/>
              </a:rPr>
              <a:t>Возможность предоставления сертификата происхождения в </a:t>
            </a:r>
            <a:r>
              <a:rPr lang="ru-RU" sz="1100" u="sng" dirty="0">
                <a:solidFill>
                  <a:schemeClr val="bg1"/>
                </a:solidFill>
                <a:latin typeface="+mj-lt"/>
              </a:rPr>
              <a:t>электронной форме</a:t>
            </a:r>
            <a:r>
              <a:rPr lang="ru-RU" sz="1100" dirty="0">
                <a:solidFill>
                  <a:schemeClr val="bg1"/>
                </a:solidFill>
                <a:latin typeface="+mj-lt"/>
              </a:rPr>
              <a:t> при декларировании. </a:t>
            </a:r>
          </a:p>
        </p:txBody>
      </p:sp>
      <p:grpSp>
        <p:nvGrpSpPr>
          <p:cNvPr id="4" name="Group 3"/>
          <p:cNvGrpSpPr/>
          <p:nvPr/>
        </p:nvGrpSpPr>
        <p:grpSpPr>
          <a:xfrm rot="5400000">
            <a:off x="9972831" y="4128506"/>
            <a:ext cx="477075" cy="972643"/>
            <a:chOff x="3477853" y="1825245"/>
            <a:chExt cx="477075" cy="972643"/>
          </a:xfrm>
        </p:grpSpPr>
        <p:sp>
          <p:nvSpPr>
            <p:cNvPr id="70" name="Arrow: Chevron 9">
              <a:extLst>
                <a:ext uri="{FF2B5EF4-FFF2-40B4-BE49-F238E27FC236}">
                  <a16:creationId xmlns:a16="http://schemas.microsoft.com/office/drawing/2014/main" id="{7D698D27-B8DB-4F65-8EEC-6BC3BA341428}"/>
                </a:ext>
              </a:extLst>
            </p:cNvPr>
            <p:cNvSpPr/>
            <p:nvPr/>
          </p:nvSpPr>
          <p:spPr>
            <a:xfrm>
              <a:off x="3477853" y="1825245"/>
              <a:ext cx="255947" cy="972643"/>
            </a:xfrm>
            <a:prstGeom prst="chevron">
              <a:avLst>
                <a:gd name="adj" fmla="val 91418"/>
              </a:avLst>
            </a:prstGeom>
            <a:solidFill>
              <a:srgbClr val="47B05E"/>
            </a:solidFill>
            <a:ln w="9525">
              <a:solidFill>
                <a:srgbClr val="47B05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US" sz="1100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71" name="Arrow: Chevron 89">
              <a:extLst>
                <a:ext uri="{FF2B5EF4-FFF2-40B4-BE49-F238E27FC236}">
                  <a16:creationId xmlns:a16="http://schemas.microsoft.com/office/drawing/2014/main" id="{52A176F7-FCC2-455C-B25B-9B76CFC8734C}"/>
                </a:ext>
              </a:extLst>
            </p:cNvPr>
            <p:cNvSpPr/>
            <p:nvPr/>
          </p:nvSpPr>
          <p:spPr>
            <a:xfrm>
              <a:off x="3588417" y="1825245"/>
              <a:ext cx="255947" cy="972643"/>
            </a:xfrm>
            <a:prstGeom prst="chevron">
              <a:avLst>
                <a:gd name="adj" fmla="val 91418"/>
              </a:avLst>
            </a:prstGeom>
            <a:solidFill>
              <a:srgbClr val="47B05E"/>
            </a:solidFill>
            <a:ln w="9525">
              <a:solidFill>
                <a:srgbClr val="47B05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US" sz="1100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72" name="Arrow: Chevron 90">
              <a:extLst>
                <a:ext uri="{FF2B5EF4-FFF2-40B4-BE49-F238E27FC236}">
                  <a16:creationId xmlns:a16="http://schemas.microsoft.com/office/drawing/2014/main" id="{4D9B6940-403D-4703-A684-68FD49C22EDA}"/>
                </a:ext>
              </a:extLst>
            </p:cNvPr>
            <p:cNvSpPr/>
            <p:nvPr/>
          </p:nvSpPr>
          <p:spPr>
            <a:xfrm>
              <a:off x="3698981" y="1825245"/>
              <a:ext cx="255947" cy="972643"/>
            </a:xfrm>
            <a:prstGeom prst="chevron">
              <a:avLst>
                <a:gd name="adj" fmla="val 91418"/>
              </a:avLst>
            </a:prstGeom>
            <a:solidFill>
              <a:srgbClr val="47B05E"/>
            </a:solidFill>
            <a:ln w="9525">
              <a:solidFill>
                <a:srgbClr val="47B05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US" sz="1100" dirty="0">
                <a:solidFill>
                  <a:schemeClr val="tx1"/>
                </a:solidFill>
                <a:latin typeface="+mj-lt"/>
              </a:endParaRPr>
            </a:p>
          </p:txBody>
        </p:sp>
      </p:grpSp>
      <p:sp>
        <p:nvSpPr>
          <p:cNvPr id="73" name="TextBox 72">
            <a:extLst>
              <a:ext uri="{FF2B5EF4-FFF2-40B4-BE49-F238E27FC236}">
                <a16:creationId xmlns:a16="http://schemas.microsoft.com/office/drawing/2014/main" id="{AD5A0691-4396-4EB1-9D62-5782B6843AD4}"/>
              </a:ext>
            </a:extLst>
          </p:cNvPr>
          <p:cNvSpPr txBox="1"/>
          <p:nvPr/>
        </p:nvSpPr>
        <p:spPr>
          <a:xfrm>
            <a:off x="8802737" y="5033365"/>
            <a:ext cx="3028218" cy="11079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Упрощение в получении тарифных преференций </a:t>
            </a:r>
            <a:r>
              <a:rPr kumimoji="0" lang="ru-RU" sz="1100" b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для товаров, происходящих из развивающихся</a:t>
            </a:r>
            <a:r>
              <a:rPr kumimoji="0" lang="en-US" sz="1100" b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ru-RU" sz="1100" b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стран (-25 % от базовой ставки пошлины) и наименее развитых стран (0 % ввозной пошлины).</a:t>
            </a:r>
          </a:p>
        </p:txBody>
      </p:sp>
      <p:pic>
        <p:nvPicPr>
          <p:cNvPr id="74" name="Picture 73">
            <a:extLst>
              <a:ext uri="{FF2B5EF4-FFF2-40B4-BE49-F238E27FC236}">
                <a16:creationId xmlns:a16="http://schemas.microsoft.com/office/drawing/2014/main" id="{0F2D9C01-7256-4E3D-8C2A-1024E45F1C9D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8389" y="1060924"/>
            <a:ext cx="723900" cy="636588"/>
          </a:xfrm>
          <a:prstGeom prst="rect">
            <a:avLst/>
          </a:prstGeom>
        </p:spPr>
      </p:pic>
      <p:sp>
        <p:nvSpPr>
          <p:cNvPr id="76" name="Rectangle: Rounded Corners 19">
            <a:extLst>
              <a:ext uri="{FF2B5EF4-FFF2-40B4-BE49-F238E27FC236}">
                <a16:creationId xmlns:a16="http://schemas.microsoft.com/office/drawing/2014/main" id="{DFF0249C-F132-484B-8311-F6978E98AC8C}"/>
              </a:ext>
            </a:extLst>
          </p:cNvPr>
          <p:cNvSpPr/>
          <p:nvPr/>
        </p:nvSpPr>
        <p:spPr>
          <a:xfrm>
            <a:off x="8686800" y="2346265"/>
            <a:ext cx="3361966" cy="434581"/>
          </a:xfrm>
          <a:prstGeom prst="roundRect">
            <a:avLst/>
          </a:prstGeom>
          <a:noFill/>
          <a:ln w="9525" cap="flat" cmpd="sng" algn="ctr">
            <a:solidFill>
              <a:srgbClr val="47B05E"/>
            </a:solidFill>
            <a:prstDash val="solid"/>
          </a:ln>
          <a:effectLst/>
        </p:spPr>
        <p:txBody>
          <a:bodyPr rtlCol="0" anchor="ctr" anchorCtr="0"/>
          <a:lstStyle/>
          <a:p>
            <a:pPr lvl="0" algn="ctr">
              <a:defRPr/>
            </a:pPr>
            <a:r>
              <a:rPr lang="ru-RU" sz="1100" kern="0" dirty="0">
                <a:solidFill>
                  <a:schemeClr val="tx2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Решение Коллегии ЕЭК от 17.03.2022 № 33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83A5693A-458C-430A-8E21-130866DFD64B}"/>
              </a:ext>
            </a:extLst>
          </p:cNvPr>
          <p:cNvSpPr txBox="1"/>
          <p:nvPr/>
        </p:nvSpPr>
        <p:spPr>
          <a:xfrm>
            <a:off x="8762370" y="1855113"/>
            <a:ext cx="3277230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100" b="1" dirty="0">
                <a:solidFill>
                  <a:schemeClr val="bg2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Упрощение получения тарифных преференций</a:t>
            </a:r>
            <a:endParaRPr lang="ru-RU" sz="1100" b="1" i="1" dirty="0">
              <a:solidFill>
                <a:schemeClr val="bg2"/>
              </a:solidFill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7" name="Rectangle: Rounded Corners 18">
            <a:extLst>
              <a:ext uri="{FF2B5EF4-FFF2-40B4-BE49-F238E27FC236}">
                <a16:creationId xmlns:a16="http://schemas.microsoft.com/office/drawing/2014/main" id="{2335C66D-944D-438D-9DE5-0219D2F3B560}"/>
              </a:ext>
            </a:extLst>
          </p:cNvPr>
          <p:cNvSpPr/>
          <p:nvPr/>
        </p:nvSpPr>
        <p:spPr>
          <a:xfrm>
            <a:off x="4481378" y="2496318"/>
            <a:ext cx="3590566" cy="267670"/>
          </a:xfrm>
          <a:prstGeom prst="roundRect">
            <a:avLst/>
          </a:prstGeom>
          <a:noFill/>
          <a:ln w="9525" cap="flat" cmpd="sng" algn="ctr">
            <a:solidFill>
              <a:srgbClr val="47B05E"/>
            </a:solidFill>
            <a:prstDash val="solid"/>
          </a:ln>
          <a:effectLst/>
        </p:spPr>
        <p:txBody>
          <a:bodyPr rtlCol="0" anchor="ctr" anchorCtr="0"/>
          <a:lstStyle/>
          <a:p>
            <a:pPr lvl="0" algn="ctr">
              <a:defRPr/>
            </a:pPr>
            <a:r>
              <a:rPr lang="ru-RU" sz="1100" kern="0" dirty="0">
                <a:solidFill>
                  <a:schemeClr val="tx2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Решение Совета ЕЭК от 15.04.2022 № 76</a:t>
            </a:r>
            <a:endParaRPr kumimoji="0" lang="en-US" sz="110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9" name="Rectangle: Rounded Corners 18">
            <a:extLst>
              <a:ext uri="{FF2B5EF4-FFF2-40B4-BE49-F238E27FC236}">
                <a16:creationId xmlns:a16="http://schemas.microsoft.com/office/drawing/2014/main" id="{2335C66D-944D-438D-9DE5-0219D2F3B560}"/>
              </a:ext>
            </a:extLst>
          </p:cNvPr>
          <p:cNvSpPr/>
          <p:nvPr/>
        </p:nvSpPr>
        <p:spPr>
          <a:xfrm>
            <a:off x="4490440" y="2849484"/>
            <a:ext cx="3590566" cy="267670"/>
          </a:xfrm>
          <a:prstGeom prst="roundRect">
            <a:avLst/>
          </a:prstGeom>
          <a:noFill/>
          <a:ln w="9525" cap="flat" cmpd="sng" algn="ctr">
            <a:solidFill>
              <a:srgbClr val="47B05E"/>
            </a:solidFill>
            <a:prstDash val="solid"/>
          </a:ln>
          <a:effectLst/>
        </p:spPr>
        <p:txBody>
          <a:bodyPr rtlCol="0" anchor="ctr" anchorCtr="0"/>
          <a:lstStyle/>
          <a:p>
            <a:pPr lvl="0" algn="ctr">
              <a:defRPr/>
            </a:pPr>
            <a:r>
              <a:rPr lang="ru-RU" sz="1100" kern="0" dirty="0">
                <a:solidFill>
                  <a:schemeClr val="tx2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Решение Совета ЕЭК от 19.04.2022 № 66</a:t>
            </a:r>
            <a:endParaRPr kumimoji="0" lang="en-US" sz="110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8438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1BC30E3-FFE5-4B91-AA19-87A149EBB9EE}" type="slidenum">
              <a:rPr smtClean="0"/>
              <a:pPr/>
              <a:t>8</a:t>
            </a:fld>
            <a:endParaRPr dirty="0"/>
          </a:p>
        </p:txBody>
      </p:sp>
      <p:sp>
        <p:nvSpPr>
          <p:cNvPr id="6" name="Title 2"/>
          <p:cNvSpPr txBox="1">
            <a:spLocks/>
          </p:cNvSpPr>
          <p:nvPr/>
        </p:nvSpPr>
        <p:spPr>
          <a:xfrm>
            <a:off x="609601" y="534494"/>
            <a:ext cx="10972800" cy="590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514051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400" b="1" kern="1200">
                <a:solidFill>
                  <a:srgbClr val="4AA851"/>
                </a:solidFill>
                <a:latin typeface="Montserrat" panose="00000500000000000000" pitchFamily="2" charset="-52"/>
                <a:ea typeface="+mj-ea"/>
                <a:cs typeface="Arial" pitchFamily="34" charset="0"/>
              </a:defRPr>
            </a:lvl1pPr>
          </a:lstStyle>
          <a:p>
            <a:r>
              <a:rPr lang="ru-RU" dirty="0" smtClean="0">
                <a:solidFill>
                  <a:schemeClr val="tx2"/>
                </a:solidFill>
              </a:rPr>
              <a:t>Чем Б1 может помочь</a:t>
            </a:r>
            <a:r>
              <a:rPr lang="en-US" dirty="0" smtClean="0">
                <a:solidFill>
                  <a:schemeClr val="tx2"/>
                </a:solidFill>
              </a:rPr>
              <a:t>?</a:t>
            </a:r>
            <a:r>
              <a:rPr lang="ru-RU" dirty="0" smtClean="0">
                <a:solidFill>
                  <a:schemeClr val="bg1"/>
                </a:solidFill>
              </a:rPr>
              <a:t/>
            </a:r>
            <a:br>
              <a:rPr lang="ru-RU" dirty="0" smtClean="0">
                <a:solidFill>
                  <a:schemeClr val="bg1"/>
                </a:solidFill>
              </a:rPr>
            </a:br>
            <a:endParaRPr lang="ru-RU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AF2CDD91-EB9C-4877-8E71-00DA24A5943D}"/>
              </a:ext>
            </a:extLst>
          </p:cNvPr>
          <p:cNvGrpSpPr/>
          <p:nvPr/>
        </p:nvGrpSpPr>
        <p:grpSpPr>
          <a:xfrm>
            <a:off x="4552436" y="442935"/>
            <a:ext cx="411444" cy="442288"/>
            <a:chOff x="457200" y="1249363"/>
            <a:chExt cx="1054100" cy="1441450"/>
          </a:xfrm>
          <a:solidFill>
            <a:srgbClr val="2E2E38"/>
          </a:solidFill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598A4DC1-6679-4052-887C-EF898EEB77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6575" y="1344613"/>
              <a:ext cx="895350" cy="1263650"/>
            </a:xfrm>
            <a:custGeom>
              <a:avLst/>
              <a:gdLst>
                <a:gd name="T0" fmla="*/ 170 w 564"/>
                <a:gd name="T1" fmla="*/ 540 h 796"/>
                <a:gd name="T2" fmla="*/ 134 w 564"/>
                <a:gd name="T3" fmla="*/ 520 h 796"/>
                <a:gd name="T4" fmla="*/ 84 w 564"/>
                <a:gd name="T5" fmla="*/ 482 h 796"/>
                <a:gd name="T6" fmla="*/ 46 w 564"/>
                <a:gd name="T7" fmla="*/ 436 h 796"/>
                <a:gd name="T8" fmla="*/ 18 w 564"/>
                <a:gd name="T9" fmla="*/ 382 h 796"/>
                <a:gd name="T10" fmla="*/ 4 w 564"/>
                <a:gd name="T11" fmla="*/ 322 h 796"/>
                <a:gd name="T12" fmla="*/ 0 w 564"/>
                <a:gd name="T13" fmla="*/ 282 h 796"/>
                <a:gd name="T14" fmla="*/ 12 w 564"/>
                <a:gd name="T15" fmla="*/ 198 h 796"/>
                <a:gd name="T16" fmla="*/ 48 w 564"/>
                <a:gd name="T17" fmla="*/ 124 h 796"/>
                <a:gd name="T18" fmla="*/ 102 w 564"/>
                <a:gd name="T19" fmla="*/ 64 h 796"/>
                <a:gd name="T20" fmla="*/ 172 w 564"/>
                <a:gd name="T21" fmla="*/ 22 h 796"/>
                <a:gd name="T22" fmla="*/ 252 w 564"/>
                <a:gd name="T23" fmla="*/ 0 h 796"/>
                <a:gd name="T24" fmla="*/ 310 w 564"/>
                <a:gd name="T25" fmla="*/ 0 h 796"/>
                <a:gd name="T26" fmla="*/ 392 w 564"/>
                <a:gd name="T27" fmla="*/ 22 h 796"/>
                <a:gd name="T28" fmla="*/ 460 w 564"/>
                <a:gd name="T29" fmla="*/ 64 h 796"/>
                <a:gd name="T30" fmla="*/ 514 w 564"/>
                <a:gd name="T31" fmla="*/ 124 h 796"/>
                <a:gd name="T32" fmla="*/ 550 w 564"/>
                <a:gd name="T33" fmla="*/ 198 h 796"/>
                <a:gd name="T34" fmla="*/ 564 w 564"/>
                <a:gd name="T35" fmla="*/ 282 h 796"/>
                <a:gd name="T36" fmla="*/ 560 w 564"/>
                <a:gd name="T37" fmla="*/ 324 h 796"/>
                <a:gd name="T38" fmla="*/ 544 w 564"/>
                <a:gd name="T39" fmla="*/ 384 h 796"/>
                <a:gd name="T40" fmla="*/ 516 w 564"/>
                <a:gd name="T41" fmla="*/ 438 h 796"/>
                <a:gd name="T42" fmla="*/ 476 w 564"/>
                <a:gd name="T43" fmla="*/ 484 h 796"/>
                <a:gd name="T44" fmla="*/ 428 w 564"/>
                <a:gd name="T45" fmla="*/ 522 h 796"/>
                <a:gd name="T46" fmla="*/ 390 w 564"/>
                <a:gd name="T47" fmla="*/ 796 h 796"/>
                <a:gd name="T48" fmla="*/ 372 w 564"/>
                <a:gd name="T49" fmla="*/ 528 h 796"/>
                <a:gd name="T50" fmla="*/ 396 w 564"/>
                <a:gd name="T51" fmla="*/ 518 h 796"/>
                <a:gd name="T52" fmla="*/ 446 w 564"/>
                <a:gd name="T53" fmla="*/ 486 h 796"/>
                <a:gd name="T54" fmla="*/ 488 w 564"/>
                <a:gd name="T55" fmla="*/ 446 h 796"/>
                <a:gd name="T56" fmla="*/ 518 w 564"/>
                <a:gd name="T57" fmla="*/ 396 h 796"/>
                <a:gd name="T58" fmla="*/ 538 w 564"/>
                <a:gd name="T59" fmla="*/ 340 h 796"/>
                <a:gd name="T60" fmla="*/ 546 w 564"/>
                <a:gd name="T61" fmla="*/ 282 h 796"/>
                <a:gd name="T62" fmla="*/ 540 w 564"/>
                <a:gd name="T63" fmla="*/ 228 h 796"/>
                <a:gd name="T64" fmla="*/ 514 w 564"/>
                <a:gd name="T65" fmla="*/ 156 h 796"/>
                <a:gd name="T66" fmla="*/ 468 w 564"/>
                <a:gd name="T67" fmla="*/ 94 h 796"/>
                <a:gd name="T68" fmla="*/ 408 w 564"/>
                <a:gd name="T69" fmla="*/ 50 h 796"/>
                <a:gd name="T70" fmla="*/ 334 w 564"/>
                <a:gd name="T71" fmla="*/ 22 h 796"/>
                <a:gd name="T72" fmla="*/ 282 w 564"/>
                <a:gd name="T73" fmla="*/ 18 h 796"/>
                <a:gd name="T74" fmla="*/ 204 w 564"/>
                <a:gd name="T75" fmla="*/ 30 h 796"/>
                <a:gd name="T76" fmla="*/ 134 w 564"/>
                <a:gd name="T77" fmla="*/ 62 h 796"/>
                <a:gd name="T78" fmla="*/ 78 w 564"/>
                <a:gd name="T79" fmla="*/ 114 h 796"/>
                <a:gd name="T80" fmla="*/ 38 w 564"/>
                <a:gd name="T81" fmla="*/ 178 h 796"/>
                <a:gd name="T82" fmla="*/ 20 w 564"/>
                <a:gd name="T83" fmla="*/ 254 h 796"/>
                <a:gd name="T84" fmla="*/ 18 w 564"/>
                <a:gd name="T85" fmla="*/ 302 h 796"/>
                <a:gd name="T86" fmla="*/ 30 w 564"/>
                <a:gd name="T87" fmla="*/ 358 h 796"/>
                <a:gd name="T88" fmla="*/ 52 w 564"/>
                <a:gd name="T89" fmla="*/ 412 h 796"/>
                <a:gd name="T90" fmla="*/ 86 w 564"/>
                <a:gd name="T91" fmla="*/ 458 h 796"/>
                <a:gd name="T92" fmla="*/ 130 w 564"/>
                <a:gd name="T93" fmla="*/ 496 h 796"/>
                <a:gd name="T94" fmla="*/ 182 w 564"/>
                <a:gd name="T95" fmla="*/ 526 h 7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564" h="796">
                  <a:moveTo>
                    <a:pt x="390" y="796"/>
                  </a:moveTo>
                  <a:lnTo>
                    <a:pt x="170" y="796"/>
                  </a:lnTo>
                  <a:lnTo>
                    <a:pt x="170" y="540"/>
                  </a:lnTo>
                  <a:lnTo>
                    <a:pt x="170" y="540"/>
                  </a:lnTo>
                  <a:lnTo>
                    <a:pt x="152" y="530"/>
                  </a:lnTo>
                  <a:lnTo>
                    <a:pt x="134" y="520"/>
                  </a:lnTo>
                  <a:lnTo>
                    <a:pt x="116" y="508"/>
                  </a:lnTo>
                  <a:lnTo>
                    <a:pt x="100" y="496"/>
                  </a:lnTo>
                  <a:lnTo>
                    <a:pt x="84" y="482"/>
                  </a:lnTo>
                  <a:lnTo>
                    <a:pt x="70" y="468"/>
                  </a:lnTo>
                  <a:lnTo>
                    <a:pt x="58" y="452"/>
                  </a:lnTo>
                  <a:lnTo>
                    <a:pt x="46" y="436"/>
                  </a:lnTo>
                  <a:lnTo>
                    <a:pt x="36" y="418"/>
                  </a:lnTo>
                  <a:lnTo>
                    <a:pt x="26" y="400"/>
                  </a:lnTo>
                  <a:lnTo>
                    <a:pt x="18" y="382"/>
                  </a:lnTo>
                  <a:lnTo>
                    <a:pt x="12" y="362"/>
                  </a:lnTo>
                  <a:lnTo>
                    <a:pt x="6" y="344"/>
                  </a:lnTo>
                  <a:lnTo>
                    <a:pt x="4" y="322"/>
                  </a:lnTo>
                  <a:lnTo>
                    <a:pt x="0" y="302"/>
                  </a:lnTo>
                  <a:lnTo>
                    <a:pt x="0" y="282"/>
                  </a:lnTo>
                  <a:lnTo>
                    <a:pt x="0" y="282"/>
                  </a:lnTo>
                  <a:lnTo>
                    <a:pt x="2" y="252"/>
                  </a:lnTo>
                  <a:lnTo>
                    <a:pt x="6" y="224"/>
                  </a:lnTo>
                  <a:lnTo>
                    <a:pt x="12" y="198"/>
                  </a:lnTo>
                  <a:lnTo>
                    <a:pt x="22" y="172"/>
                  </a:lnTo>
                  <a:lnTo>
                    <a:pt x="34" y="146"/>
                  </a:lnTo>
                  <a:lnTo>
                    <a:pt x="48" y="124"/>
                  </a:lnTo>
                  <a:lnTo>
                    <a:pt x="64" y="102"/>
                  </a:lnTo>
                  <a:lnTo>
                    <a:pt x="82" y="82"/>
                  </a:lnTo>
                  <a:lnTo>
                    <a:pt x="102" y="64"/>
                  </a:lnTo>
                  <a:lnTo>
                    <a:pt x="124" y="48"/>
                  </a:lnTo>
                  <a:lnTo>
                    <a:pt x="148" y="34"/>
                  </a:lnTo>
                  <a:lnTo>
                    <a:pt x="172" y="22"/>
                  </a:lnTo>
                  <a:lnTo>
                    <a:pt x="198" y="12"/>
                  </a:lnTo>
                  <a:lnTo>
                    <a:pt x="224" y="6"/>
                  </a:lnTo>
                  <a:lnTo>
                    <a:pt x="252" y="0"/>
                  </a:lnTo>
                  <a:lnTo>
                    <a:pt x="282" y="0"/>
                  </a:lnTo>
                  <a:lnTo>
                    <a:pt x="282" y="0"/>
                  </a:lnTo>
                  <a:lnTo>
                    <a:pt x="310" y="0"/>
                  </a:lnTo>
                  <a:lnTo>
                    <a:pt x="338" y="6"/>
                  </a:lnTo>
                  <a:lnTo>
                    <a:pt x="366" y="12"/>
                  </a:lnTo>
                  <a:lnTo>
                    <a:pt x="392" y="22"/>
                  </a:lnTo>
                  <a:lnTo>
                    <a:pt x="416" y="34"/>
                  </a:lnTo>
                  <a:lnTo>
                    <a:pt x="438" y="48"/>
                  </a:lnTo>
                  <a:lnTo>
                    <a:pt x="460" y="64"/>
                  </a:lnTo>
                  <a:lnTo>
                    <a:pt x="480" y="82"/>
                  </a:lnTo>
                  <a:lnTo>
                    <a:pt x="498" y="102"/>
                  </a:lnTo>
                  <a:lnTo>
                    <a:pt x="514" y="124"/>
                  </a:lnTo>
                  <a:lnTo>
                    <a:pt x="530" y="146"/>
                  </a:lnTo>
                  <a:lnTo>
                    <a:pt x="540" y="172"/>
                  </a:lnTo>
                  <a:lnTo>
                    <a:pt x="550" y="198"/>
                  </a:lnTo>
                  <a:lnTo>
                    <a:pt x="558" y="224"/>
                  </a:lnTo>
                  <a:lnTo>
                    <a:pt x="562" y="252"/>
                  </a:lnTo>
                  <a:lnTo>
                    <a:pt x="564" y="282"/>
                  </a:lnTo>
                  <a:lnTo>
                    <a:pt x="564" y="282"/>
                  </a:lnTo>
                  <a:lnTo>
                    <a:pt x="562" y="302"/>
                  </a:lnTo>
                  <a:lnTo>
                    <a:pt x="560" y="324"/>
                  </a:lnTo>
                  <a:lnTo>
                    <a:pt x="556" y="344"/>
                  </a:lnTo>
                  <a:lnTo>
                    <a:pt x="550" y="364"/>
                  </a:lnTo>
                  <a:lnTo>
                    <a:pt x="544" y="384"/>
                  </a:lnTo>
                  <a:lnTo>
                    <a:pt x="536" y="402"/>
                  </a:lnTo>
                  <a:lnTo>
                    <a:pt x="526" y="420"/>
                  </a:lnTo>
                  <a:lnTo>
                    <a:pt x="516" y="438"/>
                  </a:lnTo>
                  <a:lnTo>
                    <a:pt x="504" y="454"/>
                  </a:lnTo>
                  <a:lnTo>
                    <a:pt x="492" y="470"/>
                  </a:lnTo>
                  <a:lnTo>
                    <a:pt x="476" y="484"/>
                  </a:lnTo>
                  <a:lnTo>
                    <a:pt x="462" y="498"/>
                  </a:lnTo>
                  <a:lnTo>
                    <a:pt x="446" y="510"/>
                  </a:lnTo>
                  <a:lnTo>
                    <a:pt x="428" y="522"/>
                  </a:lnTo>
                  <a:lnTo>
                    <a:pt x="410" y="532"/>
                  </a:lnTo>
                  <a:lnTo>
                    <a:pt x="390" y="540"/>
                  </a:lnTo>
                  <a:lnTo>
                    <a:pt x="390" y="796"/>
                  </a:lnTo>
                  <a:close/>
                  <a:moveTo>
                    <a:pt x="188" y="778"/>
                  </a:moveTo>
                  <a:lnTo>
                    <a:pt x="372" y="778"/>
                  </a:lnTo>
                  <a:lnTo>
                    <a:pt x="372" y="528"/>
                  </a:lnTo>
                  <a:lnTo>
                    <a:pt x="378" y="526"/>
                  </a:lnTo>
                  <a:lnTo>
                    <a:pt x="378" y="526"/>
                  </a:lnTo>
                  <a:lnTo>
                    <a:pt x="396" y="518"/>
                  </a:lnTo>
                  <a:lnTo>
                    <a:pt x="414" y="508"/>
                  </a:lnTo>
                  <a:lnTo>
                    <a:pt x="430" y="498"/>
                  </a:lnTo>
                  <a:lnTo>
                    <a:pt x="446" y="486"/>
                  </a:lnTo>
                  <a:lnTo>
                    <a:pt x="462" y="474"/>
                  </a:lnTo>
                  <a:lnTo>
                    <a:pt x="476" y="460"/>
                  </a:lnTo>
                  <a:lnTo>
                    <a:pt x="488" y="446"/>
                  </a:lnTo>
                  <a:lnTo>
                    <a:pt x="500" y="430"/>
                  </a:lnTo>
                  <a:lnTo>
                    <a:pt x="510" y="414"/>
                  </a:lnTo>
                  <a:lnTo>
                    <a:pt x="518" y="396"/>
                  </a:lnTo>
                  <a:lnTo>
                    <a:pt x="526" y="378"/>
                  </a:lnTo>
                  <a:lnTo>
                    <a:pt x="534" y="360"/>
                  </a:lnTo>
                  <a:lnTo>
                    <a:pt x="538" y="340"/>
                  </a:lnTo>
                  <a:lnTo>
                    <a:pt x="542" y="322"/>
                  </a:lnTo>
                  <a:lnTo>
                    <a:pt x="544" y="302"/>
                  </a:lnTo>
                  <a:lnTo>
                    <a:pt x="546" y="282"/>
                  </a:lnTo>
                  <a:lnTo>
                    <a:pt x="546" y="282"/>
                  </a:lnTo>
                  <a:lnTo>
                    <a:pt x="544" y="254"/>
                  </a:lnTo>
                  <a:lnTo>
                    <a:pt x="540" y="228"/>
                  </a:lnTo>
                  <a:lnTo>
                    <a:pt x="534" y="202"/>
                  </a:lnTo>
                  <a:lnTo>
                    <a:pt x="524" y="178"/>
                  </a:lnTo>
                  <a:lnTo>
                    <a:pt x="514" y="156"/>
                  </a:lnTo>
                  <a:lnTo>
                    <a:pt x="500" y="134"/>
                  </a:lnTo>
                  <a:lnTo>
                    <a:pt x="484" y="114"/>
                  </a:lnTo>
                  <a:lnTo>
                    <a:pt x="468" y="94"/>
                  </a:lnTo>
                  <a:lnTo>
                    <a:pt x="450" y="78"/>
                  </a:lnTo>
                  <a:lnTo>
                    <a:pt x="428" y="62"/>
                  </a:lnTo>
                  <a:lnTo>
                    <a:pt x="408" y="50"/>
                  </a:lnTo>
                  <a:lnTo>
                    <a:pt x="384" y="38"/>
                  </a:lnTo>
                  <a:lnTo>
                    <a:pt x="360" y="30"/>
                  </a:lnTo>
                  <a:lnTo>
                    <a:pt x="334" y="22"/>
                  </a:lnTo>
                  <a:lnTo>
                    <a:pt x="308" y="18"/>
                  </a:lnTo>
                  <a:lnTo>
                    <a:pt x="282" y="18"/>
                  </a:lnTo>
                  <a:lnTo>
                    <a:pt x="282" y="18"/>
                  </a:lnTo>
                  <a:lnTo>
                    <a:pt x="254" y="18"/>
                  </a:lnTo>
                  <a:lnTo>
                    <a:pt x="228" y="22"/>
                  </a:lnTo>
                  <a:lnTo>
                    <a:pt x="204" y="30"/>
                  </a:lnTo>
                  <a:lnTo>
                    <a:pt x="180" y="38"/>
                  </a:lnTo>
                  <a:lnTo>
                    <a:pt x="156" y="50"/>
                  </a:lnTo>
                  <a:lnTo>
                    <a:pt x="134" y="62"/>
                  </a:lnTo>
                  <a:lnTo>
                    <a:pt x="114" y="78"/>
                  </a:lnTo>
                  <a:lnTo>
                    <a:pt x="96" y="94"/>
                  </a:lnTo>
                  <a:lnTo>
                    <a:pt x="78" y="114"/>
                  </a:lnTo>
                  <a:lnTo>
                    <a:pt x="64" y="134"/>
                  </a:lnTo>
                  <a:lnTo>
                    <a:pt x="50" y="156"/>
                  </a:lnTo>
                  <a:lnTo>
                    <a:pt x="38" y="178"/>
                  </a:lnTo>
                  <a:lnTo>
                    <a:pt x="30" y="202"/>
                  </a:lnTo>
                  <a:lnTo>
                    <a:pt x="24" y="228"/>
                  </a:lnTo>
                  <a:lnTo>
                    <a:pt x="20" y="254"/>
                  </a:lnTo>
                  <a:lnTo>
                    <a:pt x="18" y="282"/>
                  </a:lnTo>
                  <a:lnTo>
                    <a:pt x="18" y="282"/>
                  </a:lnTo>
                  <a:lnTo>
                    <a:pt x="18" y="302"/>
                  </a:lnTo>
                  <a:lnTo>
                    <a:pt x="20" y="320"/>
                  </a:lnTo>
                  <a:lnTo>
                    <a:pt x="24" y="340"/>
                  </a:lnTo>
                  <a:lnTo>
                    <a:pt x="30" y="358"/>
                  </a:lnTo>
                  <a:lnTo>
                    <a:pt x="36" y="378"/>
                  </a:lnTo>
                  <a:lnTo>
                    <a:pt x="44" y="394"/>
                  </a:lnTo>
                  <a:lnTo>
                    <a:pt x="52" y="412"/>
                  </a:lnTo>
                  <a:lnTo>
                    <a:pt x="62" y="428"/>
                  </a:lnTo>
                  <a:lnTo>
                    <a:pt x="74" y="444"/>
                  </a:lnTo>
                  <a:lnTo>
                    <a:pt x="86" y="458"/>
                  </a:lnTo>
                  <a:lnTo>
                    <a:pt x="100" y="472"/>
                  </a:lnTo>
                  <a:lnTo>
                    <a:pt x="114" y="486"/>
                  </a:lnTo>
                  <a:lnTo>
                    <a:pt x="130" y="496"/>
                  </a:lnTo>
                  <a:lnTo>
                    <a:pt x="146" y="508"/>
                  </a:lnTo>
                  <a:lnTo>
                    <a:pt x="164" y="516"/>
                  </a:lnTo>
                  <a:lnTo>
                    <a:pt x="182" y="526"/>
                  </a:lnTo>
                  <a:lnTo>
                    <a:pt x="188" y="528"/>
                  </a:lnTo>
                  <a:lnTo>
                    <a:pt x="188" y="778"/>
                  </a:lnTo>
                  <a:close/>
                </a:path>
              </a:pathLst>
            </a:custGeom>
            <a:grpFill/>
            <a:ln>
              <a:solidFill>
                <a:srgbClr val="4AA85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9EA6851C-A53C-4A45-BF46-BC2CAE5A26A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92175" y="2579688"/>
              <a:ext cx="180975" cy="111125"/>
            </a:xfrm>
            <a:custGeom>
              <a:avLst/>
              <a:gdLst>
                <a:gd name="T0" fmla="*/ 86 w 114"/>
                <a:gd name="T1" fmla="*/ 70 h 70"/>
                <a:gd name="T2" fmla="*/ 30 w 114"/>
                <a:gd name="T3" fmla="*/ 70 h 70"/>
                <a:gd name="T4" fmla="*/ 0 w 114"/>
                <a:gd name="T5" fmla="*/ 0 h 70"/>
                <a:gd name="T6" fmla="*/ 114 w 114"/>
                <a:gd name="T7" fmla="*/ 0 h 70"/>
                <a:gd name="T8" fmla="*/ 86 w 114"/>
                <a:gd name="T9" fmla="*/ 70 h 70"/>
                <a:gd name="T10" fmla="*/ 42 w 114"/>
                <a:gd name="T11" fmla="*/ 52 h 70"/>
                <a:gd name="T12" fmla="*/ 74 w 114"/>
                <a:gd name="T13" fmla="*/ 52 h 70"/>
                <a:gd name="T14" fmla="*/ 88 w 114"/>
                <a:gd name="T15" fmla="*/ 18 h 70"/>
                <a:gd name="T16" fmla="*/ 28 w 114"/>
                <a:gd name="T17" fmla="*/ 18 h 70"/>
                <a:gd name="T18" fmla="*/ 42 w 114"/>
                <a:gd name="T19" fmla="*/ 5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4" h="70">
                  <a:moveTo>
                    <a:pt x="86" y="70"/>
                  </a:moveTo>
                  <a:lnTo>
                    <a:pt x="30" y="70"/>
                  </a:lnTo>
                  <a:lnTo>
                    <a:pt x="0" y="0"/>
                  </a:lnTo>
                  <a:lnTo>
                    <a:pt x="114" y="0"/>
                  </a:lnTo>
                  <a:lnTo>
                    <a:pt x="86" y="70"/>
                  </a:lnTo>
                  <a:close/>
                  <a:moveTo>
                    <a:pt x="42" y="52"/>
                  </a:moveTo>
                  <a:lnTo>
                    <a:pt x="74" y="52"/>
                  </a:lnTo>
                  <a:lnTo>
                    <a:pt x="88" y="18"/>
                  </a:lnTo>
                  <a:lnTo>
                    <a:pt x="28" y="18"/>
                  </a:lnTo>
                  <a:lnTo>
                    <a:pt x="42" y="52"/>
                  </a:lnTo>
                  <a:close/>
                </a:path>
              </a:pathLst>
            </a:custGeom>
            <a:grpFill/>
            <a:ln>
              <a:solidFill>
                <a:srgbClr val="4AA85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0" name="Rectangle 7">
              <a:extLst>
                <a:ext uri="{FF2B5EF4-FFF2-40B4-BE49-F238E27FC236}">
                  <a16:creationId xmlns:a16="http://schemas.microsoft.com/office/drawing/2014/main" id="{F5273730-AA9B-45D3-B76C-B22D67BB00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3425" y="2319338"/>
              <a:ext cx="498475" cy="28575"/>
            </a:xfrm>
            <a:prstGeom prst="rect">
              <a:avLst/>
            </a:prstGeom>
            <a:grpFill/>
            <a:ln>
              <a:solidFill>
                <a:srgbClr val="4AA85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Rectangle 8">
              <a:extLst>
                <a:ext uri="{FF2B5EF4-FFF2-40B4-BE49-F238E27FC236}">
                  <a16:creationId xmlns:a16="http://schemas.microsoft.com/office/drawing/2014/main" id="{E5528800-60BB-4C40-A2E2-767BFC281A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3425" y="2398713"/>
              <a:ext cx="498475" cy="28575"/>
            </a:xfrm>
            <a:prstGeom prst="rect">
              <a:avLst/>
            </a:prstGeom>
            <a:grpFill/>
            <a:ln>
              <a:solidFill>
                <a:srgbClr val="4AA85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2" name="Rectangle 9">
              <a:extLst>
                <a:ext uri="{FF2B5EF4-FFF2-40B4-BE49-F238E27FC236}">
                  <a16:creationId xmlns:a16="http://schemas.microsoft.com/office/drawing/2014/main" id="{4F4229AA-409E-455A-A78B-E5BF7E956E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3425" y="2481263"/>
              <a:ext cx="498475" cy="28575"/>
            </a:xfrm>
            <a:prstGeom prst="rect">
              <a:avLst/>
            </a:prstGeom>
            <a:grpFill/>
            <a:ln>
              <a:solidFill>
                <a:srgbClr val="4AA85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3" name="Rectangle 10">
              <a:extLst>
                <a:ext uri="{FF2B5EF4-FFF2-40B4-BE49-F238E27FC236}">
                  <a16:creationId xmlns:a16="http://schemas.microsoft.com/office/drawing/2014/main" id="{8A89873A-33D1-4827-9F20-9F5C080050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1675" y="1325563"/>
              <a:ext cx="28575" cy="47625"/>
            </a:xfrm>
            <a:prstGeom prst="rect">
              <a:avLst/>
            </a:prstGeom>
            <a:grpFill/>
            <a:ln>
              <a:solidFill>
                <a:srgbClr val="4AA85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4" name="Rectangle 11">
              <a:extLst>
                <a:ext uri="{FF2B5EF4-FFF2-40B4-BE49-F238E27FC236}">
                  <a16:creationId xmlns:a16="http://schemas.microsoft.com/office/drawing/2014/main" id="{3A487EC3-FEC3-472E-80F1-BAA1DE0821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4350" y="1493838"/>
              <a:ext cx="28575" cy="47625"/>
            </a:xfrm>
            <a:prstGeom prst="rect">
              <a:avLst/>
            </a:prstGeom>
            <a:grpFill/>
            <a:ln>
              <a:solidFill>
                <a:srgbClr val="4AA85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5" name="Rectangle 12">
              <a:extLst>
                <a:ext uri="{FF2B5EF4-FFF2-40B4-BE49-F238E27FC236}">
                  <a16:creationId xmlns:a16="http://schemas.microsoft.com/office/drawing/2014/main" id="{A22A3650-D298-4766-8A0B-EEE8C38F77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8375" y="1249363"/>
              <a:ext cx="28575" cy="50800"/>
            </a:xfrm>
            <a:prstGeom prst="rect">
              <a:avLst/>
            </a:prstGeom>
            <a:grpFill/>
            <a:ln>
              <a:solidFill>
                <a:srgbClr val="4AA85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6" name="Rectangle 13">
              <a:extLst>
                <a:ext uri="{FF2B5EF4-FFF2-40B4-BE49-F238E27FC236}">
                  <a16:creationId xmlns:a16="http://schemas.microsoft.com/office/drawing/2014/main" id="{D52FFA02-3120-4F9C-965A-DCB30EEFD3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41425" y="1325563"/>
              <a:ext cx="28575" cy="47625"/>
            </a:xfrm>
            <a:prstGeom prst="rect">
              <a:avLst/>
            </a:prstGeom>
            <a:grpFill/>
            <a:ln>
              <a:solidFill>
                <a:srgbClr val="4AA85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Rectangle 14">
              <a:extLst>
                <a:ext uri="{FF2B5EF4-FFF2-40B4-BE49-F238E27FC236}">
                  <a16:creationId xmlns:a16="http://schemas.microsoft.com/office/drawing/2014/main" id="{45FB2E64-A0C7-45AF-9D7C-C03236EA52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06525" y="1493838"/>
              <a:ext cx="28575" cy="47625"/>
            </a:xfrm>
            <a:prstGeom prst="rect">
              <a:avLst/>
            </a:prstGeom>
            <a:grpFill/>
            <a:ln>
              <a:solidFill>
                <a:srgbClr val="4AA85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8" name="Rectangle 15">
              <a:extLst>
                <a:ext uri="{FF2B5EF4-FFF2-40B4-BE49-F238E27FC236}">
                  <a16:creationId xmlns:a16="http://schemas.microsoft.com/office/drawing/2014/main" id="{9BBE613E-0C0D-448F-A393-D7366A0B25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4350" y="2033588"/>
              <a:ext cx="28575" cy="47625"/>
            </a:xfrm>
            <a:prstGeom prst="rect">
              <a:avLst/>
            </a:prstGeom>
            <a:grpFill/>
            <a:ln>
              <a:solidFill>
                <a:srgbClr val="4AA85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Rectangle 16">
              <a:extLst>
                <a:ext uri="{FF2B5EF4-FFF2-40B4-BE49-F238E27FC236}">
                  <a16:creationId xmlns:a16="http://schemas.microsoft.com/office/drawing/2014/main" id="{6436A22D-2C6C-4B39-A003-C61B286B25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06525" y="2033588"/>
              <a:ext cx="28575" cy="47625"/>
            </a:xfrm>
            <a:prstGeom prst="rect">
              <a:avLst/>
            </a:prstGeom>
            <a:grpFill/>
            <a:ln>
              <a:solidFill>
                <a:srgbClr val="4AA85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0" name="Rectangle 17">
              <a:extLst>
                <a:ext uri="{FF2B5EF4-FFF2-40B4-BE49-F238E27FC236}">
                  <a16:creationId xmlns:a16="http://schemas.microsoft.com/office/drawing/2014/main" id="{88426EC8-0630-42B0-BD1C-4E369168DA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82725" y="1751013"/>
              <a:ext cx="28575" cy="47625"/>
            </a:xfrm>
            <a:prstGeom prst="rect">
              <a:avLst/>
            </a:prstGeom>
            <a:grpFill/>
            <a:ln>
              <a:solidFill>
                <a:srgbClr val="4AA85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1" name="Rectangle 18">
              <a:extLst>
                <a:ext uri="{FF2B5EF4-FFF2-40B4-BE49-F238E27FC236}">
                  <a16:creationId xmlns:a16="http://schemas.microsoft.com/office/drawing/2014/main" id="{F331B22F-C508-4886-B744-F6C00BD733A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7200" y="1751013"/>
              <a:ext cx="28575" cy="47625"/>
            </a:xfrm>
            <a:prstGeom prst="rect">
              <a:avLst/>
            </a:prstGeom>
            <a:grpFill/>
            <a:ln>
              <a:solidFill>
                <a:srgbClr val="4AA85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2" name="Rectangle 19">
              <a:extLst>
                <a:ext uri="{FF2B5EF4-FFF2-40B4-BE49-F238E27FC236}">
                  <a16:creationId xmlns:a16="http://schemas.microsoft.com/office/drawing/2014/main" id="{54D77AC5-CBC1-4809-AB34-FA0F9689A4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0750" y="2195513"/>
              <a:ext cx="28575" cy="152400"/>
            </a:xfrm>
            <a:prstGeom prst="rect">
              <a:avLst/>
            </a:prstGeom>
            <a:grpFill/>
            <a:ln>
              <a:solidFill>
                <a:srgbClr val="4AA85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3" name="Rectangle 20">
              <a:extLst>
                <a:ext uri="{FF2B5EF4-FFF2-40B4-BE49-F238E27FC236}">
                  <a16:creationId xmlns:a16="http://schemas.microsoft.com/office/drawing/2014/main" id="{1063EFD2-98CF-41A3-AE47-B76E0713C5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16000" y="2195513"/>
              <a:ext cx="28575" cy="152400"/>
            </a:xfrm>
            <a:prstGeom prst="rect">
              <a:avLst/>
            </a:prstGeom>
            <a:grpFill/>
            <a:ln>
              <a:solidFill>
                <a:srgbClr val="4AA85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4" name="Freeform 21">
              <a:extLst>
                <a:ext uri="{FF2B5EF4-FFF2-40B4-BE49-F238E27FC236}">
                  <a16:creationId xmlns:a16="http://schemas.microsoft.com/office/drawing/2014/main" id="{6D362D5A-00BB-471C-9C68-96BD8A5CEE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0875" y="1452563"/>
              <a:ext cx="666750" cy="666750"/>
            </a:xfrm>
            <a:custGeom>
              <a:avLst/>
              <a:gdLst>
                <a:gd name="T0" fmla="*/ 170 w 420"/>
                <a:gd name="T1" fmla="*/ 372 h 420"/>
                <a:gd name="T2" fmla="*/ 122 w 420"/>
                <a:gd name="T3" fmla="*/ 352 h 420"/>
                <a:gd name="T4" fmla="*/ 68 w 420"/>
                <a:gd name="T5" fmla="*/ 298 h 420"/>
                <a:gd name="T6" fmla="*/ 48 w 420"/>
                <a:gd name="T7" fmla="*/ 248 h 420"/>
                <a:gd name="T8" fmla="*/ 48 w 420"/>
                <a:gd name="T9" fmla="*/ 170 h 420"/>
                <a:gd name="T10" fmla="*/ 68 w 420"/>
                <a:gd name="T11" fmla="*/ 122 h 420"/>
                <a:gd name="T12" fmla="*/ 122 w 420"/>
                <a:gd name="T13" fmla="*/ 68 h 420"/>
                <a:gd name="T14" fmla="*/ 170 w 420"/>
                <a:gd name="T15" fmla="*/ 48 h 420"/>
                <a:gd name="T16" fmla="*/ 248 w 420"/>
                <a:gd name="T17" fmla="*/ 48 h 420"/>
                <a:gd name="T18" fmla="*/ 296 w 420"/>
                <a:gd name="T19" fmla="*/ 68 h 420"/>
                <a:gd name="T20" fmla="*/ 352 w 420"/>
                <a:gd name="T21" fmla="*/ 122 h 420"/>
                <a:gd name="T22" fmla="*/ 372 w 420"/>
                <a:gd name="T23" fmla="*/ 170 h 420"/>
                <a:gd name="T24" fmla="*/ 372 w 420"/>
                <a:gd name="T25" fmla="*/ 248 h 420"/>
                <a:gd name="T26" fmla="*/ 352 w 420"/>
                <a:gd name="T27" fmla="*/ 298 h 420"/>
                <a:gd name="T28" fmla="*/ 296 w 420"/>
                <a:gd name="T29" fmla="*/ 352 h 420"/>
                <a:gd name="T30" fmla="*/ 248 w 420"/>
                <a:gd name="T31" fmla="*/ 372 h 420"/>
                <a:gd name="T32" fmla="*/ 230 w 420"/>
                <a:gd name="T33" fmla="*/ 402 h 420"/>
                <a:gd name="T34" fmla="*/ 238 w 420"/>
                <a:gd name="T35" fmla="*/ 356 h 420"/>
                <a:gd name="T36" fmla="*/ 280 w 420"/>
                <a:gd name="T37" fmla="*/ 340 h 420"/>
                <a:gd name="T38" fmla="*/ 330 w 420"/>
                <a:gd name="T39" fmla="*/ 360 h 420"/>
                <a:gd name="T40" fmla="*/ 332 w 420"/>
                <a:gd name="T41" fmla="*/ 294 h 420"/>
                <a:gd name="T42" fmla="*/ 348 w 420"/>
                <a:gd name="T43" fmla="*/ 266 h 420"/>
                <a:gd name="T44" fmla="*/ 358 w 420"/>
                <a:gd name="T45" fmla="*/ 230 h 420"/>
                <a:gd name="T46" fmla="*/ 358 w 420"/>
                <a:gd name="T47" fmla="*/ 188 h 420"/>
                <a:gd name="T48" fmla="*/ 352 w 420"/>
                <a:gd name="T49" fmla="*/ 166 h 420"/>
                <a:gd name="T50" fmla="*/ 332 w 420"/>
                <a:gd name="T51" fmla="*/ 126 h 420"/>
                <a:gd name="T52" fmla="*/ 330 w 420"/>
                <a:gd name="T53" fmla="*/ 60 h 420"/>
                <a:gd name="T54" fmla="*/ 294 w 420"/>
                <a:gd name="T55" fmla="*/ 86 h 420"/>
                <a:gd name="T56" fmla="*/ 252 w 420"/>
                <a:gd name="T57" fmla="*/ 68 h 420"/>
                <a:gd name="T58" fmla="*/ 230 w 420"/>
                <a:gd name="T59" fmla="*/ 18 h 420"/>
                <a:gd name="T60" fmla="*/ 182 w 420"/>
                <a:gd name="T61" fmla="*/ 64 h 420"/>
                <a:gd name="T62" fmla="*/ 152 w 420"/>
                <a:gd name="T63" fmla="*/ 72 h 420"/>
                <a:gd name="T64" fmla="*/ 120 w 420"/>
                <a:gd name="T65" fmla="*/ 90 h 420"/>
                <a:gd name="T66" fmla="*/ 90 w 420"/>
                <a:gd name="T67" fmla="*/ 120 h 420"/>
                <a:gd name="T68" fmla="*/ 78 w 420"/>
                <a:gd name="T69" fmla="*/ 140 h 420"/>
                <a:gd name="T70" fmla="*/ 64 w 420"/>
                <a:gd name="T71" fmla="*/ 182 h 420"/>
                <a:gd name="T72" fmla="*/ 18 w 420"/>
                <a:gd name="T73" fmla="*/ 230 h 420"/>
                <a:gd name="T74" fmla="*/ 64 w 420"/>
                <a:gd name="T75" fmla="*/ 238 h 420"/>
                <a:gd name="T76" fmla="*/ 78 w 420"/>
                <a:gd name="T77" fmla="*/ 280 h 420"/>
                <a:gd name="T78" fmla="*/ 58 w 420"/>
                <a:gd name="T79" fmla="*/ 330 h 420"/>
                <a:gd name="T80" fmla="*/ 126 w 420"/>
                <a:gd name="T81" fmla="*/ 332 h 420"/>
                <a:gd name="T82" fmla="*/ 152 w 420"/>
                <a:gd name="T83" fmla="*/ 348 h 420"/>
                <a:gd name="T84" fmla="*/ 188 w 420"/>
                <a:gd name="T85" fmla="*/ 358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20" h="420">
                  <a:moveTo>
                    <a:pt x="248" y="420"/>
                  </a:moveTo>
                  <a:lnTo>
                    <a:pt x="170" y="420"/>
                  </a:lnTo>
                  <a:lnTo>
                    <a:pt x="170" y="372"/>
                  </a:lnTo>
                  <a:lnTo>
                    <a:pt x="170" y="372"/>
                  </a:lnTo>
                  <a:lnTo>
                    <a:pt x="146" y="364"/>
                  </a:lnTo>
                  <a:lnTo>
                    <a:pt x="122" y="352"/>
                  </a:lnTo>
                  <a:lnTo>
                    <a:pt x="88" y="386"/>
                  </a:lnTo>
                  <a:lnTo>
                    <a:pt x="34" y="330"/>
                  </a:lnTo>
                  <a:lnTo>
                    <a:pt x="68" y="298"/>
                  </a:lnTo>
                  <a:lnTo>
                    <a:pt x="68" y="298"/>
                  </a:lnTo>
                  <a:lnTo>
                    <a:pt x="56" y="274"/>
                  </a:lnTo>
                  <a:lnTo>
                    <a:pt x="48" y="248"/>
                  </a:lnTo>
                  <a:lnTo>
                    <a:pt x="0" y="248"/>
                  </a:lnTo>
                  <a:lnTo>
                    <a:pt x="0" y="170"/>
                  </a:lnTo>
                  <a:lnTo>
                    <a:pt x="48" y="170"/>
                  </a:lnTo>
                  <a:lnTo>
                    <a:pt x="48" y="170"/>
                  </a:lnTo>
                  <a:lnTo>
                    <a:pt x="56" y="146"/>
                  </a:lnTo>
                  <a:lnTo>
                    <a:pt x="68" y="122"/>
                  </a:lnTo>
                  <a:lnTo>
                    <a:pt x="34" y="88"/>
                  </a:lnTo>
                  <a:lnTo>
                    <a:pt x="88" y="34"/>
                  </a:lnTo>
                  <a:lnTo>
                    <a:pt x="122" y="68"/>
                  </a:lnTo>
                  <a:lnTo>
                    <a:pt x="122" y="68"/>
                  </a:lnTo>
                  <a:lnTo>
                    <a:pt x="146" y="56"/>
                  </a:lnTo>
                  <a:lnTo>
                    <a:pt x="170" y="48"/>
                  </a:lnTo>
                  <a:lnTo>
                    <a:pt x="170" y="0"/>
                  </a:lnTo>
                  <a:lnTo>
                    <a:pt x="248" y="0"/>
                  </a:lnTo>
                  <a:lnTo>
                    <a:pt x="248" y="48"/>
                  </a:lnTo>
                  <a:lnTo>
                    <a:pt x="248" y="48"/>
                  </a:lnTo>
                  <a:lnTo>
                    <a:pt x="274" y="56"/>
                  </a:lnTo>
                  <a:lnTo>
                    <a:pt x="296" y="68"/>
                  </a:lnTo>
                  <a:lnTo>
                    <a:pt x="330" y="34"/>
                  </a:lnTo>
                  <a:lnTo>
                    <a:pt x="386" y="88"/>
                  </a:lnTo>
                  <a:lnTo>
                    <a:pt x="352" y="122"/>
                  </a:lnTo>
                  <a:lnTo>
                    <a:pt x="352" y="122"/>
                  </a:lnTo>
                  <a:lnTo>
                    <a:pt x="364" y="146"/>
                  </a:lnTo>
                  <a:lnTo>
                    <a:pt x="372" y="170"/>
                  </a:lnTo>
                  <a:lnTo>
                    <a:pt x="420" y="170"/>
                  </a:lnTo>
                  <a:lnTo>
                    <a:pt x="420" y="248"/>
                  </a:lnTo>
                  <a:lnTo>
                    <a:pt x="372" y="248"/>
                  </a:lnTo>
                  <a:lnTo>
                    <a:pt x="372" y="248"/>
                  </a:lnTo>
                  <a:lnTo>
                    <a:pt x="364" y="274"/>
                  </a:lnTo>
                  <a:lnTo>
                    <a:pt x="352" y="298"/>
                  </a:lnTo>
                  <a:lnTo>
                    <a:pt x="386" y="330"/>
                  </a:lnTo>
                  <a:lnTo>
                    <a:pt x="330" y="386"/>
                  </a:lnTo>
                  <a:lnTo>
                    <a:pt x="296" y="352"/>
                  </a:lnTo>
                  <a:lnTo>
                    <a:pt x="296" y="352"/>
                  </a:lnTo>
                  <a:lnTo>
                    <a:pt x="274" y="364"/>
                  </a:lnTo>
                  <a:lnTo>
                    <a:pt x="248" y="372"/>
                  </a:lnTo>
                  <a:lnTo>
                    <a:pt x="248" y="420"/>
                  </a:lnTo>
                  <a:close/>
                  <a:moveTo>
                    <a:pt x="188" y="402"/>
                  </a:moveTo>
                  <a:lnTo>
                    <a:pt x="230" y="402"/>
                  </a:lnTo>
                  <a:lnTo>
                    <a:pt x="230" y="358"/>
                  </a:lnTo>
                  <a:lnTo>
                    <a:pt x="238" y="356"/>
                  </a:lnTo>
                  <a:lnTo>
                    <a:pt x="238" y="356"/>
                  </a:lnTo>
                  <a:lnTo>
                    <a:pt x="252" y="352"/>
                  </a:lnTo>
                  <a:lnTo>
                    <a:pt x="266" y="348"/>
                  </a:lnTo>
                  <a:lnTo>
                    <a:pt x="280" y="340"/>
                  </a:lnTo>
                  <a:lnTo>
                    <a:pt x="294" y="332"/>
                  </a:lnTo>
                  <a:lnTo>
                    <a:pt x="300" y="328"/>
                  </a:lnTo>
                  <a:lnTo>
                    <a:pt x="330" y="360"/>
                  </a:lnTo>
                  <a:lnTo>
                    <a:pt x="360" y="330"/>
                  </a:lnTo>
                  <a:lnTo>
                    <a:pt x="328" y="300"/>
                  </a:lnTo>
                  <a:lnTo>
                    <a:pt x="332" y="294"/>
                  </a:lnTo>
                  <a:lnTo>
                    <a:pt x="332" y="294"/>
                  </a:lnTo>
                  <a:lnTo>
                    <a:pt x="340" y="280"/>
                  </a:lnTo>
                  <a:lnTo>
                    <a:pt x="348" y="266"/>
                  </a:lnTo>
                  <a:lnTo>
                    <a:pt x="352" y="252"/>
                  </a:lnTo>
                  <a:lnTo>
                    <a:pt x="356" y="238"/>
                  </a:lnTo>
                  <a:lnTo>
                    <a:pt x="358" y="230"/>
                  </a:lnTo>
                  <a:lnTo>
                    <a:pt x="402" y="230"/>
                  </a:lnTo>
                  <a:lnTo>
                    <a:pt x="402" y="188"/>
                  </a:lnTo>
                  <a:lnTo>
                    <a:pt x="358" y="188"/>
                  </a:lnTo>
                  <a:lnTo>
                    <a:pt x="356" y="182"/>
                  </a:lnTo>
                  <a:lnTo>
                    <a:pt x="356" y="182"/>
                  </a:lnTo>
                  <a:lnTo>
                    <a:pt x="352" y="166"/>
                  </a:lnTo>
                  <a:lnTo>
                    <a:pt x="348" y="152"/>
                  </a:lnTo>
                  <a:lnTo>
                    <a:pt x="340" y="140"/>
                  </a:lnTo>
                  <a:lnTo>
                    <a:pt x="332" y="126"/>
                  </a:lnTo>
                  <a:lnTo>
                    <a:pt x="328" y="120"/>
                  </a:lnTo>
                  <a:lnTo>
                    <a:pt x="360" y="88"/>
                  </a:lnTo>
                  <a:lnTo>
                    <a:pt x="330" y="60"/>
                  </a:lnTo>
                  <a:lnTo>
                    <a:pt x="300" y="90"/>
                  </a:lnTo>
                  <a:lnTo>
                    <a:pt x="294" y="86"/>
                  </a:lnTo>
                  <a:lnTo>
                    <a:pt x="294" y="86"/>
                  </a:lnTo>
                  <a:lnTo>
                    <a:pt x="280" y="78"/>
                  </a:lnTo>
                  <a:lnTo>
                    <a:pt x="266" y="72"/>
                  </a:lnTo>
                  <a:lnTo>
                    <a:pt x="252" y="68"/>
                  </a:lnTo>
                  <a:lnTo>
                    <a:pt x="238" y="64"/>
                  </a:lnTo>
                  <a:lnTo>
                    <a:pt x="230" y="62"/>
                  </a:lnTo>
                  <a:lnTo>
                    <a:pt x="230" y="18"/>
                  </a:lnTo>
                  <a:lnTo>
                    <a:pt x="188" y="18"/>
                  </a:lnTo>
                  <a:lnTo>
                    <a:pt x="188" y="62"/>
                  </a:lnTo>
                  <a:lnTo>
                    <a:pt x="182" y="64"/>
                  </a:lnTo>
                  <a:lnTo>
                    <a:pt x="182" y="64"/>
                  </a:lnTo>
                  <a:lnTo>
                    <a:pt x="166" y="68"/>
                  </a:lnTo>
                  <a:lnTo>
                    <a:pt x="152" y="72"/>
                  </a:lnTo>
                  <a:lnTo>
                    <a:pt x="138" y="78"/>
                  </a:lnTo>
                  <a:lnTo>
                    <a:pt x="126" y="86"/>
                  </a:lnTo>
                  <a:lnTo>
                    <a:pt x="120" y="90"/>
                  </a:lnTo>
                  <a:lnTo>
                    <a:pt x="88" y="60"/>
                  </a:lnTo>
                  <a:lnTo>
                    <a:pt x="58" y="88"/>
                  </a:lnTo>
                  <a:lnTo>
                    <a:pt x="90" y="120"/>
                  </a:lnTo>
                  <a:lnTo>
                    <a:pt x="86" y="126"/>
                  </a:lnTo>
                  <a:lnTo>
                    <a:pt x="86" y="126"/>
                  </a:lnTo>
                  <a:lnTo>
                    <a:pt x="78" y="140"/>
                  </a:lnTo>
                  <a:lnTo>
                    <a:pt x="72" y="152"/>
                  </a:lnTo>
                  <a:lnTo>
                    <a:pt x="66" y="166"/>
                  </a:lnTo>
                  <a:lnTo>
                    <a:pt x="64" y="182"/>
                  </a:lnTo>
                  <a:lnTo>
                    <a:pt x="62" y="188"/>
                  </a:lnTo>
                  <a:lnTo>
                    <a:pt x="18" y="188"/>
                  </a:lnTo>
                  <a:lnTo>
                    <a:pt x="18" y="230"/>
                  </a:lnTo>
                  <a:lnTo>
                    <a:pt x="62" y="230"/>
                  </a:lnTo>
                  <a:lnTo>
                    <a:pt x="64" y="238"/>
                  </a:lnTo>
                  <a:lnTo>
                    <a:pt x="64" y="238"/>
                  </a:lnTo>
                  <a:lnTo>
                    <a:pt x="66" y="252"/>
                  </a:lnTo>
                  <a:lnTo>
                    <a:pt x="72" y="266"/>
                  </a:lnTo>
                  <a:lnTo>
                    <a:pt x="78" y="280"/>
                  </a:lnTo>
                  <a:lnTo>
                    <a:pt x="86" y="294"/>
                  </a:lnTo>
                  <a:lnTo>
                    <a:pt x="90" y="300"/>
                  </a:lnTo>
                  <a:lnTo>
                    <a:pt x="58" y="330"/>
                  </a:lnTo>
                  <a:lnTo>
                    <a:pt x="88" y="360"/>
                  </a:lnTo>
                  <a:lnTo>
                    <a:pt x="120" y="328"/>
                  </a:lnTo>
                  <a:lnTo>
                    <a:pt x="126" y="332"/>
                  </a:lnTo>
                  <a:lnTo>
                    <a:pt x="126" y="332"/>
                  </a:lnTo>
                  <a:lnTo>
                    <a:pt x="138" y="340"/>
                  </a:lnTo>
                  <a:lnTo>
                    <a:pt x="152" y="348"/>
                  </a:lnTo>
                  <a:lnTo>
                    <a:pt x="166" y="352"/>
                  </a:lnTo>
                  <a:lnTo>
                    <a:pt x="182" y="356"/>
                  </a:lnTo>
                  <a:lnTo>
                    <a:pt x="188" y="358"/>
                  </a:lnTo>
                  <a:lnTo>
                    <a:pt x="188" y="402"/>
                  </a:lnTo>
                  <a:close/>
                </a:path>
              </a:pathLst>
            </a:custGeom>
            <a:grpFill/>
            <a:ln>
              <a:solidFill>
                <a:srgbClr val="4AA85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5" name="Freeform 22">
              <a:extLst>
                <a:ext uri="{FF2B5EF4-FFF2-40B4-BE49-F238E27FC236}">
                  <a16:creationId xmlns:a16="http://schemas.microsoft.com/office/drawing/2014/main" id="{3996BCE2-0348-4FA5-9B0C-27AFB16817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6450" y="1608138"/>
              <a:ext cx="352425" cy="355600"/>
            </a:xfrm>
            <a:custGeom>
              <a:avLst/>
              <a:gdLst>
                <a:gd name="T0" fmla="*/ 112 w 222"/>
                <a:gd name="T1" fmla="*/ 224 h 224"/>
                <a:gd name="T2" fmla="*/ 68 w 222"/>
                <a:gd name="T3" fmla="*/ 214 h 224"/>
                <a:gd name="T4" fmla="*/ 32 w 222"/>
                <a:gd name="T5" fmla="*/ 190 h 224"/>
                <a:gd name="T6" fmla="*/ 8 w 222"/>
                <a:gd name="T7" fmla="*/ 156 h 224"/>
                <a:gd name="T8" fmla="*/ 0 w 222"/>
                <a:gd name="T9" fmla="*/ 112 h 224"/>
                <a:gd name="T10" fmla="*/ 2 w 222"/>
                <a:gd name="T11" fmla="*/ 90 h 224"/>
                <a:gd name="T12" fmla="*/ 20 w 222"/>
                <a:gd name="T13" fmla="*/ 50 h 224"/>
                <a:gd name="T14" fmla="*/ 50 w 222"/>
                <a:gd name="T15" fmla="*/ 20 h 224"/>
                <a:gd name="T16" fmla="*/ 90 w 222"/>
                <a:gd name="T17" fmla="*/ 2 h 224"/>
                <a:gd name="T18" fmla="*/ 112 w 222"/>
                <a:gd name="T19" fmla="*/ 0 h 224"/>
                <a:gd name="T20" fmla="*/ 154 w 222"/>
                <a:gd name="T21" fmla="*/ 10 h 224"/>
                <a:gd name="T22" fmla="*/ 190 w 222"/>
                <a:gd name="T23" fmla="*/ 34 h 224"/>
                <a:gd name="T24" fmla="*/ 214 w 222"/>
                <a:gd name="T25" fmla="*/ 68 h 224"/>
                <a:gd name="T26" fmla="*/ 222 w 222"/>
                <a:gd name="T27" fmla="*/ 112 h 224"/>
                <a:gd name="T28" fmla="*/ 220 w 222"/>
                <a:gd name="T29" fmla="*/ 134 h 224"/>
                <a:gd name="T30" fmla="*/ 204 w 222"/>
                <a:gd name="T31" fmla="*/ 174 h 224"/>
                <a:gd name="T32" fmla="*/ 174 w 222"/>
                <a:gd name="T33" fmla="*/ 204 h 224"/>
                <a:gd name="T34" fmla="*/ 134 w 222"/>
                <a:gd name="T35" fmla="*/ 220 h 224"/>
                <a:gd name="T36" fmla="*/ 112 w 222"/>
                <a:gd name="T37" fmla="*/ 224 h 224"/>
                <a:gd name="T38" fmla="*/ 112 w 222"/>
                <a:gd name="T39" fmla="*/ 18 h 224"/>
                <a:gd name="T40" fmla="*/ 76 w 222"/>
                <a:gd name="T41" fmla="*/ 26 h 224"/>
                <a:gd name="T42" fmla="*/ 46 w 222"/>
                <a:gd name="T43" fmla="*/ 46 h 224"/>
                <a:gd name="T44" fmla="*/ 26 w 222"/>
                <a:gd name="T45" fmla="*/ 76 h 224"/>
                <a:gd name="T46" fmla="*/ 18 w 222"/>
                <a:gd name="T47" fmla="*/ 112 h 224"/>
                <a:gd name="T48" fmla="*/ 20 w 222"/>
                <a:gd name="T49" fmla="*/ 130 h 224"/>
                <a:gd name="T50" fmla="*/ 34 w 222"/>
                <a:gd name="T51" fmla="*/ 164 h 224"/>
                <a:gd name="T52" fmla="*/ 60 w 222"/>
                <a:gd name="T53" fmla="*/ 190 h 224"/>
                <a:gd name="T54" fmla="*/ 92 w 222"/>
                <a:gd name="T55" fmla="*/ 204 h 224"/>
                <a:gd name="T56" fmla="*/ 112 w 222"/>
                <a:gd name="T57" fmla="*/ 206 h 224"/>
                <a:gd name="T58" fmla="*/ 148 w 222"/>
                <a:gd name="T59" fmla="*/ 198 h 224"/>
                <a:gd name="T60" fmla="*/ 178 w 222"/>
                <a:gd name="T61" fmla="*/ 178 h 224"/>
                <a:gd name="T62" fmla="*/ 198 w 222"/>
                <a:gd name="T63" fmla="*/ 148 h 224"/>
                <a:gd name="T64" fmla="*/ 204 w 222"/>
                <a:gd name="T65" fmla="*/ 112 h 224"/>
                <a:gd name="T66" fmla="*/ 204 w 222"/>
                <a:gd name="T67" fmla="*/ 92 h 224"/>
                <a:gd name="T68" fmla="*/ 188 w 222"/>
                <a:gd name="T69" fmla="*/ 60 h 224"/>
                <a:gd name="T70" fmla="*/ 164 w 222"/>
                <a:gd name="T71" fmla="*/ 34 h 224"/>
                <a:gd name="T72" fmla="*/ 130 w 222"/>
                <a:gd name="T73" fmla="*/ 20 h 224"/>
                <a:gd name="T74" fmla="*/ 112 w 222"/>
                <a:gd name="T75" fmla="*/ 18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22" h="224">
                  <a:moveTo>
                    <a:pt x="112" y="224"/>
                  </a:moveTo>
                  <a:lnTo>
                    <a:pt x="112" y="224"/>
                  </a:lnTo>
                  <a:lnTo>
                    <a:pt x="90" y="220"/>
                  </a:lnTo>
                  <a:lnTo>
                    <a:pt x="68" y="214"/>
                  </a:lnTo>
                  <a:lnTo>
                    <a:pt x="50" y="204"/>
                  </a:lnTo>
                  <a:lnTo>
                    <a:pt x="32" y="190"/>
                  </a:lnTo>
                  <a:lnTo>
                    <a:pt x="20" y="174"/>
                  </a:lnTo>
                  <a:lnTo>
                    <a:pt x="8" y="156"/>
                  </a:lnTo>
                  <a:lnTo>
                    <a:pt x="2" y="134"/>
                  </a:lnTo>
                  <a:lnTo>
                    <a:pt x="0" y="112"/>
                  </a:lnTo>
                  <a:lnTo>
                    <a:pt x="0" y="112"/>
                  </a:lnTo>
                  <a:lnTo>
                    <a:pt x="2" y="90"/>
                  </a:lnTo>
                  <a:lnTo>
                    <a:pt x="8" y="68"/>
                  </a:lnTo>
                  <a:lnTo>
                    <a:pt x="20" y="50"/>
                  </a:lnTo>
                  <a:lnTo>
                    <a:pt x="32" y="34"/>
                  </a:lnTo>
                  <a:lnTo>
                    <a:pt x="50" y="20"/>
                  </a:lnTo>
                  <a:lnTo>
                    <a:pt x="68" y="10"/>
                  </a:lnTo>
                  <a:lnTo>
                    <a:pt x="90" y="2"/>
                  </a:lnTo>
                  <a:lnTo>
                    <a:pt x="112" y="0"/>
                  </a:lnTo>
                  <a:lnTo>
                    <a:pt x="112" y="0"/>
                  </a:lnTo>
                  <a:lnTo>
                    <a:pt x="134" y="2"/>
                  </a:lnTo>
                  <a:lnTo>
                    <a:pt x="154" y="10"/>
                  </a:lnTo>
                  <a:lnTo>
                    <a:pt x="174" y="20"/>
                  </a:lnTo>
                  <a:lnTo>
                    <a:pt x="190" y="34"/>
                  </a:lnTo>
                  <a:lnTo>
                    <a:pt x="204" y="50"/>
                  </a:lnTo>
                  <a:lnTo>
                    <a:pt x="214" y="68"/>
                  </a:lnTo>
                  <a:lnTo>
                    <a:pt x="220" y="90"/>
                  </a:lnTo>
                  <a:lnTo>
                    <a:pt x="222" y="112"/>
                  </a:lnTo>
                  <a:lnTo>
                    <a:pt x="222" y="112"/>
                  </a:lnTo>
                  <a:lnTo>
                    <a:pt x="220" y="134"/>
                  </a:lnTo>
                  <a:lnTo>
                    <a:pt x="214" y="156"/>
                  </a:lnTo>
                  <a:lnTo>
                    <a:pt x="204" y="174"/>
                  </a:lnTo>
                  <a:lnTo>
                    <a:pt x="190" y="190"/>
                  </a:lnTo>
                  <a:lnTo>
                    <a:pt x="174" y="204"/>
                  </a:lnTo>
                  <a:lnTo>
                    <a:pt x="154" y="214"/>
                  </a:lnTo>
                  <a:lnTo>
                    <a:pt x="134" y="220"/>
                  </a:lnTo>
                  <a:lnTo>
                    <a:pt x="112" y="224"/>
                  </a:lnTo>
                  <a:lnTo>
                    <a:pt x="112" y="224"/>
                  </a:lnTo>
                  <a:close/>
                  <a:moveTo>
                    <a:pt x="112" y="18"/>
                  </a:moveTo>
                  <a:lnTo>
                    <a:pt x="112" y="18"/>
                  </a:lnTo>
                  <a:lnTo>
                    <a:pt x="92" y="20"/>
                  </a:lnTo>
                  <a:lnTo>
                    <a:pt x="76" y="26"/>
                  </a:lnTo>
                  <a:lnTo>
                    <a:pt x="60" y="34"/>
                  </a:lnTo>
                  <a:lnTo>
                    <a:pt x="46" y="46"/>
                  </a:lnTo>
                  <a:lnTo>
                    <a:pt x="34" y="60"/>
                  </a:lnTo>
                  <a:lnTo>
                    <a:pt x="26" y="76"/>
                  </a:lnTo>
                  <a:lnTo>
                    <a:pt x="20" y="92"/>
                  </a:lnTo>
                  <a:lnTo>
                    <a:pt x="18" y="112"/>
                  </a:lnTo>
                  <a:lnTo>
                    <a:pt x="18" y="112"/>
                  </a:lnTo>
                  <a:lnTo>
                    <a:pt x="20" y="130"/>
                  </a:lnTo>
                  <a:lnTo>
                    <a:pt x="26" y="148"/>
                  </a:lnTo>
                  <a:lnTo>
                    <a:pt x="34" y="164"/>
                  </a:lnTo>
                  <a:lnTo>
                    <a:pt x="46" y="178"/>
                  </a:lnTo>
                  <a:lnTo>
                    <a:pt x="60" y="190"/>
                  </a:lnTo>
                  <a:lnTo>
                    <a:pt x="76" y="198"/>
                  </a:lnTo>
                  <a:lnTo>
                    <a:pt x="92" y="204"/>
                  </a:lnTo>
                  <a:lnTo>
                    <a:pt x="112" y="206"/>
                  </a:lnTo>
                  <a:lnTo>
                    <a:pt x="112" y="206"/>
                  </a:lnTo>
                  <a:lnTo>
                    <a:pt x="130" y="204"/>
                  </a:lnTo>
                  <a:lnTo>
                    <a:pt x="148" y="198"/>
                  </a:lnTo>
                  <a:lnTo>
                    <a:pt x="164" y="190"/>
                  </a:lnTo>
                  <a:lnTo>
                    <a:pt x="178" y="178"/>
                  </a:lnTo>
                  <a:lnTo>
                    <a:pt x="188" y="164"/>
                  </a:lnTo>
                  <a:lnTo>
                    <a:pt x="198" y="148"/>
                  </a:lnTo>
                  <a:lnTo>
                    <a:pt x="204" y="130"/>
                  </a:lnTo>
                  <a:lnTo>
                    <a:pt x="204" y="112"/>
                  </a:lnTo>
                  <a:lnTo>
                    <a:pt x="204" y="112"/>
                  </a:lnTo>
                  <a:lnTo>
                    <a:pt x="204" y="92"/>
                  </a:lnTo>
                  <a:lnTo>
                    <a:pt x="198" y="76"/>
                  </a:lnTo>
                  <a:lnTo>
                    <a:pt x="188" y="60"/>
                  </a:lnTo>
                  <a:lnTo>
                    <a:pt x="178" y="46"/>
                  </a:lnTo>
                  <a:lnTo>
                    <a:pt x="164" y="34"/>
                  </a:lnTo>
                  <a:lnTo>
                    <a:pt x="148" y="26"/>
                  </a:lnTo>
                  <a:lnTo>
                    <a:pt x="130" y="20"/>
                  </a:lnTo>
                  <a:lnTo>
                    <a:pt x="112" y="18"/>
                  </a:lnTo>
                  <a:lnTo>
                    <a:pt x="112" y="18"/>
                  </a:lnTo>
                  <a:close/>
                </a:path>
              </a:pathLst>
            </a:custGeom>
            <a:grpFill/>
            <a:ln>
              <a:solidFill>
                <a:srgbClr val="4AA85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26" name="Рисунок 9">
            <a:extLst>
              <a:ext uri="{FF2B5EF4-FFF2-40B4-BE49-F238E27FC236}">
                <a16:creationId xmlns:a16="http://schemas.microsoft.com/office/drawing/2014/main" id="{D6E55BE0-2FFE-46C7-B6AF-87C1342F040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4" r="14"/>
          <a:stretch/>
        </p:blipFill>
        <p:spPr>
          <a:xfrm>
            <a:off x="8832304" y="0"/>
            <a:ext cx="3359697" cy="6858000"/>
          </a:xfrm>
          <a:prstGeom prst="rect">
            <a:avLst/>
          </a:prstGeom>
        </p:spPr>
      </p:pic>
      <p:sp>
        <p:nvSpPr>
          <p:cNvPr id="27" name="TextBox 26"/>
          <p:cNvSpPr txBox="1"/>
          <p:nvPr/>
        </p:nvSpPr>
        <p:spPr>
          <a:xfrm>
            <a:off x="609601" y="1484784"/>
            <a:ext cx="7862663" cy="2699200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342900" indent="-342900">
              <a:lnSpc>
                <a:spcPct val="85000"/>
              </a:lnSpc>
              <a:spcAft>
                <a:spcPts val="600"/>
              </a:spcAft>
              <a:buClr>
                <a:schemeClr val="tx2"/>
              </a:buClr>
              <a:buSzPct val="100000"/>
              <a:buFont typeface="Montserrat Light" pitchFamily="2" charset="-52"/>
              <a:buChar char="▶"/>
            </a:pPr>
            <a:r>
              <a:rPr lang="ru-RU" dirty="0" smtClean="0">
                <a:solidFill>
                  <a:schemeClr val="bg1"/>
                </a:solidFill>
              </a:rPr>
              <a:t>Подготовка обращения о внесении изменений с проработанной правовой позицией </a:t>
            </a:r>
          </a:p>
          <a:p>
            <a:pPr marL="342900" indent="-342900">
              <a:lnSpc>
                <a:spcPct val="85000"/>
              </a:lnSpc>
              <a:spcAft>
                <a:spcPts val="600"/>
              </a:spcAft>
              <a:buClr>
                <a:schemeClr val="tx2"/>
              </a:buClr>
              <a:buSzPct val="100000"/>
              <a:buFont typeface="Montserrat Light" pitchFamily="2" charset="-52"/>
              <a:buChar char="▶"/>
            </a:pPr>
            <a:r>
              <a:rPr lang="ru-RU" dirty="0" smtClean="0">
                <a:solidFill>
                  <a:schemeClr val="bg1"/>
                </a:solidFill>
              </a:rPr>
              <a:t>Рекомендации по комплектности сопроводительных документов</a:t>
            </a:r>
          </a:p>
          <a:p>
            <a:pPr marL="342900" indent="-342900">
              <a:lnSpc>
                <a:spcPct val="85000"/>
              </a:lnSpc>
              <a:spcAft>
                <a:spcPts val="600"/>
              </a:spcAft>
              <a:buClr>
                <a:schemeClr val="tx2"/>
              </a:buClr>
              <a:buSzPct val="100000"/>
              <a:buFont typeface="Montserrat Light" pitchFamily="2" charset="-52"/>
              <a:buChar char="▶"/>
            </a:pPr>
            <a:r>
              <a:rPr lang="ru-RU" dirty="0" smtClean="0">
                <a:solidFill>
                  <a:schemeClr val="bg1"/>
                </a:solidFill>
              </a:rPr>
              <a:t>Подготовка форм КДТ (или проверка форм КДТ, подготовленных таможенным представителем Компании)</a:t>
            </a:r>
          </a:p>
          <a:p>
            <a:pPr marL="342900" indent="-342900">
              <a:lnSpc>
                <a:spcPct val="85000"/>
              </a:lnSpc>
              <a:spcAft>
                <a:spcPts val="600"/>
              </a:spcAft>
              <a:buClr>
                <a:schemeClr val="tx2"/>
              </a:buClr>
              <a:buSzPct val="100000"/>
              <a:buFont typeface="Montserrat Light" pitchFamily="2" charset="-52"/>
              <a:buChar char="▶"/>
            </a:pPr>
            <a:r>
              <a:rPr lang="ru-RU" dirty="0" smtClean="0">
                <a:solidFill>
                  <a:schemeClr val="bg1"/>
                </a:solidFill>
              </a:rPr>
              <a:t>Обжалование негативных решений таможни</a:t>
            </a:r>
          </a:p>
          <a:p>
            <a:pPr marL="342900" indent="-342900">
              <a:lnSpc>
                <a:spcPct val="85000"/>
              </a:lnSpc>
              <a:spcAft>
                <a:spcPts val="600"/>
              </a:spcAft>
              <a:buClr>
                <a:schemeClr val="tx2"/>
              </a:buClr>
              <a:buSzPct val="100000"/>
              <a:buFont typeface="Montserrat Light" pitchFamily="2" charset="-52"/>
              <a:buChar char="▶"/>
            </a:pPr>
            <a:r>
              <a:rPr lang="ru-RU" dirty="0" smtClean="0">
                <a:solidFill>
                  <a:schemeClr val="bg1"/>
                </a:solidFill>
              </a:rPr>
              <a:t>Лоббирование интересов Компании в целях исключения/включения товаров Компании из перечней с обнуленными таможенными пошлинами </a:t>
            </a:r>
          </a:p>
        </p:txBody>
      </p:sp>
    </p:spTree>
    <p:extLst>
      <p:ext uri="{BB962C8B-B14F-4D97-AF65-F5344CB8AC3E}">
        <p14:creationId xmlns:p14="http://schemas.microsoft.com/office/powerpoint/2010/main" val="982661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Текущие тенденции таможенного контроля</a:t>
            </a:r>
            <a:endParaRPr lang="ru-RU" dirty="0"/>
          </a:p>
        </p:txBody>
      </p:sp>
      <p:sp>
        <p:nvSpPr>
          <p:cNvPr id="7" name="Rechteck 20">
            <a:extLst>
              <a:ext uri="{FF2B5EF4-FFF2-40B4-BE49-F238E27FC236}">
                <a16:creationId xmlns:a16="http://schemas.microsoft.com/office/drawing/2014/main" id="{C67FB569-43E9-4ECD-A72B-18F39B71D80A}"/>
              </a:ext>
            </a:extLst>
          </p:cNvPr>
          <p:cNvSpPr/>
          <p:nvPr/>
        </p:nvSpPr>
        <p:spPr bwMode="gray">
          <a:xfrm>
            <a:off x="4448711" y="2000613"/>
            <a:ext cx="2508686" cy="1060571"/>
          </a:xfrm>
          <a:prstGeom prst="rect">
            <a:avLst/>
          </a:prstGeom>
          <a:solidFill>
            <a:srgbClr val="FFFFFF"/>
          </a:solidFill>
          <a:ln w="19050">
            <a:solidFill>
              <a:srgbClr val="4AA851"/>
            </a:solidFill>
            <a:prstDash val="sysDash"/>
            <a:miter lim="800000"/>
            <a:headEnd/>
            <a:tailEnd/>
          </a:ln>
          <a:effectLst/>
        </p:spPr>
        <p:txBody>
          <a:bodyPr lIns="0" tIns="0" rIns="0" bIns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0866" lvl="2" algn="ctr" fontAlgn="base">
              <a:spcBef>
                <a:spcPts val="600"/>
              </a:spcBef>
              <a:spcAft>
                <a:spcPts val="600"/>
              </a:spcAft>
              <a:defRPr/>
            </a:pPr>
            <a:r>
              <a:rPr lang="ru-RU" sz="1200" b="1" dirty="0">
                <a:solidFill>
                  <a:srgbClr val="2E2E38"/>
                </a:solidFill>
                <a:latin typeface="+mj-lt"/>
              </a:rPr>
              <a:t>КОНТРОЛЬ ЗА КЕМ? </a:t>
            </a:r>
          </a:p>
          <a:p>
            <a:pPr marL="70866" lvl="2" algn="ctr" fontAlgn="base">
              <a:spcBef>
                <a:spcPts val="600"/>
              </a:spcBef>
              <a:spcAft>
                <a:spcPts val="600"/>
              </a:spcAft>
              <a:defRPr/>
            </a:pPr>
            <a:r>
              <a:rPr lang="ru-RU" sz="1200" dirty="0">
                <a:solidFill>
                  <a:srgbClr val="2E2E38"/>
                </a:solidFill>
                <a:latin typeface="+mj-lt"/>
              </a:rPr>
              <a:t>Добросовестные участники ВЭД низкой категории риска</a:t>
            </a:r>
            <a:endParaRPr lang="en-US" sz="1200" dirty="0">
              <a:solidFill>
                <a:srgbClr val="2E2E38"/>
              </a:solidFill>
              <a:latin typeface="+mj-lt"/>
            </a:endParaRPr>
          </a:p>
        </p:txBody>
      </p:sp>
      <p:sp>
        <p:nvSpPr>
          <p:cNvPr id="8" name="Rechteck 19">
            <a:extLst>
              <a:ext uri="{FF2B5EF4-FFF2-40B4-BE49-F238E27FC236}">
                <a16:creationId xmlns:a16="http://schemas.microsoft.com/office/drawing/2014/main" id="{1B4CEDB1-17FC-4A74-8094-B48857DFE3C5}"/>
              </a:ext>
            </a:extLst>
          </p:cNvPr>
          <p:cNvSpPr/>
          <p:nvPr/>
        </p:nvSpPr>
        <p:spPr bwMode="gray">
          <a:xfrm>
            <a:off x="9395796" y="2003445"/>
            <a:ext cx="2139633" cy="1048561"/>
          </a:xfrm>
          <a:prstGeom prst="rect">
            <a:avLst/>
          </a:prstGeom>
          <a:solidFill>
            <a:srgbClr val="FFFFFF"/>
          </a:solidFill>
          <a:ln w="19050">
            <a:solidFill>
              <a:srgbClr val="4AA851"/>
            </a:solidFill>
            <a:prstDash val="sysDash"/>
            <a:miter lim="800000"/>
            <a:headEnd/>
            <a:tailEnd/>
          </a:ln>
          <a:effectLst/>
        </p:spPr>
        <p:txBody>
          <a:bodyPr lIns="0" tIns="0" rIns="0" bIns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spcAft>
                <a:spcPts val="600"/>
              </a:spcAft>
              <a:defRPr/>
            </a:pPr>
            <a:r>
              <a:rPr lang="ru-RU" sz="1200" b="1" dirty="0">
                <a:solidFill>
                  <a:srgbClr val="2E2E38"/>
                </a:solidFill>
                <a:latin typeface="+mj-lt"/>
              </a:rPr>
              <a:t>НОВЫЙ ПОДХОД?</a:t>
            </a:r>
          </a:p>
          <a:p>
            <a:pPr lvl="0" algn="ctr">
              <a:defRPr/>
            </a:pPr>
            <a:r>
              <a:rPr lang="ru-RU" sz="1200" dirty="0">
                <a:solidFill>
                  <a:srgbClr val="2E2E38"/>
                </a:solidFill>
                <a:latin typeface="+mj-lt"/>
              </a:rPr>
              <a:t>Межведомственное взаимодействие </a:t>
            </a:r>
            <a:br>
              <a:rPr lang="ru-RU" sz="1200" dirty="0">
                <a:solidFill>
                  <a:srgbClr val="2E2E38"/>
                </a:solidFill>
                <a:latin typeface="+mj-lt"/>
              </a:rPr>
            </a:br>
            <a:r>
              <a:rPr lang="ru-RU" sz="1200" dirty="0">
                <a:solidFill>
                  <a:srgbClr val="2E2E38"/>
                </a:solidFill>
                <a:latin typeface="+mj-lt"/>
              </a:rPr>
              <a:t>ФТС и ФНС</a:t>
            </a:r>
            <a:endParaRPr lang="en-US" sz="1600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9" name="Rechteck 18">
            <a:extLst>
              <a:ext uri="{FF2B5EF4-FFF2-40B4-BE49-F238E27FC236}">
                <a16:creationId xmlns:a16="http://schemas.microsoft.com/office/drawing/2014/main" id="{55182394-A559-409D-87F2-252301797135}"/>
              </a:ext>
            </a:extLst>
          </p:cNvPr>
          <p:cNvSpPr/>
          <p:nvPr/>
        </p:nvSpPr>
        <p:spPr bwMode="gray">
          <a:xfrm>
            <a:off x="7139872" y="1993919"/>
            <a:ext cx="2111435" cy="1066230"/>
          </a:xfrm>
          <a:prstGeom prst="rect">
            <a:avLst/>
          </a:prstGeom>
          <a:solidFill>
            <a:srgbClr val="FFFFFF"/>
          </a:solidFill>
          <a:ln w="19050">
            <a:solidFill>
              <a:srgbClr val="4AA851"/>
            </a:solidFill>
            <a:prstDash val="sysDash"/>
            <a:miter lim="800000"/>
            <a:headEnd/>
            <a:tailEnd/>
          </a:ln>
          <a:effectLst/>
        </p:spPr>
        <p:txBody>
          <a:bodyPr lIns="0" tIns="0" rIns="0" bIns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0866" lvl="2" algn="ctr" fontAlgn="base">
              <a:spcBef>
                <a:spcPts val="600"/>
              </a:spcBef>
              <a:spcAft>
                <a:spcPts val="600"/>
              </a:spcAft>
              <a:defRPr/>
            </a:pPr>
            <a:r>
              <a:rPr lang="ru-RU" sz="1200" b="1" dirty="0">
                <a:solidFill>
                  <a:srgbClr val="2E2E38"/>
                </a:solidFill>
                <a:latin typeface="+mj-lt"/>
              </a:rPr>
              <a:t>ЦЕЛЬ?</a:t>
            </a:r>
          </a:p>
          <a:p>
            <a:pPr lvl="0" algn="ctr">
              <a:defRPr/>
            </a:pPr>
            <a:r>
              <a:rPr lang="ru-RU" sz="1200" dirty="0">
                <a:solidFill>
                  <a:srgbClr val="2E2E38"/>
                </a:solidFill>
                <a:latin typeface="+mj-lt"/>
              </a:rPr>
              <a:t>Высокая эффективность при снижении количества проверок</a:t>
            </a:r>
            <a:endParaRPr lang="en-US" sz="1200" dirty="0">
              <a:solidFill>
                <a:srgbClr val="2E2E38"/>
              </a:solidFill>
              <a:latin typeface="+mj-lt"/>
            </a:endParaRPr>
          </a:p>
        </p:txBody>
      </p:sp>
      <p:sp>
        <p:nvSpPr>
          <p:cNvPr id="10" name="Rechteck 17">
            <a:extLst>
              <a:ext uri="{FF2B5EF4-FFF2-40B4-BE49-F238E27FC236}">
                <a16:creationId xmlns:a16="http://schemas.microsoft.com/office/drawing/2014/main" id="{8C19C079-4822-4ACF-AC46-64DE0E00B9D5}"/>
              </a:ext>
            </a:extLst>
          </p:cNvPr>
          <p:cNvSpPr/>
          <p:nvPr/>
        </p:nvSpPr>
        <p:spPr bwMode="gray">
          <a:xfrm>
            <a:off x="2463924" y="2000613"/>
            <a:ext cx="1832386" cy="1075307"/>
          </a:xfrm>
          <a:prstGeom prst="rect">
            <a:avLst/>
          </a:prstGeom>
          <a:solidFill>
            <a:srgbClr val="FFFFFF"/>
          </a:solidFill>
          <a:ln w="19050">
            <a:solidFill>
              <a:srgbClr val="4AA851"/>
            </a:solidFill>
            <a:prstDash val="sysDash"/>
            <a:miter lim="800000"/>
            <a:headEnd/>
            <a:tailEnd/>
          </a:ln>
          <a:effectLst/>
        </p:spPr>
        <p:txBody>
          <a:bodyPr lIns="0" tIns="0" rIns="0" bIns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0866" lvl="2" algn="ctr" fontAlgn="base"/>
            <a:r>
              <a:rPr lang="ru-RU" sz="1200" b="1" kern="0" dirty="0">
                <a:solidFill>
                  <a:srgbClr val="2E2E38"/>
                </a:solidFill>
                <a:latin typeface="+mj-lt"/>
              </a:rPr>
              <a:t>ЗА КАКОЙ ПЕРИОД</a:t>
            </a:r>
            <a:r>
              <a:rPr lang="en-US" sz="1200" b="1" kern="0" dirty="0">
                <a:solidFill>
                  <a:srgbClr val="2E2E38"/>
                </a:solidFill>
                <a:latin typeface="+mj-lt"/>
              </a:rPr>
              <a:t>?</a:t>
            </a:r>
            <a:br>
              <a:rPr lang="en-US" sz="1200" b="1" kern="0" dirty="0">
                <a:solidFill>
                  <a:srgbClr val="2E2E38"/>
                </a:solidFill>
                <a:latin typeface="+mj-lt"/>
              </a:rPr>
            </a:br>
            <a:r>
              <a:rPr lang="en-US" sz="1200" b="1" kern="0" dirty="0">
                <a:solidFill>
                  <a:srgbClr val="2E2E38"/>
                </a:solidFill>
                <a:latin typeface="+mj-lt"/>
              </a:rPr>
              <a:t> </a:t>
            </a:r>
            <a:endParaRPr lang="ru-RU" sz="1200" b="1" kern="0" dirty="0">
              <a:solidFill>
                <a:srgbClr val="2E2E38"/>
              </a:solidFill>
              <a:latin typeface="+mj-lt"/>
            </a:endParaRPr>
          </a:p>
          <a:p>
            <a:pPr marL="70866" lvl="2" algn="ctr" fontAlgn="base"/>
            <a:r>
              <a:rPr lang="ru-RU" sz="1200" kern="0" dirty="0">
                <a:solidFill>
                  <a:srgbClr val="2E2E38"/>
                </a:solidFill>
                <a:latin typeface="+mj-lt"/>
              </a:rPr>
              <a:t>3 года</a:t>
            </a:r>
            <a:endParaRPr lang="en-US" sz="1200" kern="0" dirty="0">
              <a:solidFill>
                <a:srgbClr val="2E2E38"/>
              </a:solidFill>
              <a:latin typeface="+mj-lt"/>
            </a:endParaRPr>
          </a:p>
        </p:txBody>
      </p:sp>
      <p:sp>
        <p:nvSpPr>
          <p:cNvPr id="11" name="Rechteck 16">
            <a:extLst>
              <a:ext uri="{FF2B5EF4-FFF2-40B4-BE49-F238E27FC236}">
                <a16:creationId xmlns:a16="http://schemas.microsoft.com/office/drawing/2014/main" id="{719D778E-A317-4C4A-8E86-29F91CE1FEB6}"/>
              </a:ext>
            </a:extLst>
          </p:cNvPr>
          <p:cNvSpPr/>
          <p:nvPr/>
        </p:nvSpPr>
        <p:spPr bwMode="gray">
          <a:xfrm>
            <a:off x="609691" y="1995153"/>
            <a:ext cx="1679668" cy="1075307"/>
          </a:xfrm>
          <a:prstGeom prst="rect">
            <a:avLst/>
          </a:prstGeom>
          <a:solidFill>
            <a:srgbClr val="FFFFFF"/>
          </a:solidFill>
          <a:ln w="19050">
            <a:solidFill>
              <a:srgbClr val="4AA851"/>
            </a:solidFill>
            <a:prstDash val="sysDash"/>
            <a:miter lim="800000"/>
            <a:headEnd/>
            <a:tailEnd/>
          </a:ln>
          <a:effectLst/>
        </p:spPr>
        <p:txBody>
          <a:bodyPr lIns="0" tIns="0" rIns="0" bIns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0866" marR="0" lvl="2" indent="0" algn="ctr" defTabSz="914400" eaLnBrk="1" fontAlgn="base" latinLnBrk="0" hangingPunct="1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+mj-lt"/>
              </a:rPr>
              <a:t>КОГДА?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+mj-lt"/>
              </a:rPr>
              <a:t/>
            </a:r>
            <a:b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+mj-lt"/>
              </a:rPr>
            </a:br>
            <a:endParaRPr kumimoji="0" lang="ru-RU" sz="1200" b="1" i="0" u="none" strike="noStrike" kern="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+mj-lt"/>
            </a:endParaRPr>
          </a:p>
          <a:p>
            <a:pPr marL="70866" marR="0" lvl="2" indent="0" algn="ctr" defTabSz="914400" eaLnBrk="1" fontAlgn="base" latinLnBrk="0" hangingPunct="1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r>
              <a:rPr kumimoji="0" lang="ru-RU" sz="120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+mj-lt"/>
              </a:rPr>
              <a:t>Контроль после выпуска товаров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E128958-9840-4F26-A0BA-CF8F96D02EE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62809" y="1258345"/>
            <a:ext cx="625619" cy="62561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08512698-BA58-44D0-BE52-CB868F8F0DA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2498" y="1330485"/>
            <a:ext cx="575746" cy="53609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07ED10CE-A414-40EB-9C8B-E27DBE5229A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696199" y="1250808"/>
            <a:ext cx="851613" cy="642726"/>
            <a:chOff x="2956" y="821"/>
            <a:chExt cx="1060" cy="800"/>
          </a:xfrm>
        </p:grpSpPr>
        <p:sp>
          <p:nvSpPr>
            <p:cNvPr id="54" name="AutoShape 45">
              <a:extLst>
                <a:ext uri="{FF2B5EF4-FFF2-40B4-BE49-F238E27FC236}">
                  <a16:creationId xmlns:a16="http://schemas.microsoft.com/office/drawing/2014/main" id="{8DB37B02-1E9F-497F-B3AA-9E1DDFAC527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068" y="821"/>
              <a:ext cx="948" cy="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55" name="Freeform 54">
              <a:extLst>
                <a:ext uri="{FF2B5EF4-FFF2-40B4-BE49-F238E27FC236}">
                  <a16:creationId xmlns:a16="http://schemas.microsoft.com/office/drawing/2014/main" id="{AE114418-8721-4E2C-9539-F4F84BB67F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84" y="1475"/>
              <a:ext cx="276" cy="146"/>
            </a:xfrm>
            <a:custGeom>
              <a:avLst/>
              <a:gdLst>
                <a:gd name="T0" fmla="*/ 276 w 276"/>
                <a:gd name="T1" fmla="*/ 146 h 146"/>
                <a:gd name="T2" fmla="*/ 0 w 276"/>
                <a:gd name="T3" fmla="*/ 146 h 146"/>
                <a:gd name="T4" fmla="*/ 0 w 276"/>
                <a:gd name="T5" fmla="*/ 0 h 146"/>
                <a:gd name="T6" fmla="*/ 276 w 276"/>
                <a:gd name="T7" fmla="*/ 0 h 146"/>
                <a:gd name="T8" fmla="*/ 276 w 276"/>
                <a:gd name="T9" fmla="*/ 146 h 146"/>
                <a:gd name="T10" fmla="*/ 18 w 276"/>
                <a:gd name="T11" fmla="*/ 128 h 146"/>
                <a:gd name="T12" fmla="*/ 258 w 276"/>
                <a:gd name="T13" fmla="*/ 128 h 146"/>
                <a:gd name="T14" fmla="*/ 258 w 276"/>
                <a:gd name="T15" fmla="*/ 18 h 146"/>
                <a:gd name="T16" fmla="*/ 18 w 276"/>
                <a:gd name="T17" fmla="*/ 18 h 146"/>
                <a:gd name="T18" fmla="*/ 18 w 276"/>
                <a:gd name="T19" fmla="*/ 128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6" h="146">
                  <a:moveTo>
                    <a:pt x="276" y="146"/>
                  </a:moveTo>
                  <a:lnTo>
                    <a:pt x="0" y="146"/>
                  </a:lnTo>
                  <a:lnTo>
                    <a:pt x="0" y="0"/>
                  </a:lnTo>
                  <a:lnTo>
                    <a:pt x="276" y="0"/>
                  </a:lnTo>
                  <a:lnTo>
                    <a:pt x="276" y="146"/>
                  </a:lnTo>
                  <a:close/>
                  <a:moveTo>
                    <a:pt x="18" y="128"/>
                  </a:moveTo>
                  <a:lnTo>
                    <a:pt x="258" y="128"/>
                  </a:lnTo>
                  <a:lnTo>
                    <a:pt x="258" y="18"/>
                  </a:lnTo>
                  <a:lnTo>
                    <a:pt x="18" y="18"/>
                  </a:lnTo>
                  <a:lnTo>
                    <a:pt x="18" y="128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30388E6D-139F-497D-8B15-B26C897BAA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66" y="1539"/>
              <a:ext cx="176" cy="18"/>
            </a:xfrm>
            <a:prstGeom prst="rect">
              <a:avLst/>
            </a:pr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57" name="Freeform 56">
              <a:extLst>
                <a:ext uri="{FF2B5EF4-FFF2-40B4-BE49-F238E27FC236}">
                  <a16:creationId xmlns:a16="http://schemas.microsoft.com/office/drawing/2014/main" id="{85D5CC90-1F58-4BC9-A7AF-DA280C0C351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12" y="1281"/>
              <a:ext cx="222" cy="208"/>
            </a:xfrm>
            <a:custGeom>
              <a:avLst/>
              <a:gdLst>
                <a:gd name="T0" fmla="*/ 214 w 222"/>
                <a:gd name="T1" fmla="*/ 208 h 208"/>
                <a:gd name="T2" fmla="*/ 206 w 222"/>
                <a:gd name="T3" fmla="*/ 206 h 208"/>
                <a:gd name="T4" fmla="*/ 190 w 222"/>
                <a:gd name="T5" fmla="*/ 188 h 208"/>
                <a:gd name="T6" fmla="*/ 148 w 222"/>
                <a:gd name="T7" fmla="*/ 150 h 208"/>
                <a:gd name="T8" fmla="*/ 92 w 222"/>
                <a:gd name="T9" fmla="*/ 108 h 208"/>
                <a:gd name="T10" fmla="*/ 50 w 222"/>
                <a:gd name="T11" fmla="*/ 88 h 208"/>
                <a:gd name="T12" fmla="*/ 36 w 222"/>
                <a:gd name="T13" fmla="*/ 84 h 208"/>
                <a:gd name="T14" fmla="*/ 12 w 222"/>
                <a:gd name="T15" fmla="*/ 74 h 208"/>
                <a:gd name="T16" fmla="*/ 0 w 222"/>
                <a:gd name="T17" fmla="*/ 56 h 208"/>
                <a:gd name="T18" fmla="*/ 0 w 222"/>
                <a:gd name="T19" fmla="*/ 44 h 208"/>
                <a:gd name="T20" fmla="*/ 12 w 222"/>
                <a:gd name="T21" fmla="*/ 22 h 208"/>
                <a:gd name="T22" fmla="*/ 24 w 222"/>
                <a:gd name="T23" fmla="*/ 12 h 208"/>
                <a:gd name="T24" fmla="*/ 52 w 222"/>
                <a:gd name="T25" fmla="*/ 2 h 208"/>
                <a:gd name="T26" fmla="*/ 88 w 222"/>
                <a:gd name="T27" fmla="*/ 2 h 208"/>
                <a:gd name="T28" fmla="*/ 132 w 222"/>
                <a:gd name="T29" fmla="*/ 14 h 208"/>
                <a:gd name="T30" fmla="*/ 180 w 222"/>
                <a:gd name="T31" fmla="*/ 44 h 208"/>
                <a:gd name="T32" fmla="*/ 182 w 222"/>
                <a:gd name="T33" fmla="*/ 46 h 208"/>
                <a:gd name="T34" fmla="*/ 182 w 222"/>
                <a:gd name="T35" fmla="*/ 52 h 208"/>
                <a:gd name="T36" fmla="*/ 182 w 222"/>
                <a:gd name="T37" fmla="*/ 56 h 208"/>
                <a:gd name="T38" fmla="*/ 176 w 222"/>
                <a:gd name="T39" fmla="*/ 60 h 208"/>
                <a:gd name="T40" fmla="*/ 168 w 222"/>
                <a:gd name="T41" fmla="*/ 58 h 208"/>
                <a:gd name="T42" fmla="*/ 146 w 222"/>
                <a:gd name="T43" fmla="*/ 42 h 208"/>
                <a:gd name="T44" fmla="*/ 106 w 222"/>
                <a:gd name="T45" fmla="*/ 24 h 208"/>
                <a:gd name="T46" fmla="*/ 72 w 222"/>
                <a:gd name="T47" fmla="*/ 18 h 208"/>
                <a:gd name="T48" fmla="*/ 44 w 222"/>
                <a:gd name="T49" fmla="*/ 22 h 208"/>
                <a:gd name="T50" fmla="*/ 34 w 222"/>
                <a:gd name="T51" fmla="*/ 28 h 208"/>
                <a:gd name="T52" fmla="*/ 20 w 222"/>
                <a:gd name="T53" fmla="*/ 40 h 208"/>
                <a:gd name="T54" fmla="*/ 18 w 222"/>
                <a:gd name="T55" fmla="*/ 52 h 208"/>
                <a:gd name="T56" fmla="*/ 20 w 222"/>
                <a:gd name="T57" fmla="*/ 58 h 208"/>
                <a:gd name="T58" fmla="*/ 30 w 222"/>
                <a:gd name="T59" fmla="*/ 64 h 208"/>
                <a:gd name="T60" fmla="*/ 38 w 222"/>
                <a:gd name="T61" fmla="*/ 66 h 208"/>
                <a:gd name="T62" fmla="*/ 68 w 222"/>
                <a:gd name="T63" fmla="*/ 76 h 208"/>
                <a:gd name="T64" fmla="*/ 100 w 222"/>
                <a:gd name="T65" fmla="*/ 92 h 208"/>
                <a:gd name="T66" fmla="*/ 158 w 222"/>
                <a:gd name="T67" fmla="*/ 134 h 208"/>
                <a:gd name="T68" fmla="*/ 200 w 222"/>
                <a:gd name="T69" fmla="*/ 174 h 208"/>
                <a:gd name="T70" fmla="*/ 220 w 222"/>
                <a:gd name="T71" fmla="*/ 194 h 208"/>
                <a:gd name="T72" fmla="*/ 222 w 222"/>
                <a:gd name="T73" fmla="*/ 200 h 208"/>
                <a:gd name="T74" fmla="*/ 220 w 222"/>
                <a:gd name="T75" fmla="*/ 206 h 208"/>
                <a:gd name="T76" fmla="*/ 216 w 222"/>
                <a:gd name="T77" fmla="*/ 208 h 208"/>
                <a:gd name="T78" fmla="*/ 214 w 222"/>
                <a:gd name="T79" fmla="*/ 208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22" h="208">
                  <a:moveTo>
                    <a:pt x="214" y="208"/>
                  </a:moveTo>
                  <a:lnTo>
                    <a:pt x="214" y="208"/>
                  </a:lnTo>
                  <a:lnTo>
                    <a:pt x="210" y="208"/>
                  </a:lnTo>
                  <a:lnTo>
                    <a:pt x="206" y="206"/>
                  </a:lnTo>
                  <a:lnTo>
                    <a:pt x="206" y="206"/>
                  </a:lnTo>
                  <a:lnTo>
                    <a:pt x="190" y="188"/>
                  </a:lnTo>
                  <a:lnTo>
                    <a:pt x="170" y="170"/>
                  </a:lnTo>
                  <a:lnTo>
                    <a:pt x="148" y="150"/>
                  </a:lnTo>
                  <a:lnTo>
                    <a:pt x="122" y="128"/>
                  </a:lnTo>
                  <a:lnTo>
                    <a:pt x="92" y="108"/>
                  </a:lnTo>
                  <a:lnTo>
                    <a:pt x="64" y="94"/>
                  </a:lnTo>
                  <a:lnTo>
                    <a:pt x="50" y="88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22" y="80"/>
                  </a:lnTo>
                  <a:lnTo>
                    <a:pt x="12" y="74"/>
                  </a:lnTo>
                  <a:lnTo>
                    <a:pt x="4" y="66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44"/>
                  </a:lnTo>
                  <a:lnTo>
                    <a:pt x="4" y="32"/>
                  </a:lnTo>
                  <a:lnTo>
                    <a:pt x="12" y="2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36" y="6"/>
                  </a:lnTo>
                  <a:lnTo>
                    <a:pt x="52" y="2"/>
                  </a:lnTo>
                  <a:lnTo>
                    <a:pt x="70" y="0"/>
                  </a:lnTo>
                  <a:lnTo>
                    <a:pt x="88" y="2"/>
                  </a:lnTo>
                  <a:lnTo>
                    <a:pt x="108" y="6"/>
                  </a:lnTo>
                  <a:lnTo>
                    <a:pt x="132" y="14"/>
                  </a:lnTo>
                  <a:lnTo>
                    <a:pt x="154" y="26"/>
                  </a:lnTo>
                  <a:lnTo>
                    <a:pt x="180" y="44"/>
                  </a:lnTo>
                  <a:lnTo>
                    <a:pt x="180" y="44"/>
                  </a:lnTo>
                  <a:lnTo>
                    <a:pt x="182" y="46"/>
                  </a:lnTo>
                  <a:lnTo>
                    <a:pt x="182" y="50"/>
                  </a:lnTo>
                  <a:lnTo>
                    <a:pt x="182" y="52"/>
                  </a:lnTo>
                  <a:lnTo>
                    <a:pt x="182" y="56"/>
                  </a:lnTo>
                  <a:lnTo>
                    <a:pt x="182" y="56"/>
                  </a:lnTo>
                  <a:lnTo>
                    <a:pt x="178" y="58"/>
                  </a:lnTo>
                  <a:lnTo>
                    <a:pt x="176" y="60"/>
                  </a:lnTo>
                  <a:lnTo>
                    <a:pt x="172" y="58"/>
                  </a:lnTo>
                  <a:lnTo>
                    <a:pt x="168" y="58"/>
                  </a:lnTo>
                  <a:lnTo>
                    <a:pt x="168" y="58"/>
                  </a:lnTo>
                  <a:lnTo>
                    <a:pt x="146" y="42"/>
                  </a:lnTo>
                  <a:lnTo>
                    <a:pt x="126" y="32"/>
                  </a:lnTo>
                  <a:lnTo>
                    <a:pt x="106" y="24"/>
                  </a:lnTo>
                  <a:lnTo>
                    <a:pt x="88" y="20"/>
                  </a:lnTo>
                  <a:lnTo>
                    <a:pt x="72" y="18"/>
                  </a:lnTo>
                  <a:lnTo>
                    <a:pt x="56" y="20"/>
                  </a:lnTo>
                  <a:lnTo>
                    <a:pt x="44" y="22"/>
                  </a:lnTo>
                  <a:lnTo>
                    <a:pt x="34" y="28"/>
                  </a:lnTo>
                  <a:lnTo>
                    <a:pt x="34" y="28"/>
                  </a:lnTo>
                  <a:lnTo>
                    <a:pt x="26" y="34"/>
                  </a:lnTo>
                  <a:lnTo>
                    <a:pt x="20" y="40"/>
                  </a:lnTo>
                  <a:lnTo>
                    <a:pt x="18" y="46"/>
                  </a:lnTo>
                  <a:lnTo>
                    <a:pt x="18" y="52"/>
                  </a:lnTo>
                  <a:lnTo>
                    <a:pt x="18" y="52"/>
                  </a:lnTo>
                  <a:lnTo>
                    <a:pt x="20" y="58"/>
                  </a:lnTo>
                  <a:lnTo>
                    <a:pt x="24" y="62"/>
                  </a:lnTo>
                  <a:lnTo>
                    <a:pt x="30" y="64"/>
                  </a:lnTo>
                  <a:lnTo>
                    <a:pt x="38" y="66"/>
                  </a:lnTo>
                  <a:lnTo>
                    <a:pt x="38" y="66"/>
                  </a:lnTo>
                  <a:lnTo>
                    <a:pt x="54" y="70"/>
                  </a:lnTo>
                  <a:lnTo>
                    <a:pt x="68" y="76"/>
                  </a:lnTo>
                  <a:lnTo>
                    <a:pt x="84" y="84"/>
                  </a:lnTo>
                  <a:lnTo>
                    <a:pt x="100" y="92"/>
                  </a:lnTo>
                  <a:lnTo>
                    <a:pt x="130" y="112"/>
                  </a:lnTo>
                  <a:lnTo>
                    <a:pt x="158" y="134"/>
                  </a:lnTo>
                  <a:lnTo>
                    <a:pt x="182" y="156"/>
                  </a:lnTo>
                  <a:lnTo>
                    <a:pt x="200" y="174"/>
                  </a:lnTo>
                  <a:lnTo>
                    <a:pt x="220" y="194"/>
                  </a:lnTo>
                  <a:lnTo>
                    <a:pt x="220" y="194"/>
                  </a:lnTo>
                  <a:lnTo>
                    <a:pt x="222" y="196"/>
                  </a:lnTo>
                  <a:lnTo>
                    <a:pt x="222" y="200"/>
                  </a:lnTo>
                  <a:lnTo>
                    <a:pt x="222" y="204"/>
                  </a:lnTo>
                  <a:lnTo>
                    <a:pt x="220" y="206"/>
                  </a:lnTo>
                  <a:lnTo>
                    <a:pt x="220" y="206"/>
                  </a:lnTo>
                  <a:lnTo>
                    <a:pt x="216" y="208"/>
                  </a:lnTo>
                  <a:lnTo>
                    <a:pt x="214" y="208"/>
                  </a:lnTo>
                  <a:lnTo>
                    <a:pt x="214" y="208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58" name="Freeform 57">
              <a:extLst>
                <a:ext uri="{FF2B5EF4-FFF2-40B4-BE49-F238E27FC236}">
                  <a16:creationId xmlns:a16="http://schemas.microsoft.com/office/drawing/2014/main" id="{51BA3F4A-92F4-4CF2-A4AE-CE0F5E0BA23E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6" y="995"/>
              <a:ext cx="78" cy="346"/>
            </a:xfrm>
            <a:custGeom>
              <a:avLst/>
              <a:gdLst>
                <a:gd name="T0" fmla="*/ 10 w 78"/>
                <a:gd name="T1" fmla="*/ 346 h 346"/>
                <a:gd name="T2" fmla="*/ 10 w 78"/>
                <a:gd name="T3" fmla="*/ 346 h 346"/>
                <a:gd name="T4" fmla="*/ 10 w 78"/>
                <a:gd name="T5" fmla="*/ 346 h 346"/>
                <a:gd name="T6" fmla="*/ 6 w 78"/>
                <a:gd name="T7" fmla="*/ 344 h 346"/>
                <a:gd name="T8" fmla="*/ 4 w 78"/>
                <a:gd name="T9" fmla="*/ 342 h 346"/>
                <a:gd name="T10" fmla="*/ 2 w 78"/>
                <a:gd name="T11" fmla="*/ 340 h 346"/>
                <a:gd name="T12" fmla="*/ 0 w 78"/>
                <a:gd name="T13" fmla="*/ 336 h 346"/>
                <a:gd name="T14" fmla="*/ 2 w 78"/>
                <a:gd name="T15" fmla="*/ 38 h 346"/>
                <a:gd name="T16" fmla="*/ 2 w 78"/>
                <a:gd name="T17" fmla="*/ 38 h 346"/>
                <a:gd name="T18" fmla="*/ 2 w 78"/>
                <a:gd name="T19" fmla="*/ 32 h 346"/>
                <a:gd name="T20" fmla="*/ 4 w 78"/>
                <a:gd name="T21" fmla="*/ 24 h 346"/>
                <a:gd name="T22" fmla="*/ 8 w 78"/>
                <a:gd name="T23" fmla="*/ 18 h 346"/>
                <a:gd name="T24" fmla="*/ 12 w 78"/>
                <a:gd name="T25" fmla="*/ 12 h 346"/>
                <a:gd name="T26" fmla="*/ 18 w 78"/>
                <a:gd name="T27" fmla="*/ 6 h 346"/>
                <a:gd name="T28" fmla="*/ 26 w 78"/>
                <a:gd name="T29" fmla="*/ 4 h 346"/>
                <a:gd name="T30" fmla="*/ 32 w 78"/>
                <a:gd name="T31" fmla="*/ 0 h 346"/>
                <a:gd name="T32" fmla="*/ 40 w 78"/>
                <a:gd name="T33" fmla="*/ 0 h 346"/>
                <a:gd name="T34" fmla="*/ 40 w 78"/>
                <a:gd name="T35" fmla="*/ 0 h 346"/>
                <a:gd name="T36" fmla="*/ 48 w 78"/>
                <a:gd name="T37" fmla="*/ 0 h 346"/>
                <a:gd name="T38" fmla="*/ 56 w 78"/>
                <a:gd name="T39" fmla="*/ 4 h 346"/>
                <a:gd name="T40" fmla="*/ 62 w 78"/>
                <a:gd name="T41" fmla="*/ 6 h 346"/>
                <a:gd name="T42" fmla="*/ 68 w 78"/>
                <a:gd name="T43" fmla="*/ 12 h 346"/>
                <a:gd name="T44" fmla="*/ 72 w 78"/>
                <a:gd name="T45" fmla="*/ 18 h 346"/>
                <a:gd name="T46" fmla="*/ 76 w 78"/>
                <a:gd name="T47" fmla="*/ 24 h 346"/>
                <a:gd name="T48" fmla="*/ 78 w 78"/>
                <a:gd name="T49" fmla="*/ 32 h 346"/>
                <a:gd name="T50" fmla="*/ 78 w 78"/>
                <a:gd name="T51" fmla="*/ 38 h 346"/>
                <a:gd name="T52" fmla="*/ 78 w 78"/>
                <a:gd name="T53" fmla="*/ 266 h 346"/>
                <a:gd name="T54" fmla="*/ 78 w 78"/>
                <a:gd name="T55" fmla="*/ 266 h 346"/>
                <a:gd name="T56" fmla="*/ 78 w 78"/>
                <a:gd name="T57" fmla="*/ 270 h 346"/>
                <a:gd name="T58" fmla="*/ 76 w 78"/>
                <a:gd name="T59" fmla="*/ 272 h 346"/>
                <a:gd name="T60" fmla="*/ 74 w 78"/>
                <a:gd name="T61" fmla="*/ 274 h 346"/>
                <a:gd name="T62" fmla="*/ 70 w 78"/>
                <a:gd name="T63" fmla="*/ 276 h 346"/>
                <a:gd name="T64" fmla="*/ 70 w 78"/>
                <a:gd name="T65" fmla="*/ 276 h 346"/>
                <a:gd name="T66" fmla="*/ 66 w 78"/>
                <a:gd name="T67" fmla="*/ 274 h 346"/>
                <a:gd name="T68" fmla="*/ 64 w 78"/>
                <a:gd name="T69" fmla="*/ 272 h 346"/>
                <a:gd name="T70" fmla="*/ 62 w 78"/>
                <a:gd name="T71" fmla="*/ 270 h 346"/>
                <a:gd name="T72" fmla="*/ 60 w 78"/>
                <a:gd name="T73" fmla="*/ 266 h 346"/>
                <a:gd name="T74" fmla="*/ 60 w 78"/>
                <a:gd name="T75" fmla="*/ 38 h 346"/>
                <a:gd name="T76" fmla="*/ 60 w 78"/>
                <a:gd name="T77" fmla="*/ 38 h 346"/>
                <a:gd name="T78" fmla="*/ 60 w 78"/>
                <a:gd name="T79" fmla="*/ 30 h 346"/>
                <a:gd name="T80" fmla="*/ 54 w 78"/>
                <a:gd name="T81" fmla="*/ 24 h 346"/>
                <a:gd name="T82" fmla="*/ 48 w 78"/>
                <a:gd name="T83" fmla="*/ 20 h 346"/>
                <a:gd name="T84" fmla="*/ 40 w 78"/>
                <a:gd name="T85" fmla="*/ 18 h 346"/>
                <a:gd name="T86" fmla="*/ 40 w 78"/>
                <a:gd name="T87" fmla="*/ 18 h 346"/>
                <a:gd name="T88" fmla="*/ 32 w 78"/>
                <a:gd name="T89" fmla="*/ 20 h 346"/>
                <a:gd name="T90" fmla="*/ 26 w 78"/>
                <a:gd name="T91" fmla="*/ 24 h 346"/>
                <a:gd name="T92" fmla="*/ 22 w 78"/>
                <a:gd name="T93" fmla="*/ 30 h 346"/>
                <a:gd name="T94" fmla="*/ 20 w 78"/>
                <a:gd name="T95" fmla="*/ 38 h 346"/>
                <a:gd name="T96" fmla="*/ 18 w 78"/>
                <a:gd name="T97" fmla="*/ 336 h 346"/>
                <a:gd name="T98" fmla="*/ 18 w 78"/>
                <a:gd name="T99" fmla="*/ 336 h 346"/>
                <a:gd name="T100" fmla="*/ 18 w 78"/>
                <a:gd name="T101" fmla="*/ 340 h 346"/>
                <a:gd name="T102" fmla="*/ 16 w 78"/>
                <a:gd name="T103" fmla="*/ 342 h 346"/>
                <a:gd name="T104" fmla="*/ 14 w 78"/>
                <a:gd name="T105" fmla="*/ 344 h 346"/>
                <a:gd name="T106" fmla="*/ 10 w 78"/>
                <a:gd name="T107" fmla="*/ 346 h 346"/>
                <a:gd name="T108" fmla="*/ 10 w 78"/>
                <a:gd name="T109" fmla="*/ 346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8" h="346">
                  <a:moveTo>
                    <a:pt x="10" y="346"/>
                  </a:moveTo>
                  <a:lnTo>
                    <a:pt x="10" y="346"/>
                  </a:lnTo>
                  <a:lnTo>
                    <a:pt x="10" y="346"/>
                  </a:lnTo>
                  <a:lnTo>
                    <a:pt x="6" y="344"/>
                  </a:lnTo>
                  <a:lnTo>
                    <a:pt x="4" y="342"/>
                  </a:lnTo>
                  <a:lnTo>
                    <a:pt x="2" y="340"/>
                  </a:lnTo>
                  <a:lnTo>
                    <a:pt x="0" y="336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2" y="32"/>
                  </a:lnTo>
                  <a:lnTo>
                    <a:pt x="4" y="24"/>
                  </a:lnTo>
                  <a:lnTo>
                    <a:pt x="8" y="18"/>
                  </a:lnTo>
                  <a:lnTo>
                    <a:pt x="12" y="12"/>
                  </a:lnTo>
                  <a:lnTo>
                    <a:pt x="18" y="6"/>
                  </a:lnTo>
                  <a:lnTo>
                    <a:pt x="26" y="4"/>
                  </a:lnTo>
                  <a:lnTo>
                    <a:pt x="32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8" y="0"/>
                  </a:lnTo>
                  <a:lnTo>
                    <a:pt x="56" y="4"/>
                  </a:lnTo>
                  <a:lnTo>
                    <a:pt x="62" y="6"/>
                  </a:lnTo>
                  <a:lnTo>
                    <a:pt x="68" y="12"/>
                  </a:lnTo>
                  <a:lnTo>
                    <a:pt x="72" y="18"/>
                  </a:lnTo>
                  <a:lnTo>
                    <a:pt x="76" y="24"/>
                  </a:lnTo>
                  <a:lnTo>
                    <a:pt x="78" y="32"/>
                  </a:lnTo>
                  <a:lnTo>
                    <a:pt x="78" y="38"/>
                  </a:lnTo>
                  <a:lnTo>
                    <a:pt x="78" y="266"/>
                  </a:lnTo>
                  <a:lnTo>
                    <a:pt x="78" y="266"/>
                  </a:lnTo>
                  <a:lnTo>
                    <a:pt x="78" y="270"/>
                  </a:lnTo>
                  <a:lnTo>
                    <a:pt x="76" y="272"/>
                  </a:lnTo>
                  <a:lnTo>
                    <a:pt x="74" y="274"/>
                  </a:lnTo>
                  <a:lnTo>
                    <a:pt x="70" y="276"/>
                  </a:lnTo>
                  <a:lnTo>
                    <a:pt x="70" y="276"/>
                  </a:lnTo>
                  <a:lnTo>
                    <a:pt x="66" y="274"/>
                  </a:lnTo>
                  <a:lnTo>
                    <a:pt x="64" y="272"/>
                  </a:lnTo>
                  <a:lnTo>
                    <a:pt x="62" y="270"/>
                  </a:lnTo>
                  <a:lnTo>
                    <a:pt x="60" y="266"/>
                  </a:lnTo>
                  <a:lnTo>
                    <a:pt x="60" y="38"/>
                  </a:lnTo>
                  <a:lnTo>
                    <a:pt x="60" y="38"/>
                  </a:lnTo>
                  <a:lnTo>
                    <a:pt x="60" y="30"/>
                  </a:lnTo>
                  <a:lnTo>
                    <a:pt x="54" y="24"/>
                  </a:lnTo>
                  <a:lnTo>
                    <a:pt x="48" y="20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32" y="20"/>
                  </a:lnTo>
                  <a:lnTo>
                    <a:pt x="26" y="24"/>
                  </a:lnTo>
                  <a:lnTo>
                    <a:pt x="22" y="30"/>
                  </a:lnTo>
                  <a:lnTo>
                    <a:pt x="20" y="38"/>
                  </a:lnTo>
                  <a:lnTo>
                    <a:pt x="18" y="336"/>
                  </a:lnTo>
                  <a:lnTo>
                    <a:pt x="18" y="336"/>
                  </a:lnTo>
                  <a:lnTo>
                    <a:pt x="18" y="340"/>
                  </a:lnTo>
                  <a:lnTo>
                    <a:pt x="16" y="342"/>
                  </a:lnTo>
                  <a:lnTo>
                    <a:pt x="14" y="344"/>
                  </a:lnTo>
                  <a:lnTo>
                    <a:pt x="10" y="346"/>
                  </a:lnTo>
                  <a:lnTo>
                    <a:pt x="10" y="346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59" name="Freeform 58">
              <a:extLst>
                <a:ext uri="{FF2B5EF4-FFF2-40B4-BE49-F238E27FC236}">
                  <a16:creationId xmlns:a16="http://schemas.microsoft.com/office/drawing/2014/main" id="{1AF4B867-8077-4EAB-9717-F94D9ADE8CFB}"/>
                </a:ext>
              </a:extLst>
            </p:cNvPr>
            <p:cNvSpPr>
              <a:spLocks/>
            </p:cNvSpPr>
            <p:nvPr/>
          </p:nvSpPr>
          <p:spPr bwMode="auto">
            <a:xfrm>
              <a:off x="3436" y="1151"/>
              <a:ext cx="78" cy="120"/>
            </a:xfrm>
            <a:custGeom>
              <a:avLst/>
              <a:gdLst>
                <a:gd name="T0" fmla="*/ 18 w 78"/>
                <a:gd name="T1" fmla="*/ 120 h 120"/>
                <a:gd name="T2" fmla="*/ 0 w 78"/>
                <a:gd name="T3" fmla="*/ 120 h 120"/>
                <a:gd name="T4" fmla="*/ 0 w 78"/>
                <a:gd name="T5" fmla="*/ 38 h 120"/>
                <a:gd name="T6" fmla="*/ 0 w 78"/>
                <a:gd name="T7" fmla="*/ 38 h 120"/>
                <a:gd name="T8" fmla="*/ 2 w 78"/>
                <a:gd name="T9" fmla="*/ 30 h 120"/>
                <a:gd name="T10" fmla="*/ 4 w 78"/>
                <a:gd name="T11" fmla="*/ 24 h 120"/>
                <a:gd name="T12" fmla="*/ 8 w 78"/>
                <a:gd name="T13" fmla="*/ 16 h 120"/>
                <a:gd name="T14" fmla="*/ 12 w 78"/>
                <a:gd name="T15" fmla="*/ 12 h 120"/>
                <a:gd name="T16" fmla="*/ 18 w 78"/>
                <a:gd name="T17" fmla="*/ 6 h 120"/>
                <a:gd name="T18" fmla="*/ 24 w 78"/>
                <a:gd name="T19" fmla="*/ 2 h 120"/>
                <a:gd name="T20" fmla="*/ 32 w 78"/>
                <a:gd name="T21" fmla="*/ 0 h 120"/>
                <a:gd name="T22" fmla="*/ 40 w 78"/>
                <a:gd name="T23" fmla="*/ 0 h 120"/>
                <a:gd name="T24" fmla="*/ 40 w 78"/>
                <a:gd name="T25" fmla="*/ 0 h 120"/>
                <a:gd name="T26" fmla="*/ 48 w 78"/>
                <a:gd name="T27" fmla="*/ 0 h 120"/>
                <a:gd name="T28" fmla="*/ 54 w 78"/>
                <a:gd name="T29" fmla="*/ 2 h 120"/>
                <a:gd name="T30" fmla="*/ 62 w 78"/>
                <a:gd name="T31" fmla="*/ 6 h 120"/>
                <a:gd name="T32" fmla="*/ 66 w 78"/>
                <a:gd name="T33" fmla="*/ 12 h 120"/>
                <a:gd name="T34" fmla="*/ 72 w 78"/>
                <a:gd name="T35" fmla="*/ 16 h 120"/>
                <a:gd name="T36" fmla="*/ 76 w 78"/>
                <a:gd name="T37" fmla="*/ 24 h 120"/>
                <a:gd name="T38" fmla="*/ 78 w 78"/>
                <a:gd name="T39" fmla="*/ 30 h 120"/>
                <a:gd name="T40" fmla="*/ 78 w 78"/>
                <a:gd name="T41" fmla="*/ 38 h 120"/>
                <a:gd name="T42" fmla="*/ 78 w 78"/>
                <a:gd name="T43" fmla="*/ 102 h 120"/>
                <a:gd name="T44" fmla="*/ 60 w 78"/>
                <a:gd name="T45" fmla="*/ 102 h 120"/>
                <a:gd name="T46" fmla="*/ 60 w 78"/>
                <a:gd name="T47" fmla="*/ 38 h 120"/>
                <a:gd name="T48" fmla="*/ 60 w 78"/>
                <a:gd name="T49" fmla="*/ 38 h 120"/>
                <a:gd name="T50" fmla="*/ 58 w 78"/>
                <a:gd name="T51" fmla="*/ 30 h 120"/>
                <a:gd name="T52" fmla="*/ 54 w 78"/>
                <a:gd name="T53" fmla="*/ 24 h 120"/>
                <a:gd name="T54" fmla="*/ 48 w 78"/>
                <a:gd name="T55" fmla="*/ 20 h 120"/>
                <a:gd name="T56" fmla="*/ 40 w 78"/>
                <a:gd name="T57" fmla="*/ 18 h 120"/>
                <a:gd name="T58" fmla="*/ 40 w 78"/>
                <a:gd name="T59" fmla="*/ 18 h 120"/>
                <a:gd name="T60" fmla="*/ 32 w 78"/>
                <a:gd name="T61" fmla="*/ 20 h 120"/>
                <a:gd name="T62" fmla="*/ 26 w 78"/>
                <a:gd name="T63" fmla="*/ 24 h 120"/>
                <a:gd name="T64" fmla="*/ 20 w 78"/>
                <a:gd name="T65" fmla="*/ 30 h 120"/>
                <a:gd name="T66" fmla="*/ 18 w 78"/>
                <a:gd name="T67" fmla="*/ 38 h 120"/>
                <a:gd name="T68" fmla="*/ 18 w 78"/>
                <a:gd name="T69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8" h="120">
                  <a:moveTo>
                    <a:pt x="18" y="120"/>
                  </a:moveTo>
                  <a:lnTo>
                    <a:pt x="0" y="120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2" y="30"/>
                  </a:lnTo>
                  <a:lnTo>
                    <a:pt x="4" y="24"/>
                  </a:lnTo>
                  <a:lnTo>
                    <a:pt x="8" y="16"/>
                  </a:lnTo>
                  <a:lnTo>
                    <a:pt x="12" y="12"/>
                  </a:lnTo>
                  <a:lnTo>
                    <a:pt x="18" y="6"/>
                  </a:lnTo>
                  <a:lnTo>
                    <a:pt x="24" y="2"/>
                  </a:lnTo>
                  <a:lnTo>
                    <a:pt x="32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8" y="0"/>
                  </a:lnTo>
                  <a:lnTo>
                    <a:pt x="54" y="2"/>
                  </a:lnTo>
                  <a:lnTo>
                    <a:pt x="62" y="6"/>
                  </a:lnTo>
                  <a:lnTo>
                    <a:pt x="66" y="12"/>
                  </a:lnTo>
                  <a:lnTo>
                    <a:pt x="72" y="16"/>
                  </a:lnTo>
                  <a:lnTo>
                    <a:pt x="76" y="24"/>
                  </a:lnTo>
                  <a:lnTo>
                    <a:pt x="78" y="30"/>
                  </a:lnTo>
                  <a:lnTo>
                    <a:pt x="78" y="38"/>
                  </a:lnTo>
                  <a:lnTo>
                    <a:pt x="78" y="102"/>
                  </a:lnTo>
                  <a:lnTo>
                    <a:pt x="60" y="102"/>
                  </a:lnTo>
                  <a:lnTo>
                    <a:pt x="60" y="38"/>
                  </a:lnTo>
                  <a:lnTo>
                    <a:pt x="60" y="38"/>
                  </a:lnTo>
                  <a:lnTo>
                    <a:pt x="58" y="30"/>
                  </a:lnTo>
                  <a:lnTo>
                    <a:pt x="54" y="24"/>
                  </a:lnTo>
                  <a:lnTo>
                    <a:pt x="48" y="20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32" y="20"/>
                  </a:lnTo>
                  <a:lnTo>
                    <a:pt x="26" y="24"/>
                  </a:lnTo>
                  <a:lnTo>
                    <a:pt x="20" y="30"/>
                  </a:lnTo>
                  <a:lnTo>
                    <a:pt x="18" y="38"/>
                  </a:lnTo>
                  <a:lnTo>
                    <a:pt x="18" y="12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60" name="Freeform 59">
              <a:extLst>
                <a:ext uri="{FF2B5EF4-FFF2-40B4-BE49-F238E27FC236}">
                  <a16:creationId xmlns:a16="http://schemas.microsoft.com/office/drawing/2014/main" id="{6F57E6A4-614E-4741-9CD9-2956A0668CCB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6" y="1137"/>
              <a:ext cx="78" cy="102"/>
            </a:xfrm>
            <a:custGeom>
              <a:avLst/>
              <a:gdLst>
                <a:gd name="T0" fmla="*/ 18 w 78"/>
                <a:gd name="T1" fmla="*/ 102 h 102"/>
                <a:gd name="T2" fmla="*/ 0 w 78"/>
                <a:gd name="T3" fmla="*/ 102 h 102"/>
                <a:gd name="T4" fmla="*/ 0 w 78"/>
                <a:gd name="T5" fmla="*/ 38 h 102"/>
                <a:gd name="T6" fmla="*/ 0 w 78"/>
                <a:gd name="T7" fmla="*/ 38 h 102"/>
                <a:gd name="T8" fmla="*/ 2 w 78"/>
                <a:gd name="T9" fmla="*/ 30 h 102"/>
                <a:gd name="T10" fmla="*/ 4 w 78"/>
                <a:gd name="T11" fmla="*/ 24 h 102"/>
                <a:gd name="T12" fmla="*/ 6 w 78"/>
                <a:gd name="T13" fmla="*/ 16 h 102"/>
                <a:gd name="T14" fmla="*/ 12 w 78"/>
                <a:gd name="T15" fmla="*/ 12 h 102"/>
                <a:gd name="T16" fmla="*/ 18 w 78"/>
                <a:gd name="T17" fmla="*/ 6 h 102"/>
                <a:gd name="T18" fmla="*/ 24 w 78"/>
                <a:gd name="T19" fmla="*/ 2 h 102"/>
                <a:gd name="T20" fmla="*/ 32 w 78"/>
                <a:gd name="T21" fmla="*/ 0 h 102"/>
                <a:gd name="T22" fmla="*/ 40 w 78"/>
                <a:gd name="T23" fmla="*/ 0 h 102"/>
                <a:gd name="T24" fmla="*/ 40 w 78"/>
                <a:gd name="T25" fmla="*/ 0 h 102"/>
                <a:gd name="T26" fmla="*/ 46 w 78"/>
                <a:gd name="T27" fmla="*/ 0 h 102"/>
                <a:gd name="T28" fmla="*/ 54 w 78"/>
                <a:gd name="T29" fmla="*/ 2 h 102"/>
                <a:gd name="T30" fmla="*/ 60 w 78"/>
                <a:gd name="T31" fmla="*/ 6 h 102"/>
                <a:gd name="T32" fmla="*/ 66 w 78"/>
                <a:gd name="T33" fmla="*/ 12 h 102"/>
                <a:gd name="T34" fmla="*/ 72 w 78"/>
                <a:gd name="T35" fmla="*/ 16 h 102"/>
                <a:gd name="T36" fmla="*/ 74 w 78"/>
                <a:gd name="T37" fmla="*/ 24 h 102"/>
                <a:gd name="T38" fmla="*/ 76 w 78"/>
                <a:gd name="T39" fmla="*/ 30 h 102"/>
                <a:gd name="T40" fmla="*/ 78 w 78"/>
                <a:gd name="T41" fmla="*/ 38 h 102"/>
                <a:gd name="T42" fmla="*/ 78 w 78"/>
                <a:gd name="T43" fmla="*/ 84 h 102"/>
                <a:gd name="T44" fmla="*/ 60 w 78"/>
                <a:gd name="T45" fmla="*/ 84 h 102"/>
                <a:gd name="T46" fmla="*/ 60 w 78"/>
                <a:gd name="T47" fmla="*/ 38 h 102"/>
                <a:gd name="T48" fmla="*/ 60 w 78"/>
                <a:gd name="T49" fmla="*/ 38 h 102"/>
                <a:gd name="T50" fmla="*/ 58 w 78"/>
                <a:gd name="T51" fmla="*/ 30 h 102"/>
                <a:gd name="T52" fmla="*/ 54 w 78"/>
                <a:gd name="T53" fmla="*/ 24 h 102"/>
                <a:gd name="T54" fmla="*/ 48 w 78"/>
                <a:gd name="T55" fmla="*/ 20 h 102"/>
                <a:gd name="T56" fmla="*/ 40 w 78"/>
                <a:gd name="T57" fmla="*/ 18 h 102"/>
                <a:gd name="T58" fmla="*/ 40 w 78"/>
                <a:gd name="T59" fmla="*/ 18 h 102"/>
                <a:gd name="T60" fmla="*/ 30 w 78"/>
                <a:gd name="T61" fmla="*/ 20 h 102"/>
                <a:gd name="T62" fmla="*/ 24 w 78"/>
                <a:gd name="T63" fmla="*/ 24 h 102"/>
                <a:gd name="T64" fmla="*/ 20 w 78"/>
                <a:gd name="T65" fmla="*/ 30 h 102"/>
                <a:gd name="T66" fmla="*/ 18 w 78"/>
                <a:gd name="T67" fmla="*/ 38 h 102"/>
                <a:gd name="T68" fmla="*/ 18 w 78"/>
                <a:gd name="T69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8" h="102">
                  <a:moveTo>
                    <a:pt x="18" y="102"/>
                  </a:moveTo>
                  <a:lnTo>
                    <a:pt x="0" y="102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2" y="30"/>
                  </a:lnTo>
                  <a:lnTo>
                    <a:pt x="4" y="24"/>
                  </a:lnTo>
                  <a:lnTo>
                    <a:pt x="6" y="16"/>
                  </a:lnTo>
                  <a:lnTo>
                    <a:pt x="12" y="12"/>
                  </a:lnTo>
                  <a:lnTo>
                    <a:pt x="18" y="6"/>
                  </a:lnTo>
                  <a:lnTo>
                    <a:pt x="24" y="2"/>
                  </a:lnTo>
                  <a:lnTo>
                    <a:pt x="32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6" y="0"/>
                  </a:lnTo>
                  <a:lnTo>
                    <a:pt x="54" y="2"/>
                  </a:lnTo>
                  <a:lnTo>
                    <a:pt x="60" y="6"/>
                  </a:lnTo>
                  <a:lnTo>
                    <a:pt x="66" y="12"/>
                  </a:lnTo>
                  <a:lnTo>
                    <a:pt x="72" y="16"/>
                  </a:lnTo>
                  <a:lnTo>
                    <a:pt x="74" y="24"/>
                  </a:lnTo>
                  <a:lnTo>
                    <a:pt x="76" y="30"/>
                  </a:lnTo>
                  <a:lnTo>
                    <a:pt x="78" y="38"/>
                  </a:lnTo>
                  <a:lnTo>
                    <a:pt x="78" y="84"/>
                  </a:lnTo>
                  <a:lnTo>
                    <a:pt x="60" y="84"/>
                  </a:lnTo>
                  <a:lnTo>
                    <a:pt x="60" y="38"/>
                  </a:lnTo>
                  <a:lnTo>
                    <a:pt x="60" y="38"/>
                  </a:lnTo>
                  <a:lnTo>
                    <a:pt x="58" y="30"/>
                  </a:lnTo>
                  <a:lnTo>
                    <a:pt x="54" y="24"/>
                  </a:lnTo>
                  <a:lnTo>
                    <a:pt x="48" y="20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30" y="20"/>
                  </a:lnTo>
                  <a:lnTo>
                    <a:pt x="24" y="24"/>
                  </a:lnTo>
                  <a:lnTo>
                    <a:pt x="20" y="30"/>
                  </a:lnTo>
                  <a:lnTo>
                    <a:pt x="18" y="38"/>
                  </a:lnTo>
                  <a:lnTo>
                    <a:pt x="18" y="102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61" name="Freeform 60">
              <a:extLst>
                <a:ext uri="{FF2B5EF4-FFF2-40B4-BE49-F238E27FC236}">
                  <a16:creationId xmlns:a16="http://schemas.microsoft.com/office/drawing/2014/main" id="{A9A7F1A1-84D2-4F84-808C-4EBEA119F49E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6" y="1187"/>
              <a:ext cx="78" cy="306"/>
            </a:xfrm>
            <a:custGeom>
              <a:avLst/>
              <a:gdLst>
                <a:gd name="T0" fmla="*/ 78 w 78"/>
                <a:gd name="T1" fmla="*/ 306 h 306"/>
                <a:gd name="T2" fmla="*/ 60 w 78"/>
                <a:gd name="T3" fmla="*/ 306 h 306"/>
                <a:gd name="T4" fmla="*/ 60 w 78"/>
                <a:gd name="T5" fmla="*/ 38 h 306"/>
                <a:gd name="T6" fmla="*/ 60 w 78"/>
                <a:gd name="T7" fmla="*/ 38 h 306"/>
                <a:gd name="T8" fmla="*/ 58 w 78"/>
                <a:gd name="T9" fmla="*/ 30 h 306"/>
                <a:gd name="T10" fmla="*/ 52 w 78"/>
                <a:gd name="T11" fmla="*/ 24 h 306"/>
                <a:gd name="T12" fmla="*/ 46 w 78"/>
                <a:gd name="T13" fmla="*/ 20 h 306"/>
                <a:gd name="T14" fmla="*/ 38 w 78"/>
                <a:gd name="T15" fmla="*/ 18 h 306"/>
                <a:gd name="T16" fmla="*/ 38 w 78"/>
                <a:gd name="T17" fmla="*/ 18 h 306"/>
                <a:gd name="T18" fmla="*/ 30 w 78"/>
                <a:gd name="T19" fmla="*/ 20 h 306"/>
                <a:gd name="T20" fmla="*/ 24 w 78"/>
                <a:gd name="T21" fmla="*/ 24 h 306"/>
                <a:gd name="T22" fmla="*/ 20 w 78"/>
                <a:gd name="T23" fmla="*/ 30 h 306"/>
                <a:gd name="T24" fmla="*/ 18 w 78"/>
                <a:gd name="T25" fmla="*/ 38 h 306"/>
                <a:gd name="T26" fmla="*/ 18 w 78"/>
                <a:gd name="T27" fmla="*/ 84 h 306"/>
                <a:gd name="T28" fmla="*/ 0 w 78"/>
                <a:gd name="T29" fmla="*/ 84 h 306"/>
                <a:gd name="T30" fmla="*/ 0 w 78"/>
                <a:gd name="T31" fmla="*/ 38 h 306"/>
                <a:gd name="T32" fmla="*/ 0 w 78"/>
                <a:gd name="T33" fmla="*/ 38 h 306"/>
                <a:gd name="T34" fmla="*/ 0 w 78"/>
                <a:gd name="T35" fmla="*/ 30 h 306"/>
                <a:gd name="T36" fmla="*/ 2 w 78"/>
                <a:gd name="T37" fmla="*/ 24 h 306"/>
                <a:gd name="T38" fmla="*/ 6 w 78"/>
                <a:gd name="T39" fmla="*/ 16 h 306"/>
                <a:gd name="T40" fmla="*/ 12 w 78"/>
                <a:gd name="T41" fmla="*/ 12 h 306"/>
                <a:gd name="T42" fmla="*/ 16 w 78"/>
                <a:gd name="T43" fmla="*/ 6 h 306"/>
                <a:gd name="T44" fmla="*/ 24 w 78"/>
                <a:gd name="T45" fmla="*/ 2 h 306"/>
                <a:gd name="T46" fmla="*/ 30 w 78"/>
                <a:gd name="T47" fmla="*/ 0 h 306"/>
                <a:gd name="T48" fmla="*/ 38 w 78"/>
                <a:gd name="T49" fmla="*/ 0 h 306"/>
                <a:gd name="T50" fmla="*/ 38 w 78"/>
                <a:gd name="T51" fmla="*/ 0 h 306"/>
                <a:gd name="T52" fmla="*/ 46 w 78"/>
                <a:gd name="T53" fmla="*/ 0 h 306"/>
                <a:gd name="T54" fmla="*/ 54 w 78"/>
                <a:gd name="T55" fmla="*/ 2 h 306"/>
                <a:gd name="T56" fmla="*/ 60 w 78"/>
                <a:gd name="T57" fmla="*/ 6 h 306"/>
                <a:gd name="T58" fmla="*/ 66 w 78"/>
                <a:gd name="T59" fmla="*/ 12 h 306"/>
                <a:gd name="T60" fmla="*/ 70 w 78"/>
                <a:gd name="T61" fmla="*/ 16 h 306"/>
                <a:gd name="T62" fmla="*/ 74 w 78"/>
                <a:gd name="T63" fmla="*/ 24 h 306"/>
                <a:gd name="T64" fmla="*/ 76 w 78"/>
                <a:gd name="T65" fmla="*/ 30 h 306"/>
                <a:gd name="T66" fmla="*/ 78 w 78"/>
                <a:gd name="T67" fmla="*/ 38 h 306"/>
                <a:gd name="T68" fmla="*/ 78 w 78"/>
                <a:gd name="T69" fmla="*/ 306 h 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8" h="306">
                  <a:moveTo>
                    <a:pt x="78" y="306"/>
                  </a:moveTo>
                  <a:lnTo>
                    <a:pt x="60" y="306"/>
                  </a:lnTo>
                  <a:lnTo>
                    <a:pt x="60" y="38"/>
                  </a:lnTo>
                  <a:lnTo>
                    <a:pt x="60" y="38"/>
                  </a:lnTo>
                  <a:lnTo>
                    <a:pt x="58" y="30"/>
                  </a:lnTo>
                  <a:lnTo>
                    <a:pt x="52" y="24"/>
                  </a:lnTo>
                  <a:lnTo>
                    <a:pt x="46" y="20"/>
                  </a:lnTo>
                  <a:lnTo>
                    <a:pt x="38" y="18"/>
                  </a:lnTo>
                  <a:lnTo>
                    <a:pt x="38" y="18"/>
                  </a:lnTo>
                  <a:lnTo>
                    <a:pt x="30" y="20"/>
                  </a:lnTo>
                  <a:lnTo>
                    <a:pt x="24" y="24"/>
                  </a:lnTo>
                  <a:lnTo>
                    <a:pt x="20" y="30"/>
                  </a:lnTo>
                  <a:lnTo>
                    <a:pt x="18" y="38"/>
                  </a:lnTo>
                  <a:lnTo>
                    <a:pt x="18" y="84"/>
                  </a:lnTo>
                  <a:lnTo>
                    <a:pt x="0" y="84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0" y="30"/>
                  </a:lnTo>
                  <a:lnTo>
                    <a:pt x="2" y="24"/>
                  </a:lnTo>
                  <a:lnTo>
                    <a:pt x="6" y="16"/>
                  </a:lnTo>
                  <a:lnTo>
                    <a:pt x="12" y="12"/>
                  </a:lnTo>
                  <a:lnTo>
                    <a:pt x="16" y="6"/>
                  </a:lnTo>
                  <a:lnTo>
                    <a:pt x="24" y="2"/>
                  </a:lnTo>
                  <a:lnTo>
                    <a:pt x="30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46" y="0"/>
                  </a:lnTo>
                  <a:lnTo>
                    <a:pt x="54" y="2"/>
                  </a:lnTo>
                  <a:lnTo>
                    <a:pt x="60" y="6"/>
                  </a:lnTo>
                  <a:lnTo>
                    <a:pt x="66" y="12"/>
                  </a:lnTo>
                  <a:lnTo>
                    <a:pt x="70" y="16"/>
                  </a:lnTo>
                  <a:lnTo>
                    <a:pt x="74" y="24"/>
                  </a:lnTo>
                  <a:lnTo>
                    <a:pt x="76" y="30"/>
                  </a:lnTo>
                  <a:lnTo>
                    <a:pt x="78" y="38"/>
                  </a:lnTo>
                  <a:lnTo>
                    <a:pt x="78" y="306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62" name="Freeform 61">
              <a:extLst>
                <a:ext uri="{FF2B5EF4-FFF2-40B4-BE49-F238E27FC236}">
                  <a16:creationId xmlns:a16="http://schemas.microsoft.com/office/drawing/2014/main" id="{D5050C7F-3B91-44EC-88B0-7404AB7A5B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48" y="1351"/>
              <a:ext cx="168" cy="262"/>
            </a:xfrm>
            <a:custGeom>
              <a:avLst/>
              <a:gdLst>
                <a:gd name="T0" fmla="*/ 168 w 168"/>
                <a:gd name="T1" fmla="*/ 262 h 262"/>
                <a:gd name="T2" fmla="*/ 0 w 168"/>
                <a:gd name="T3" fmla="*/ 262 h 262"/>
                <a:gd name="T4" fmla="*/ 0 w 168"/>
                <a:gd name="T5" fmla="*/ 0 h 262"/>
                <a:gd name="T6" fmla="*/ 168 w 168"/>
                <a:gd name="T7" fmla="*/ 0 h 262"/>
                <a:gd name="T8" fmla="*/ 168 w 168"/>
                <a:gd name="T9" fmla="*/ 262 h 262"/>
                <a:gd name="T10" fmla="*/ 18 w 168"/>
                <a:gd name="T11" fmla="*/ 244 h 262"/>
                <a:gd name="T12" fmla="*/ 150 w 168"/>
                <a:gd name="T13" fmla="*/ 244 h 262"/>
                <a:gd name="T14" fmla="*/ 150 w 168"/>
                <a:gd name="T15" fmla="*/ 18 h 262"/>
                <a:gd name="T16" fmla="*/ 18 w 168"/>
                <a:gd name="T17" fmla="*/ 18 h 262"/>
                <a:gd name="T18" fmla="*/ 18 w 168"/>
                <a:gd name="T19" fmla="*/ 244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8" h="262">
                  <a:moveTo>
                    <a:pt x="168" y="262"/>
                  </a:moveTo>
                  <a:lnTo>
                    <a:pt x="0" y="262"/>
                  </a:lnTo>
                  <a:lnTo>
                    <a:pt x="0" y="0"/>
                  </a:lnTo>
                  <a:lnTo>
                    <a:pt x="168" y="0"/>
                  </a:lnTo>
                  <a:lnTo>
                    <a:pt x="168" y="262"/>
                  </a:lnTo>
                  <a:close/>
                  <a:moveTo>
                    <a:pt x="18" y="244"/>
                  </a:moveTo>
                  <a:lnTo>
                    <a:pt x="150" y="244"/>
                  </a:lnTo>
                  <a:lnTo>
                    <a:pt x="150" y="18"/>
                  </a:lnTo>
                  <a:lnTo>
                    <a:pt x="18" y="18"/>
                  </a:lnTo>
                  <a:lnTo>
                    <a:pt x="18" y="244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63" name="Freeform 62">
              <a:extLst>
                <a:ext uri="{FF2B5EF4-FFF2-40B4-BE49-F238E27FC236}">
                  <a16:creationId xmlns:a16="http://schemas.microsoft.com/office/drawing/2014/main" id="{7D8995D7-038E-4122-A88B-1229015461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96" y="1211"/>
              <a:ext cx="170" cy="402"/>
            </a:xfrm>
            <a:custGeom>
              <a:avLst/>
              <a:gdLst>
                <a:gd name="T0" fmla="*/ 170 w 170"/>
                <a:gd name="T1" fmla="*/ 402 h 402"/>
                <a:gd name="T2" fmla="*/ 0 w 170"/>
                <a:gd name="T3" fmla="*/ 402 h 402"/>
                <a:gd name="T4" fmla="*/ 0 w 170"/>
                <a:gd name="T5" fmla="*/ 0 h 402"/>
                <a:gd name="T6" fmla="*/ 170 w 170"/>
                <a:gd name="T7" fmla="*/ 0 h 402"/>
                <a:gd name="T8" fmla="*/ 170 w 170"/>
                <a:gd name="T9" fmla="*/ 402 h 402"/>
                <a:gd name="T10" fmla="*/ 18 w 170"/>
                <a:gd name="T11" fmla="*/ 384 h 402"/>
                <a:gd name="T12" fmla="*/ 152 w 170"/>
                <a:gd name="T13" fmla="*/ 384 h 402"/>
                <a:gd name="T14" fmla="*/ 152 w 170"/>
                <a:gd name="T15" fmla="*/ 18 h 402"/>
                <a:gd name="T16" fmla="*/ 18 w 170"/>
                <a:gd name="T17" fmla="*/ 18 h 402"/>
                <a:gd name="T18" fmla="*/ 18 w 170"/>
                <a:gd name="T19" fmla="*/ 384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0" h="402">
                  <a:moveTo>
                    <a:pt x="170" y="402"/>
                  </a:moveTo>
                  <a:lnTo>
                    <a:pt x="0" y="402"/>
                  </a:lnTo>
                  <a:lnTo>
                    <a:pt x="0" y="0"/>
                  </a:lnTo>
                  <a:lnTo>
                    <a:pt x="170" y="0"/>
                  </a:lnTo>
                  <a:lnTo>
                    <a:pt x="170" y="402"/>
                  </a:lnTo>
                  <a:close/>
                  <a:moveTo>
                    <a:pt x="18" y="384"/>
                  </a:moveTo>
                  <a:lnTo>
                    <a:pt x="152" y="384"/>
                  </a:lnTo>
                  <a:lnTo>
                    <a:pt x="152" y="18"/>
                  </a:lnTo>
                  <a:lnTo>
                    <a:pt x="18" y="18"/>
                  </a:lnTo>
                  <a:lnTo>
                    <a:pt x="18" y="384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64" name="Freeform 63">
              <a:extLst>
                <a:ext uri="{FF2B5EF4-FFF2-40B4-BE49-F238E27FC236}">
                  <a16:creationId xmlns:a16="http://schemas.microsoft.com/office/drawing/2014/main" id="{289113CA-FC00-45D6-A170-13836FBD96C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30" y="883"/>
              <a:ext cx="240" cy="242"/>
            </a:xfrm>
            <a:custGeom>
              <a:avLst/>
              <a:gdLst>
                <a:gd name="T0" fmla="*/ 120 w 240"/>
                <a:gd name="T1" fmla="*/ 242 h 242"/>
                <a:gd name="T2" fmla="*/ 96 w 240"/>
                <a:gd name="T3" fmla="*/ 240 h 242"/>
                <a:gd name="T4" fmla="*/ 54 w 240"/>
                <a:gd name="T5" fmla="*/ 220 h 242"/>
                <a:gd name="T6" fmla="*/ 20 w 240"/>
                <a:gd name="T7" fmla="*/ 188 h 242"/>
                <a:gd name="T8" fmla="*/ 2 w 240"/>
                <a:gd name="T9" fmla="*/ 146 h 242"/>
                <a:gd name="T10" fmla="*/ 0 w 240"/>
                <a:gd name="T11" fmla="*/ 122 h 242"/>
                <a:gd name="T12" fmla="*/ 0 w 240"/>
                <a:gd name="T13" fmla="*/ 108 h 242"/>
                <a:gd name="T14" fmla="*/ 10 w 240"/>
                <a:gd name="T15" fmla="*/ 74 h 242"/>
                <a:gd name="T16" fmla="*/ 36 w 240"/>
                <a:gd name="T17" fmla="*/ 36 h 242"/>
                <a:gd name="T18" fmla="*/ 74 w 240"/>
                <a:gd name="T19" fmla="*/ 10 h 242"/>
                <a:gd name="T20" fmla="*/ 108 w 240"/>
                <a:gd name="T21" fmla="*/ 2 h 242"/>
                <a:gd name="T22" fmla="*/ 120 w 240"/>
                <a:gd name="T23" fmla="*/ 0 h 242"/>
                <a:gd name="T24" fmla="*/ 144 w 240"/>
                <a:gd name="T25" fmla="*/ 4 h 242"/>
                <a:gd name="T26" fmla="*/ 188 w 240"/>
                <a:gd name="T27" fmla="*/ 22 h 242"/>
                <a:gd name="T28" fmla="*/ 220 w 240"/>
                <a:gd name="T29" fmla="*/ 54 h 242"/>
                <a:gd name="T30" fmla="*/ 238 w 240"/>
                <a:gd name="T31" fmla="*/ 96 h 242"/>
                <a:gd name="T32" fmla="*/ 240 w 240"/>
                <a:gd name="T33" fmla="*/ 122 h 242"/>
                <a:gd name="T34" fmla="*/ 240 w 240"/>
                <a:gd name="T35" fmla="*/ 134 h 242"/>
                <a:gd name="T36" fmla="*/ 232 w 240"/>
                <a:gd name="T37" fmla="*/ 168 h 242"/>
                <a:gd name="T38" fmla="*/ 206 w 240"/>
                <a:gd name="T39" fmla="*/ 206 h 242"/>
                <a:gd name="T40" fmla="*/ 168 w 240"/>
                <a:gd name="T41" fmla="*/ 232 h 242"/>
                <a:gd name="T42" fmla="*/ 132 w 240"/>
                <a:gd name="T43" fmla="*/ 240 h 242"/>
                <a:gd name="T44" fmla="*/ 120 w 240"/>
                <a:gd name="T45" fmla="*/ 242 h 242"/>
                <a:gd name="T46" fmla="*/ 120 w 240"/>
                <a:gd name="T47" fmla="*/ 18 h 242"/>
                <a:gd name="T48" fmla="*/ 80 w 240"/>
                <a:gd name="T49" fmla="*/ 26 h 242"/>
                <a:gd name="T50" fmla="*/ 48 w 240"/>
                <a:gd name="T51" fmla="*/ 48 h 242"/>
                <a:gd name="T52" fmla="*/ 26 w 240"/>
                <a:gd name="T53" fmla="*/ 82 h 242"/>
                <a:gd name="T54" fmla="*/ 18 w 240"/>
                <a:gd name="T55" fmla="*/ 122 h 242"/>
                <a:gd name="T56" fmla="*/ 20 w 240"/>
                <a:gd name="T57" fmla="*/ 142 h 242"/>
                <a:gd name="T58" fmla="*/ 36 w 240"/>
                <a:gd name="T59" fmla="*/ 178 h 242"/>
                <a:gd name="T60" fmla="*/ 64 w 240"/>
                <a:gd name="T61" fmla="*/ 206 h 242"/>
                <a:gd name="T62" fmla="*/ 100 w 240"/>
                <a:gd name="T63" fmla="*/ 222 h 242"/>
                <a:gd name="T64" fmla="*/ 120 w 240"/>
                <a:gd name="T65" fmla="*/ 224 h 242"/>
                <a:gd name="T66" fmla="*/ 160 w 240"/>
                <a:gd name="T67" fmla="*/ 216 h 242"/>
                <a:gd name="T68" fmla="*/ 192 w 240"/>
                <a:gd name="T69" fmla="*/ 194 h 242"/>
                <a:gd name="T70" fmla="*/ 214 w 240"/>
                <a:gd name="T71" fmla="*/ 160 h 242"/>
                <a:gd name="T72" fmla="*/ 222 w 240"/>
                <a:gd name="T73" fmla="*/ 122 h 242"/>
                <a:gd name="T74" fmla="*/ 220 w 240"/>
                <a:gd name="T75" fmla="*/ 100 h 242"/>
                <a:gd name="T76" fmla="*/ 206 w 240"/>
                <a:gd name="T77" fmla="*/ 64 h 242"/>
                <a:gd name="T78" fmla="*/ 178 w 240"/>
                <a:gd name="T79" fmla="*/ 36 h 242"/>
                <a:gd name="T80" fmla="*/ 142 w 240"/>
                <a:gd name="T81" fmla="*/ 20 h 242"/>
                <a:gd name="T82" fmla="*/ 120 w 240"/>
                <a:gd name="T83" fmla="*/ 18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40" h="242">
                  <a:moveTo>
                    <a:pt x="120" y="242"/>
                  </a:moveTo>
                  <a:lnTo>
                    <a:pt x="120" y="242"/>
                  </a:lnTo>
                  <a:lnTo>
                    <a:pt x="108" y="240"/>
                  </a:lnTo>
                  <a:lnTo>
                    <a:pt x="96" y="240"/>
                  </a:lnTo>
                  <a:lnTo>
                    <a:pt x="74" y="232"/>
                  </a:lnTo>
                  <a:lnTo>
                    <a:pt x="54" y="220"/>
                  </a:lnTo>
                  <a:lnTo>
                    <a:pt x="36" y="206"/>
                  </a:lnTo>
                  <a:lnTo>
                    <a:pt x="20" y="188"/>
                  </a:lnTo>
                  <a:lnTo>
                    <a:pt x="10" y="168"/>
                  </a:lnTo>
                  <a:lnTo>
                    <a:pt x="2" y="146"/>
                  </a:lnTo>
                  <a:lnTo>
                    <a:pt x="0" y="134"/>
                  </a:lnTo>
                  <a:lnTo>
                    <a:pt x="0" y="122"/>
                  </a:lnTo>
                  <a:lnTo>
                    <a:pt x="0" y="122"/>
                  </a:lnTo>
                  <a:lnTo>
                    <a:pt x="0" y="108"/>
                  </a:lnTo>
                  <a:lnTo>
                    <a:pt x="2" y="96"/>
                  </a:lnTo>
                  <a:lnTo>
                    <a:pt x="10" y="74"/>
                  </a:lnTo>
                  <a:lnTo>
                    <a:pt x="20" y="54"/>
                  </a:lnTo>
                  <a:lnTo>
                    <a:pt x="36" y="36"/>
                  </a:lnTo>
                  <a:lnTo>
                    <a:pt x="54" y="22"/>
                  </a:lnTo>
                  <a:lnTo>
                    <a:pt x="74" y="10"/>
                  </a:lnTo>
                  <a:lnTo>
                    <a:pt x="96" y="4"/>
                  </a:lnTo>
                  <a:lnTo>
                    <a:pt x="108" y="2"/>
                  </a:lnTo>
                  <a:lnTo>
                    <a:pt x="120" y="0"/>
                  </a:lnTo>
                  <a:lnTo>
                    <a:pt x="120" y="0"/>
                  </a:lnTo>
                  <a:lnTo>
                    <a:pt x="132" y="2"/>
                  </a:lnTo>
                  <a:lnTo>
                    <a:pt x="144" y="4"/>
                  </a:lnTo>
                  <a:lnTo>
                    <a:pt x="168" y="10"/>
                  </a:lnTo>
                  <a:lnTo>
                    <a:pt x="188" y="22"/>
                  </a:lnTo>
                  <a:lnTo>
                    <a:pt x="206" y="36"/>
                  </a:lnTo>
                  <a:lnTo>
                    <a:pt x="220" y="54"/>
                  </a:lnTo>
                  <a:lnTo>
                    <a:pt x="232" y="74"/>
                  </a:lnTo>
                  <a:lnTo>
                    <a:pt x="238" y="96"/>
                  </a:lnTo>
                  <a:lnTo>
                    <a:pt x="240" y="108"/>
                  </a:lnTo>
                  <a:lnTo>
                    <a:pt x="240" y="122"/>
                  </a:lnTo>
                  <a:lnTo>
                    <a:pt x="240" y="122"/>
                  </a:lnTo>
                  <a:lnTo>
                    <a:pt x="240" y="134"/>
                  </a:lnTo>
                  <a:lnTo>
                    <a:pt x="238" y="146"/>
                  </a:lnTo>
                  <a:lnTo>
                    <a:pt x="232" y="168"/>
                  </a:lnTo>
                  <a:lnTo>
                    <a:pt x="220" y="188"/>
                  </a:lnTo>
                  <a:lnTo>
                    <a:pt x="206" y="206"/>
                  </a:lnTo>
                  <a:lnTo>
                    <a:pt x="188" y="220"/>
                  </a:lnTo>
                  <a:lnTo>
                    <a:pt x="168" y="232"/>
                  </a:lnTo>
                  <a:lnTo>
                    <a:pt x="144" y="240"/>
                  </a:lnTo>
                  <a:lnTo>
                    <a:pt x="132" y="240"/>
                  </a:lnTo>
                  <a:lnTo>
                    <a:pt x="120" y="242"/>
                  </a:lnTo>
                  <a:lnTo>
                    <a:pt x="120" y="242"/>
                  </a:lnTo>
                  <a:close/>
                  <a:moveTo>
                    <a:pt x="120" y="18"/>
                  </a:moveTo>
                  <a:lnTo>
                    <a:pt x="120" y="18"/>
                  </a:lnTo>
                  <a:lnTo>
                    <a:pt x="100" y="20"/>
                  </a:lnTo>
                  <a:lnTo>
                    <a:pt x="80" y="26"/>
                  </a:lnTo>
                  <a:lnTo>
                    <a:pt x="64" y="36"/>
                  </a:lnTo>
                  <a:lnTo>
                    <a:pt x="48" y="48"/>
                  </a:lnTo>
                  <a:lnTo>
                    <a:pt x="36" y="64"/>
                  </a:lnTo>
                  <a:lnTo>
                    <a:pt x="26" y="82"/>
                  </a:lnTo>
                  <a:lnTo>
                    <a:pt x="20" y="100"/>
                  </a:lnTo>
                  <a:lnTo>
                    <a:pt x="18" y="122"/>
                  </a:lnTo>
                  <a:lnTo>
                    <a:pt x="18" y="122"/>
                  </a:lnTo>
                  <a:lnTo>
                    <a:pt x="20" y="142"/>
                  </a:lnTo>
                  <a:lnTo>
                    <a:pt x="26" y="160"/>
                  </a:lnTo>
                  <a:lnTo>
                    <a:pt x="36" y="178"/>
                  </a:lnTo>
                  <a:lnTo>
                    <a:pt x="48" y="194"/>
                  </a:lnTo>
                  <a:lnTo>
                    <a:pt x="64" y="206"/>
                  </a:lnTo>
                  <a:lnTo>
                    <a:pt x="80" y="216"/>
                  </a:lnTo>
                  <a:lnTo>
                    <a:pt x="100" y="222"/>
                  </a:lnTo>
                  <a:lnTo>
                    <a:pt x="120" y="224"/>
                  </a:lnTo>
                  <a:lnTo>
                    <a:pt x="120" y="224"/>
                  </a:lnTo>
                  <a:lnTo>
                    <a:pt x="142" y="222"/>
                  </a:lnTo>
                  <a:lnTo>
                    <a:pt x="160" y="216"/>
                  </a:lnTo>
                  <a:lnTo>
                    <a:pt x="178" y="206"/>
                  </a:lnTo>
                  <a:lnTo>
                    <a:pt x="192" y="194"/>
                  </a:lnTo>
                  <a:lnTo>
                    <a:pt x="206" y="178"/>
                  </a:lnTo>
                  <a:lnTo>
                    <a:pt x="214" y="160"/>
                  </a:lnTo>
                  <a:lnTo>
                    <a:pt x="220" y="142"/>
                  </a:lnTo>
                  <a:lnTo>
                    <a:pt x="222" y="122"/>
                  </a:lnTo>
                  <a:lnTo>
                    <a:pt x="222" y="122"/>
                  </a:lnTo>
                  <a:lnTo>
                    <a:pt x="220" y="100"/>
                  </a:lnTo>
                  <a:lnTo>
                    <a:pt x="214" y="82"/>
                  </a:lnTo>
                  <a:lnTo>
                    <a:pt x="206" y="64"/>
                  </a:lnTo>
                  <a:lnTo>
                    <a:pt x="192" y="48"/>
                  </a:lnTo>
                  <a:lnTo>
                    <a:pt x="178" y="36"/>
                  </a:lnTo>
                  <a:lnTo>
                    <a:pt x="160" y="26"/>
                  </a:lnTo>
                  <a:lnTo>
                    <a:pt x="142" y="20"/>
                  </a:lnTo>
                  <a:lnTo>
                    <a:pt x="120" y="18"/>
                  </a:lnTo>
                  <a:lnTo>
                    <a:pt x="120" y="18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E3D663A6-A3B3-45F5-B434-FCCBB21879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96" y="1261"/>
              <a:ext cx="170" cy="18"/>
            </a:xfrm>
            <a:prstGeom prst="rect">
              <a:avLst/>
            </a:pr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34039EE5-C7CA-4D6D-9626-1751A3AC1D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02" y="1309"/>
              <a:ext cx="164" cy="18"/>
            </a:xfrm>
            <a:prstGeom prst="rect">
              <a:avLst/>
            </a:pr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2C9678F6-47CD-4837-AFA4-C050EFD5EA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96" y="1351"/>
              <a:ext cx="170" cy="18"/>
            </a:xfrm>
            <a:prstGeom prst="rect">
              <a:avLst/>
            </a:pr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F33AFFA8-ACD9-4639-940A-A0A7D4E882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10" y="1405"/>
              <a:ext cx="306" cy="18"/>
            </a:xfrm>
            <a:prstGeom prst="rect">
              <a:avLst/>
            </a:pr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192D3CE4-B849-475F-842B-F29A7ED14D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12" y="1453"/>
              <a:ext cx="304" cy="18"/>
            </a:xfrm>
            <a:prstGeom prst="rect">
              <a:avLst/>
            </a:pr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A5E4EF62-A807-437B-B7B1-F5E9BCB100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96" y="1501"/>
              <a:ext cx="320" cy="18"/>
            </a:xfrm>
            <a:prstGeom prst="rect">
              <a:avLst/>
            </a:pr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FFD58B90-9254-4AB1-8B9B-97A6B5237F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96" y="1549"/>
              <a:ext cx="320" cy="18"/>
            </a:xfrm>
            <a:prstGeom prst="rect">
              <a:avLst/>
            </a:pr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72" name="Freeform 71">
              <a:extLst>
                <a:ext uri="{FF2B5EF4-FFF2-40B4-BE49-F238E27FC236}">
                  <a16:creationId xmlns:a16="http://schemas.microsoft.com/office/drawing/2014/main" id="{9371DE83-867A-4286-9EEF-0191C429EFF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14" y="937"/>
              <a:ext cx="78" cy="134"/>
            </a:xfrm>
            <a:custGeom>
              <a:avLst/>
              <a:gdLst>
                <a:gd name="T0" fmla="*/ 24 w 78"/>
                <a:gd name="T1" fmla="*/ 134 h 134"/>
                <a:gd name="T2" fmla="*/ 14 w 78"/>
                <a:gd name="T3" fmla="*/ 134 h 134"/>
                <a:gd name="T4" fmla="*/ 2 w 78"/>
                <a:gd name="T5" fmla="*/ 120 h 134"/>
                <a:gd name="T6" fmla="*/ 0 w 78"/>
                <a:gd name="T7" fmla="*/ 96 h 134"/>
                <a:gd name="T8" fmla="*/ 18 w 78"/>
                <a:gd name="T9" fmla="*/ 112 h 134"/>
                <a:gd name="T10" fmla="*/ 20 w 78"/>
                <a:gd name="T11" fmla="*/ 116 h 134"/>
                <a:gd name="T12" fmla="*/ 54 w 78"/>
                <a:gd name="T13" fmla="*/ 116 h 134"/>
                <a:gd name="T14" fmla="*/ 58 w 78"/>
                <a:gd name="T15" fmla="*/ 116 h 134"/>
                <a:gd name="T16" fmla="*/ 60 w 78"/>
                <a:gd name="T17" fmla="*/ 82 h 134"/>
                <a:gd name="T18" fmla="*/ 58 w 78"/>
                <a:gd name="T19" fmla="*/ 78 h 134"/>
                <a:gd name="T20" fmla="*/ 24 w 78"/>
                <a:gd name="T21" fmla="*/ 76 h 134"/>
                <a:gd name="T22" fmla="*/ 14 w 78"/>
                <a:gd name="T23" fmla="*/ 74 h 134"/>
                <a:gd name="T24" fmla="*/ 2 w 78"/>
                <a:gd name="T25" fmla="*/ 62 h 134"/>
                <a:gd name="T26" fmla="*/ 0 w 78"/>
                <a:gd name="T27" fmla="*/ 22 h 134"/>
                <a:gd name="T28" fmla="*/ 2 w 78"/>
                <a:gd name="T29" fmla="*/ 14 h 134"/>
                <a:gd name="T30" fmla="*/ 14 w 78"/>
                <a:gd name="T31" fmla="*/ 2 h 134"/>
                <a:gd name="T32" fmla="*/ 54 w 78"/>
                <a:gd name="T33" fmla="*/ 0 h 134"/>
                <a:gd name="T34" fmla="*/ 62 w 78"/>
                <a:gd name="T35" fmla="*/ 2 h 134"/>
                <a:gd name="T36" fmla="*/ 76 w 78"/>
                <a:gd name="T37" fmla="*/ 14 h 134"/>
                <a:gd name="T38" fmla="*/ 78 w 78"/>
                <a:gd name="T39" fmla="*/ 38 h 134"/>
                <a:gd name="T40" fmla="*/ 60 w 78"/>
                <a:gd name="T41" fmla="*/ 22 h 134"/>
                <a:gd name="T42" fmla="*/ 58 w 78"/>
                <a:gd name="T43" fmla="*/ 18 h 134"/>
                <a:gd name="T44" fmla="*/ 24 w 78"/>
                <a:gd name="T45" fmla="*/ 18 h 134"/>
                <a:gd name="T46" fmla="*/ 20 w 78"/>
                <a:gd name="T47" fmla="*/ 18 h 134"/>
                <a:gd name="T48" fmla="*/ 18 w 78"/>
                <a:gd name="T49" fmla="*/ 52 h 134"/>
                <a:gd name="T50" fmla="*/ 20 w 78"/>
                <a:gd name="T51" fmla="*/ 56 h 134"/>
                <a:gd name="T52" fmla="*/ 54 w 78"/>
                <a:gd name="T53" fmla="*/ 58 h 134"/>
                <a:gd name="T54" fmla="*/ 62 w 78"/>
                <a:gd name="T55" fmla="*/ 60 h 134"/>
                <a:gd name="T56" fmla="*/ 76 w 78"/>
                <a:gd name="T57" fmla="*/ 72 h 134"/>
                <a:gd name="T58" fmla="*/ 78 w 78"/>
                <a:gd name="T59" fmla="*/ 112 h 134"/>
                <a:gd name="T60" fmla="*/ 76 w 78"/>
                <a:gd name="T61" fmla="*/ 120 h 134"/>
                <a:gd name="T62" fmla="*/ 62 w 78"/>
                <a:gd name="T63" fmla="*/ 134 h 134"/>
                <a:gd name="T64" fmla="*/ 54 w 78"/>
                <a:gd name="T65" fmla="*/ 134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8" h="134">
                  <a:moveTo>
                    <a:pt x="54" y="134"/>
                  </a:moveTo>
                  <a:lnTo>
                    <a:pt x="24" y="134"/>
                  </a:lnTo>
                  <a:lnTo>
                    <a:pt x="24" y="134"/>
                  </a:lnTo>
                  <a:lnTo>
                    <a:pt x="14" y="134"/>
                  </a:lnTo>
                  <a:lnTo>
                    <a:pt x="8" y="128"/>
                  </a:lnTo>
                  <a:lnTo>
                    <a:pt x="2" y="120"/>
                  </a:lnTo>
                  <a:lnTo>
                    <a:pt x="0" y="112"/>
                  </a:lnTo>
                  <a:lnTo>
                    <a:pt x="0" y="96"/>
                  </a:lnTo>
                  <a:lnTo>
                    <a:pt x="18" y="96"/>
                  </a:lnTo>
                  <a:lnTo>
                    <a:pt x="18" y="112"/>
                  </a:lnTo>
                  <a:lnTo>
                    <a:pt x="18" y="112"/>
                  </a:lnTo>
                  <a:lnTo>
                    <a:pt x="20" y="116"/>
                  </a:lnTo>
                  <a:lnTo>
                    <a:pt x="24" y="116"/>
                  </a:lnTo>
                  <a:lnTo>
                    <a:pt x="54" y="116"/>
                  </a:lnTo>
                  <a:lnTo>
                    <a:pt x="54" y="116"/>
                  </a:lnTo>
                  <a:lnTo>
                    <a:pt x="58" y="116"/>
                  </a:lnTo>
                  <a:lnTo>
                    <a:pt x="60" y="112"/>
                  </a:lnTo>
                  <a:lnTo>
                    <a:pt x="60" y="82"/>
                  </a:lnTo>
                  <a:lnTo>
                    <a:pt x="60" y="82"/>
                  </a:lnTo>
                  <a:lnTo>
                    <a:pt x="58" y="78"/>
                  </a:lnTo>
                  <a:lnTo>
                    <a:pt x="5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14" y="74"/>
                  </a:lnTo>
                  <a:lnTo>
                    <a:pt x="8" y="70"/>
                  </a:lnTo>
                  <a:lnTo>
                    <a:pt x="2" y="62"/>
                  </a:lnTo>
                  <a:lnTo>
                    <a:pt x="0" y="5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2" y="14"/>
                  </a:lnTo>
                  <a:lnTo>
                    <a:pt x="8" y="6"/>
                  </a:lnTo>
                  <a:lnTo>
                    <a:pt x="14" y="2"/>
                  </a:lnTo>
                  <a:lnTo>
                    <a:pt x="24" y="0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62" y="2"/>
                  </a:lnTo>
                  <a:lnTo>
                    <a:pt x="70" y="6"/>
                  </a:lnTo>
                  <a:lnTo>
                    <a:pt x="76" y="14"/>
                  </a:lnTo>
                  <a:lnTo>
                    <a:pt x="78" y="22"/>
                  </a:lnTo>
                  <a:lnTo>
                    <a:pt x="78" y="38"/>
                  </a:lnTo>
                  <a:lnTo>
                    <a:pt x="60" y="38"/>
                  </a:lnTo>
                  <a:lnTo>
                    <a:pt x="60" y="22"/>
                  </a:lnTo>
                  <a:lnTo>
                    <a:pt x="60" y="22"/>
                  </a:lnTo>
                  <a:lnTo>
                    <a:pt x="58" y="18"/>
                  </a:lnTo>
                  <a:lnTo>
                    <a:pt x="54" y="18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20" y="18"/>
                  </a:lnTo>
                  <a:lnTo>
                    <a:pt x="18" y="22"/>
                  </a:lnTo>
                  <a:lnTo>
                    <a:pt x="18" y="52"/>
                  </a:lnTo>
                  <a:lnTo>
                    <a:pt x="18" y="52"/>
                  </a:lnTo>
                  <a:lnTo>
                    <a:pt x="20" y="56"/>
                  </a:lnTo>
                  <a:lnTo>
                    <a:pt x="24" y="58"/>
                  </a:lnTo>
                  <a:lnTo>
                    <a:pt x="54" y="58"/>
                  </a:lnTo>
                  <a:lnTo>
                    <a:pt x="54" y="58"/>
                  </a:lnTo>
                  <a:lnTo>
                    <a:pt x="62" y="60"/>
                  </a:lnTo>
                  <a:lnTo>
                    <a:pt x="70" y="66"/>
                  </a:lnTo>
                  <a:lnTo>
                    <a:pt x="76" y="72"/>
                  </a:lnTo>
                  <a:lnTo>
                    <a:pt x="78" y="82"/>
                  </a:lnTo>
                  <a:lnTo>
                    <a:pt x="78" y="112"/>
                  </a:lnTo>
                  <a:lnTo>
                    <a:pt x="78" y="112"/>
                  </a:lnTo>
                  <a:lnTo>
                    <a:pt x="76" y="120"/>
                  </a:lnTo>
                  <a:lnTo>
                    <a:pt x="70" y="128"/>
                  </a:lnTo>
                  <a:lnTo>
                    <a:pt x="62" y="134"/>
                  </a:lnTo>
                  <a:lnTo>
                    <a:pt x="54" y="134"/>
                  </a:lnTo>
                  <a:lnTo>
                    <a:pt x="54" y="134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087015CA-22DD-47FC-A170-3EF47DC7F1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44" y="929"/>
              <a:ext cx="18" cy="16"/>
            </a:xfrm>
            <a:prstGeom prst="rect">
              <a:avLst/>
            </a:pr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E199911F-B4E1-414A-A584-E25042A864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44" y="1063"/>
              <a:ext cx="18" cy="16"/>
            </a:xfrm>
            <a:prstGeom prst="rect">
              <a:avLst/>
            </a:pr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C0EFDB9D-DC16-4324-938D-C269018857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74" y="999"/>
              <a:ext cx="22" cy="18"/>
            </a:xfrm>
            <a:prstGeom prst="rect">
              <a:avLst/>
            </a:pr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4543A25B-2286-40CE-94D8-FDA6717D96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04" y="999"/>
              <a:ext cx="24" cy="18"/>
            </a:xfrm>
            <a:prstGeom prst="rect">
              <a:avLst/>
            </a:pr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33837FDD-205E-4D5E-9206-F68C1144F4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34" y="1003"/>
              <a:ext cx="18" cy="94"/>
            </a:xfrm>
            <a:prstGeom prst="rect">
              <a:avLst/>
            </a:pr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78" name="Freeform 77">
              <a:extLst>
                <a:ext uri="{FF2B5EF4-FFF2-40B4-BE49-F238E27FC236}">
                  <a16:creationId xmlns:a16="http://schemas.microsoft.com/office/drawing/2014/main" id="{1ADF8125-45AB-4FA5-B578-63441E56CB7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8" y="977"/>
              <a:ext cx="88" cy="56"/>
            </a:xfrm>
            <a:custGeom>
              <a:avLst/>
              <a:gdLst>
                <a:gd name="T0" fmla="*/ 74 w 88"/>
                <a:gd name="T1" fmla="*/ 56 h 56"/>
                <a:gd name="T2" fmla="*/ 44 w 88"/>
                <a:gd name="T3" fmla="*/ 26 h 56"/>
                <a:gd name="T4" fmla="*/ 14 w 88"/>
                <a:gd name="T5" fmla="*/ 56 h 56"/>
                <a:gd name="T6" fmla="*/ 0 w 88"/>
                <a:gd name="T7" fmla="*/ 44 h 56"/>
                <a:gd name="T8" fmla="*/ 44 w 88"/>
                <a:gd name="T9" fmla="*/ 0 h 56"/>
                <a:gd name="T10" fmla="*/ 88 w 88"/>
                <a:gd name="T11" fmla="*/ 44 h 56"/>
                <a:gd name="T12" fmla="*/ 74 w 88"/>
                <a:gd name="T13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8" h="56">
                  <a:moveTo>
                    <a:pt x="74" y="56"/>
                  </a:moveTo>
                  <a:lnTo>
                    <a:pt x="44" y="26"/>
                  </a:lnTo>
                  <a:lnTo>
                    <a:pt x="14" y="56"/>
                  </a:lnTo>
                  <a:lnTo>
                    <a:pt x="0" y="44"/>
                  </a:lnTo>
                  <a:lnTo>
                    <a:pt x="44" y="0"/>
                  </a:lnTo>
                  <a:lnTo>
                    <a:pt x="88" y="44"/>
                  </a:lnTo>
                  <a:lnTo>
                    <a:pt x="74" y="56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B2CDFE69-1650-4F7D-AD7D-E49450EEC1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26" y="1063"/>
              <a:ext cx="18" cy="96"/>
            </a:xfrm>
            <a:prstGeom prst="rect">
              <a:avLst/>
            </a:pr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80" name="Freeform 79">
              <a:extLst>
                <a:ext uri="{FF2B5EF4-FFF2-40B4-BE49-F238E27FC236}">
                  <a16:creationId xmlns:a16="http://schemas.microsoft.com/office/drawing/2014/main" id="{90A88D88-F969-463D-BBDD-A0B08A9EC9C7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2" y="1037"/>
              <a:ext cx="86" cy="56"/>
            </a:xfrm>
            <a:custGeom>
              <a:avLst/>
              <a:gdLst>
                <a:gd name="T0" fmla="*/ 74 w 86"/>
                <a:gd name="T1" fmla="*/ 56 h 56"/>
                <a:gd name="T2" fmla="*/ 44 w 86"/>
                <a:gd name="T3" fmla="*/ 26 h 56"/>
                <a:gd name="T4" fmla="*/ 12 w 86"/>
                <a:gd name="T5" fmla="*/ 56 h 56"/>
                <a:gd name="T6" fmla="*/ 0 w 86"/>
                <a:gd name="T7" fmla="*/ 44 h 56"/>
                <a:gd name="T8" fmla="*/ 44 w 86"/>
                <a:gd name="T9" fmla="*/ 0 h 56"/>
                <a:gd name="T10" fmla="*/ 86 w 86"/>
                <a:gd name="T11" fmla="*/ 44 h 56"/>
                <a:gd name="T12" fmla="*/ 74 w 86"/>
                <a:gd name="T13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6" h="56">
                  <a:moveTo>
                    <a:pt x="74" y="56"/>
                  </a:moveTo>
                  <a:lnTo>
                    <a:pt x="44" y="26"/>
                  </a:lnTo>
                  <a:lnTo>
                    <a:pt x="12" y="56"/>
                  </a:lnTo>
                  <a:lnTo>
                    <a:pt x="0" y="44"/>
                  </a:lnTo>
                  <a:lnTo>
                    <a:pt x="44" y="0"/>
                  </a:lnTo>
                  <a:lnTo>
                    <a:pt x="86" y="44"/>
                  </a:lnTo>
                  <a:lnTo>
                    <a:pt x="74" y="56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D1BF16CC-3A95-4298-A518-1D7DC2A6A6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88" y="937"/>
              <a:ext cx="18" cy="96"/>
            </a:xfrm>
            <a:prstGeom prst="rect">
              <a:avLst/>
            </a:pr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82" name="Freeform 81">
              <a:extLst>
                <a:ext uri="{FF2B5EF4-FFF2-40B4-BE49-F238E27FC236}">
                  <a16:creationId xmlns:a16="http://schemas.microsoft.com/office/drawing/2014/main" id="{D98613B3-2051-4DD6-A3E8-3766362D8A41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4" y="911"/>
              <a:ext cx="86" cy="58"/>
            </a:xfrm>
            <a:custGeom>
              <a:avLst/>
              <a:gdLst>
                <a:gd name="T0" fmla="*/ 74 w 86"/>
                <a:gd name="T1" fmla="*/ 58 h 58"/>
                <a:gd name="T2" fmla="*/ 42 w 86"/>
                <a:gd name="T3" fmla="*/ 26 h 58"/>
                <a:gd name="T4" fmla="*/ 12 w 86"/>
                <a:gd name="T5" fmla="*/ 58 h 58"/>
                <a:gd name="T6" fmla="*/ 0 w 86"/>
                <a:gd name="T7" fmla="*/ 44 h 58"/>
                <a:gd name="T8" fmla="*/ 42 w 86"/>
                <a:gd name="T9" fmla="*/ 0 h 58"/>
                <a:gd name="T10" fmla="*/ 86 w 86"/>
                <a:gd name="T11" fmla="*/ 44 h 58"/>
                <a:gd name="T12" fmla="*/ 74 w 86"/>
                <a:gd name="T13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6" h="58">
                  <a:moveTo>
                    <a:pt x="74" y="58"/>
                  </a:moveTo>
                  <a:lnTo>
                    <a:pt x="42" y="26"/>
                  </a:lnTo>
                  <a:lnTo>
                    <a:pt x="12" y="58"/>
                  </a:lnTo>
                  <a:lnTo>
                    <a:pt x="0" y="44"/>
                  </a:lnTo>
                  <a:lnTo>
                    <a:pt x="42" y="0"/>
                  </a:lnTo>
                  <a:lnTo>
                    <a:pt x="86" y="44"/>
                  </a:lnTo>
                  <a:lnTo>
                    <a:pt x="74" y="58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83" name="Freeform 82">
              <a:extLst>
                <a:ext uri="{FF2B5EF4-FFF2-40B4-BE49-F238E27FC236}">
                  <a16:creationId xmlns:a16="http://schemas.microsoft.com/office/drawing/2014/main" id="{0E7DD50A-15AA-437E-8717-B6FB6297177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68" y="821"/>
              <a:ext cx="364" cy="366"/>
            </a:xfrm>
            <a:custGeom>
              <a:avLst/>
              <a:gdLst>
                <a:gd name="T0" fmla="*/ 182 w 364"/>
                <a:gd name="T1" fmla="*/ 366 h 366"/>
                <a:gd name="T2" fmla="*/ 146 w 364"/>
                <a:gd name="T3" fmla="*/ 362 h 366"/>
                <a:gd name="T4" fmla="*/ 112 w 364"/>
                <a:gd name="T5" fmla="*/ 352 h 366"/>
                <a:gd name="T6" fmla="*/ 80 w 364"/>
                <a:gd name="T7" fmla="*/ 336 h 366"/>
                <a:gd name="T8" fmla="*/ 52 w 364"/>
                <a:gd name="T9" fmla="*/ 312 h 366"/>
                <a:gd name="T10" fmla="*/ 30 w 364"/>
                <a:gd name="T11" fmla="*/ 286 h 366"/>
                <a:gd name="T12" fmla="*/ 14 w 364"/>
                <a:gd name="T13" fmla="*/ 254 h 366"/>
                <a:gd name="T14" fmla="*/ 2 w 364"/>
                <a:gd name="T15" fmla="*/ 220 h 366"/>
                <a:gd name="T16" fmla="*/ 0 w 364"/>
                <a:gd name="T17" fmla="*/ 184 h 366"/>
                <a:gd name="T18" fmla="*/ 0 w 364"/>
                <a:gd name="T19" fmla="*/ 164 h 366"/>
                <a:gd name="T20" fmla="*/ 8 w 364"/>
                <a:gd name="T21" fmla="*/ 128 h 366"/>
                <a:gd name="T22" fmla="*/ 22 w 364"/>
                <a:gd name="T23" fmla="*/ 96 h 366"/>
                <a:gd name="T24" fmla="*/ 42 w 364"/>
                <a:gd name="T25" fmla="*/ 66 h 366"/>
                <a:gd name="T26" fmla="*/ 66 w 364"/>
                <a:gd name="T27" fmla="*/ 42 h 366"/>
                <a:gd name="T28" fmla="*/ 96 w 364"/>
                <a:gd name="T29" fmla="*/ 22 h 366"/>
                <a:gd name="T30" fmla="*/ 128 w 364"/>
                <a:gd name="T31" fmla="*/ 8 h 366"/>
                <a:gd name="T32" fmla="*/ 164 w 364"/>
                <a:gd name="T33" fmla="*/ 0 h 366"/>
                <a:gd name="T34" fmla="*/ 182 w 364"/>
                <a:gd name="T35" fmla="*/ 0 h 366"/>
                <a:gd name="T36" fmla="*/ 216 w 364"/>
                <a:gd name="T37" fmla="*/ 2 h 366"/>
                <a:gd name="T38" fmla="*/ 246 w 364"/>
                <a:gd name="T39" fmla="*/ 10 h 366"/>
                <a:gd name="T40" fmla="*/ 274 w 364"/>
                <a:gd name="T41" fmla="*/ 24 h 366"/>
                <a:gd name="T42" fmla="*/ 300 w 364"/>
                <a:gd name="T43" fmla="*/ 42 h 366"/>
                <a:gd name="T44" fmla="*/ 322 w 364"/>
                <a:gd name="T45" fmla="*/ 64 h 366"/>
                <a:gd name="T46" fmla="*/ 340 w 364"/>
                <a:gd name="T47" fmla="*/ 90 h 366"/>
                <a:gd name="T48" fmla="*/ 354 w 364"/>
                <a:gd name="T49" fmla="*/ 118 h 366"/>
                <a:gd name="T50" fmla="*/ 364 w 364"/>
                <a:gd name="T51" fmla="*/ 150 h 366"/>
                <a:gd name="T52" fmla="*/ 346 w 364"/>
                <a:gd name="T53" fmla="*/ 152 h 366"/>
                <a:gd name="T54" fmla="*/ 338 w 364"/>
                <a:gd name="T55" fmla="*/ 124 h 366"/>
                <a:gd name="T56" fmla="*/ 324 w 364"/>
                <a:gd name="T57" fmla="*/ 98 h 366"/>
                <a:gd name="T58" fmla="*/ 308 w 364"/>
                <a:gd name="T59" fmla="*/ 76 h 366"/>
                <a:gd name="T60" fmla="*/ 266 w 364"/>
                <a:gd name="T61" fmla="*/ 40 h 366"/>
                <a:gd name="T62" fmla="*/ 240 w 364"/>
                <a:gd name="T63" fmla="*/ 28 h 366"/>
                <a:gd name="T64" fmla="*/ 212 w 364"/>
                <a:gd name="T65" fmla="*/ 20 h 366"/>
                <a:gd name="T66" fmla="*/ 182 w 364"/>
                <a:gd name="T67" fmla="*/ 18 h 366"/>
                <a:gd name="T68" fmla="*/ 166 w 364"/>
                <a:gd name="T69" fmla="*/ 18 h 366"/>
                <a:gd name="T70" fmla="*/ 134 w 364"/>
                <a:gd name="T71" fmla="*/ 26 h 366"/>
                <a:gd name="T72" fmla="*/ 104 w 364"/>
                <a:gd name="T73" fmla="*/ 38 h 366"/>
                <a:gd name="T74" fmla="*/ 78 w 364"/>
                <a:gd name="T75" fmla="*/ 56 h 366"/>
                <a:gd name="T76" fmla="*/ 54 w 364"/>
                <a:gd name="T77" fmla="*/ 78 h 366"/>
                <a:gd name="T78" fmla="*/ 38 w 364"/>
                <a:gd name="T79" fmla="*/ 104 h 366"/>
                <a:gd name="T80" fmla="*/ 24 w 364"/>
                <a:gd name="T81" fmla="*/ 134 h 366"/>
                <a:gd name="T82" fmla="*/ 18 w 364"/>
                <a:gd name="T83" fmla="*/ 166 h 366"/>
                <a:gd name="T84" fmla="*/ 18 w 364"/>
                <a:gd name="T85" fmla="*/ 184 h 366"/>
                <a:gd name="T86" fmla="*/ 20 w 364"/>
                <a:gd name="T87" fmla="*/ 216 h 366"/>
                <a:gd name="T88" fmla="*/ 30 w 364"/>
                <a:gd name="T89" fmla="*/ 248 h 366"/>
                <a:gd name="T90" fmla="*/ 46 w 364"/>
                <a:gd name="T91" fmla="*/ 276 h 366"/>
                <a:gd name="T92" fmla="*/ 66 w 364"/>
                <a:gd name="T93" fmla="*/ 300 h 366"/>
                <a:gd name="T94" fmla="*/ 90 w 364"/>
                <a:gd name="T95" fmla="*/ 320 h 366"/>
                <a:gd name="T96" fmla="*/ 118 w 364"/>
                <a:gd name="T97" fmla="*/ 336 h 366"/>
                <a:gd name="T98" fmla="*/ 150 w 364"/>
                <a:gd name="T99" fmla="*/ 346 h 366"/>
                <a:gd name="T100" fmla="*/ 182 w 364"/>
                <a:gd name="T101" fmla="*/ 348 h 366"/>
                <a:gd name="T102" fmla="*/ 210 w 364"/>
                <a:gd name="T103" fmla="*/ 346 h 366"/>
                <a:gd name="T104" fmla="*/ 262 w 364"/>
                <a:gd name="T105" fmla="*/ 328 h 366"/>
                <a:gd name="T106" fmla="*/ 298 w 364"/>
                <a:gd name="T107" fmla="*/ 326 h 366"/>
                <a:gd name="T108" fmla="*/ 284 w 364"/>
                <a:gd name="T109" fmla="*/ 336 h 366"/>
                <a:gd name="T110" fmla="*/ 258 w 364"/>
                <a:gd name="T111" fmla="*/ 350 h 366"/>
                <a:gd name="T112" fmla="*/ 228 w 364"/>
                <a:gd name="T113" fmla="*/ 360 h 366"/>
                <a:gd name="T114" fmla="*/ 198 w 364"/>
                <a:gd name="T115" fmla="*/ 366 h 366"/>
                <a:gd name="T116" fmla="*/ 182 w 364"/>
                <a:gd name="T117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64" h="366">
                  <a:moveTo>
                    <a:pt x="182" y="366"/>
                  </a:moveTo>
                  <a:lnTo>
                    <a:pt x="182" y="366"/>
                  </a:lnTo>
                  <a:lnTo>
                    <a:pt x="164" y="366"/>
                  </a:lnTo>
                  <a:lnTo>
                    <a:pt x="146" y="362"/>
                  </a:lnTo>
                  <a:lnTo>
                    <a:pt x="128" y="358"/>
                  </a:lnTo>
                  <a:lnTo>
                    <a:pt x="112" y="352"/>
                  </a:lnTo>
                  <a:lnTo>
                    <a:pt x="96" y="344"/>
                  </a:lnTo>
                  <a:lnTo>
                    <a:pt x="80" y="336"/>
                  </a:lnTo>
                  <a:lnTo>
                    <a:pt x="66" y="324"/>
                  </a:lnTo>
                  <a:lnTo>
                    <a:pt x="52" y="312"/>
                  </a:lnTo>
                  <a:lnTo>
                    <a:pt x="42" y="300"/>
                  </a:lnTo>
                  <a:lnTo>
                    <a:pt x="30" y="286"/>
                  </a:lnTo>
                  <a:lnTo>
                    <a:pt x="22" y="270"/>
                  </a:lnTo>
                  <a:lnTo>
                    <a:pt x="14" y="254"/>
                  </a:lnTo>
                  <a:lnTo>
                    <a:pt x="8" y="238"/>
                  </a:lnTo>
                  <a:lnTo>
                    <a:pt x="2" y="220"/>
                  </a:lnTo>
                  <a:lnTo>
                    <a:pt x="0" y="202"/>
                  </a:lnTo>
                  <a:lnTo>
                    <a:pt x="0" y="184"/>
                  </a:lnTo>
                  <a:lnTo>
                    <a:pt x="0" y="184"/>
                  </a:lnTo>
                  <a:lnTo>
                    <a:pt x="0" y="164"/>
                  </a:lnTo>
                  <a:lnTo>
                    <a:pt x="2" y="146"/>
                  </a:lnTo>
                  <a:lnTo>
                    <a:pt x="8" y="128"/>
                  </a:lnTo>
                  <a:lnTo>
                    <a:pt x="14" y="112"/>
                  </a:lnTo>
                  <a:lnTo>
                    <a:pt x="22" y="96"/>
                  </a:lnTo>
                  <a:lnTo>
                    <a:pt x="30" y="80"/>
                  </a:lnTo>
                  <a:lnTo>
                    <a:pt x="42" y="66"/>
                  </a:lnTo>
                  <a:lnTo>
                    <a:pt x="52" y="54"/>
                  </a:lnTo>
                  <a:lnTo>
                    <a:pt x="66" y="42"/>
                  </a:lnTo>
                  <a:lnTo>
                    <a:pt x="80" y="32"/>
                  </a:lnTo>
                  <a:lnTo>
                    <a:pt x="96" y="22"/>
                  </a:lnTo>
                  <a:lnTo>
                    <a:pt x="112" y="14"/>
                  </a:lnTo>
                  <a:lnTo>
                    <a:pt x="128" y="8"/>
                  </a:lnTo>
                  <a:lnTo>
                    <a:pt x="146" y="4"/>
                  </a:lnTo>
                  <a:lnTo>
                    <a:pt x="164" y="0"/>
                  </a:lnTo>
                  <a:lnTo>
                    <a:pt x="182" y="0"/>
                  </a:lnTo>
                  <a:lnTo>
                    <a:pt x="182" y="0"/>
                  </a:lnTo>
                  <a:lnTo>
                    <a:pt x="200" y="0"/>
                  </a:lnTo>
                  <a:lnTo>
                    <a:pt x="216" y="2"/>
                  </a:lnTo>
                  <a:lnTo>
                    <a:pt x="230" y="6"/>
                  </a:lnTo>
                  <a:lnTo>
                    <a:pt x="246" y="10"/>
                  </a:lnTo>
                  <a:lnTo>
                    <a:pt x="260" y="16"/>
                  </a:lnTo>
                  <a:lnTo>
                    <a:pt x="274" y="24"/>
                  </a:lnTo>
                  <a:lnTo>
                    <a:pt x="288" y="32"/>
                  </a:lnTo>
                  <a:lnTo>
                    <a:pt x="300" y="42"/>
                  </a:lnTo>
                  <a:lnTo>
                    <a:pt x="312" y="52"/>
                  </a:lnTo>
                  <a:lnTo>
                    <a:pt x="322" y="64"/>
                  </a:lnTo>
                  <a:lnTo>
                    <a:pt x="332" y="76"/>
                  </a:lnTo>
                  <a:lnTo>
                    <a:pt x="340" y="90"/>
                  </a:lnTo>
                  <a:lnTo>
                    <a:pt x="348" y="104"/>
                  </a:lnTo>
                  <a:lnTo>
                    <a:pt x="354" y="118"/>
                  </a:lnTo>
                  <a:lnTo>
                    <a:pt x="360" y="134"/>
                  </a:lnTo>
                  <a:lnTo>
                    <a:pt x="364" y="150"/>
                  </a:lnTo>
                  <a:lnTo>
                    <a:pt x="346" y="152"/>
                  </a:lnTo>
                  <a:lnTo>
                    <a:pt x="346" y="152"/>
                  </a:lnTo>
                  <a:lnTo>
                    <a:pt x="342" y="138"/>
                  </a:lnTo>
                  <a:lnTo>
                    <a:pt x="338" y="124"/>
                  </a:lnTo>
                  <a:lnTo>
                    <a:pt x="332" y="112"/>
                  </a:lnTo>
                  <a:lnTo>
                    <a:pt x="324" y="98"/>
                  </a:lnTo>
                  <a:lnTo>
                    <a:pt x="318" y="86"/>
                  </a:lnTo>
                  <a:lnTo>
                    <a:pt x="308" y="76"/>
                  </a:lnTo>
                  <a:lnTo>
                    <a:pt x="288" y="56"/>
                  </a:lnTo>
                  <a:lnTo>
                    <a:pt x="266" y="40"/>
                  </a:lnTo>
                  <a:lnTo>
                    <a:pt x="252" y="34"/>
                  </a:lnTo>
                  <a:lnTo>
                    <a:pt x="240" y="28"/>
                  </a:lnTo>
                  <a:lnTo>
                    <a:pt x="226" y="24"/>
                  </a:lnTo>
                  <a:lnTo>
                    <a:pt x="212" y="20"/>
                  </a:lnTo>
                  <a:lnTo>
                    <a:pt x="198" y="18"/>
                  </a:lnTo>
                  <a:lnTo>
                    <a:pt x="182" y="18"/>
                  </a:lnTo>
                  <a:lnTo>
                    <a:pt x="182" y="18"/>
                  </a:lnTo>
                  <a:lnTo>
                    <a:pt x="166" y="18"/>
                  </a:lnTo>
                  <a:lnTo>
                    <a:pt x="150" y="20"/>
                  </a:lnTo>
                  <a:lnTo>
                    <a:pt x="134" y="26"/>
                  </a:lnTo>
                  <a:lnTo>
                    <a:pt x="118" y="30"/>
                  </a:lnTo>
                  <a:lnTo>
                    <a:pt x="104" y="38"/>
                  </a:lnTo>
                  <a:lnTo>
                    <a:pt x="90" y="46"/>
                  </a:lnTo>
                  <a:lnTo>
                    <a:pt x="78" y="56"/>
                  </a:lnTo>
                  <a:lnTo>
                    <a:pt x="66" y="66"/>
                  </a:lnTo>
                  <a:lnTo>
                    <a:pt x="54" y="78"/>
                  </a:lnTo>
                  <a:lnTo>
                    <a:pt x="46" y="90"/>
                  </a:lnTo>
                  <a:lnTo>
                    <a:pt x="38" y="104"/>
                  </a:lnTo>
                  <a:lnTo>
                    <a:pt x="30" y="118"/>
                  </a:lnTo>
                  <a:lnTo>
                    <a:pt x="24" y="134"/>
                  </a:lnTo>
                  <a:lnTo>
                    <a:pt x="20" y="150"/>
                  </a:lnTo>
                  <a:lnTo>
                    <a:pt x="18" y="166"/>
                  </a:lnTo>
                  <a:lnTo>
                    <a:pt x="18" y="184"/>
                  </a:lnTo>
                  <a:lnTo>
                    <a:pt x="18" y="184"/>
                  </a:lnTo>
                  <a:lnTo>
                    <a:pt x="18" y="200"/>
                  </a:lnTo>
                  <a:lnTo>
                    <a:pt x="20" y="216"/>
                  </a:lnTo>
                  <a:lnTo>
                    <a:pt x="24" y="232"/>
                  </a:lnTo>
                  <a:lnTo>
                    <a:pt x="30" y="248"/>
                  </a:lnTo>
                  <a:lnTo>
                    <a:pt x="38" y="262"/>
                  </a:lnTo>
                  <a:lnTo>
                    <a:pt x="46" y="276"/>
                  </a:lnTo>
                  <a:lnTo>
                    <a:pt x="54" y="288"/>
                  </a:lnTo>
                  <a:lnTo>
                    <a:pt x="66" y="300"/>
                  </a:lnTo>
                  <a:lnTo>
                    <a:pt x="78" y="310"/>
                  </a:lnTo>
                  <a:lnTo>
                    <a:pt x="90" y="320"/>
                  </a:lnTo>
                  <a:lnTo>
                    <a:pt x="104" y="328"/>
                  </a:lnTo>
                  <a:lnTo>
                    <a:pt x="118" y="336"/>
                  </a:lnTo>
                  <a:lnTo>
                    <a:pt x="134" y="342"/>
                  </a:lnTo>
                  <a:lnTo>
                    <a:pt x="150" y="346"/>
                  </a:lnTo>
                  <a:lnTo>
                    <a:pt x="166" y="348"/>
                  </a:lnTo>
                  <a:lnTo>
                    <a:pt x="182" y="348"/>
                  </a:lnTo>
                  <a:lnTo>
                    <a:pt x="182" y="348"/>
                  </a:lnTo>
                  <a:lnTo>
                    <a:pt x="210" y="346"/>
                  </a:lnTo>
                  <a:lnTo>
                    <a:pt x="238" y="340"/>
                  </a:lnTo>
                  <a:lnTo>
                    <a:pt x="262" y="328"/>
                  </a:lnTo>
                  <a:lnTo>
                    <a:pt x="286" y="312"/>
                  </a:lnTo>
                  <a:lnTo>
                    <a:pt x="298" y="326"/>
                  </a:lnTo>
                  <a:lnTo>
                    <a:pt x="298" y="326"/>
                  </a:lnTo>
                  <a:lnTo>
                    <a:pt x="284" y="336"/>
                  </a:lnTo>
                  <a:lnTo>
                    <a:pt x="272" y="344"/>
                  </a:lnTo>
                  <a:lnTo>
                    <a:pt x="258" y="350"/>
                  </a:lnTo>
                  <a:lnTo>
                    <a:pt x="244" y="356"/>
                  </a:lnTo>
                  <a:lnTo>
                    <a:pt x="228" y="360"/>
                  </a:lnTo>
                  <a:lnTo>
                    <a:pt x="214" y="364"/>
                  </a:lnTo>
                  <a:lnTo>
                    <a:pt x="198" y="366"/>
                  </a:lnTo>
                  <a:lnTo>
                    <a:pt x="182" y="366"/>
                  </a:lnTo>
                  <a:lnTo>
                    <a:pt x="182" y="366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03DE7C1E-965F-4E86-9536-3D1A55E3919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116296" y="1317536"/>
            <a:ext cx="721519" cy="498113"/>
            <a:chOff x="4416" y="916"/>
            <a:chExt cx="872" cy="602"/>
          </a:xfrm>
        </p:grpSpPr>
        <p:sp>
          <p:nvSpPr>
            <p:cNvPr id="36" name="AutoShape 3">
              <a:extLst>
                <a:ext uri="{FF2B5EF4-FFF2-40B4-BE49-F238E27FC236}">
                  <a16:creationId xmlns:a16="http://schemas.microsoft.com/office/drawing/2014/main" id="{74B073B7-34F9-46CC-92F3-79366F425AB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416" y="916"/>
              <a:ext cx="872" cy="6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7" name="Freeform 36">
              <a:extLst>
                <a:ext uri="{FF2B5EF4-FFF2-40B4-BE49-F238E27FC236}">
                  <a16:creationId xmlns:a16="http://schemas.microsoft.com/office/drawing/2014/main" id="{E87F2962-F031-4767-B625-C42F64618BE6}"/>
                </a:ext>
              </a:extLst>
            </p:cNvPr>
            <p:cNvSpPr>
              <a:spLocks/>
            </p:cNvSpPr>
            <p:nvPr/>
          </p:nvSpPr>
          <p:spPr bwMode="auto">
            <a:xfrm>
              <a:off x="4698" y="916"/>
              <a:ext cx="310" cy="486"/>
            </a:xfrm>
            <a:custGeom>
              <a:avLst/>
              <a:gdLst>
                <a:gd name="T0" fmla="*/ 262 w 310"/>
                <a:gd name="T1" fmla="*/ 486 h 486"/>
                <a:gd name="T2" fmla="*/ 0 w 310"/>
                <a:gd name="T3" fmla="*/ 486 h 486"/>
                <a:gd name="T4" fmla="*/ 0 w 310"/>
                <a:gd name="T5" fmla="*/ 468 h 486"/>
                <a:gd name="T6" fmla="*/ 262 w 310"/>
                <a:gd name="T7" fmla="*/ 468 h 486"/>
                <a:gd name="T8" fmla="*/ 262 w 310"/>
                <a:gd name="T9" fmla="*/ 468 h 486"/>
                <a:gd name="T10" fmla="*/ 274 w 310"/>
                <a:gd name="T11" fmla="*/ 466 h 486"/>
                <a:gd name="T12" fmla="*/ 284 w 310"/>
                <a:gd name="T13" fmla="*/ 458 h 486"/>
                <a:gd name="T14" fmla="*/ 290 w 310"/>
                <a:gd name="T15" fmla="*/ 450 h 486"/>
                <a:gd name="T16" fmla="*/ 292 w 310"/>
                <a:gd name="T17" fmla="*/ 438 h 486"/>
                <a:gd name="T18" fmla="*/ 292 w 310"/>
                <a:gd name="T19" fmla="*/ 48 h 486"/>
                <a:gd name="T20" fmla="*/ 292 w 310"/>
                <a:gd name="T21" fmla="*/ 48 h 486"/>
                <a:gd name="T22" fmla="*/ 290 w 310"/>
                <a:gd name="T23" fmla="*/ 36 h 486"/>
                <a:gd name="T24" fmla="*/ 284 w 310"/>
                <a:gd name="T25" fmla="*/ 28 h 486"/>
                <a:gd name="T26" fmla="*/ 274 w 310"/>
                <a:gd name="T27" fmla="*/ 22 h 486"/>
                <a:gd name="T28" fmla="*/ 262 w 310"/>
                <a:gd name="T29" fmla="*/ 18 h 486"/>
                <a:gd name="T30" fmla="*/ 162 w 310"/>
                <a:gd name="T31" fmla="*/ 18 h 486"/>
                <a:gd name="T32" fmla="*/ 162 w 310"/>
                <a:gd name="T33" fmla="*/ 0 h 486"/>
                <a:gd name="T34" fmla="*/ 262 w 310"/>
                <a:gd name="T35" fmla="*/ 0 h 486"/>
                <a:gd name="T36" fmla="*/ 262 w 310"/>
                <a:gd name="T37" fmla="*/ 0 h 486"/>
                <a:gd name="T38" fmla="*/ 272 w 310"/>
                <a:gd name="T39" fmla="*/ 2 h 486"/>
                <a:gd name="T40" fmla="*/ 280 w 310"/>
                <a:gd name="T41" fmla="*/ 4 h 486"/>
                <a:gd name="T42" fmla="*/ 288 w 310"/>
                <a:gd name="T43" fmla="*/ 8 h 486"/>
                <a:gd name="T44" fmla="*/ 296 w 310"/>
                <a:gd name="T45" fmla="*/ 14 h 486"/>
                <a:gd name="T46" fmla="*/ 302 w 310"/>
                <a:gd name="T47" fmla="*/ 22 h 486"/>
                <a:gd name="T48" fmla="*/ 306 w 310"/>
                <a:gd name="T49" fmla="*/ 30 h 486"/>
                <a:gd name="T50" fmla="*/ 308 w 310"/>
                <a:gd name="T51" fmla="*/ 38 h 486"/>
                <a:gd name="T52" fmla="*/ 310 w 310"/>
                <a:gd name="T53" fmla="*/ 48 h 486"/>
                <a:gd name="T54" fmla="*/ 310 w 310"/>
                <a:gd name="T55" fmla="*/ 438 h 486"/>
                <a:gd name="T56" fmla="*/ 310 w 310"/>
                <a:gd name="T57" fmla="*/ 438 h 486"/>
                <a:gd name="T58" fmla="*/ 308 w 310"/>
                <a:gd name="T59" fmla="*/ 448 h 486"/>
                <a:gd name="T60" fmla="*/ 306 w 310"/>
                <a:gd name="T61" fmla="*/ 456 h 486"/>
                <a:gd name="T62" fmla="*/ 302 w 310"/>
                <a:gd name="T63" fmla="*/ 464 h 486"/>
                <a:gd name="T64" fmla="*/ 296 w 310"/>
                <a:gd name="T65" fmla="*/ 472 h 486"/>
                <a:gd name="T66" fmla="*/ 288 w 310"/>
                <a:gd name="T67" fmla="*/ 478 h 486"/>
                <a:gd name="T68" fmla="*/ 280 w 310"/>
                <a:gd name="T69" fmla="*/ 482 h 486"/>
                <a:gd name="T70" fmla="*/ 272 w 310"/>
                <a:gd name="T71" fmla="*/ 484 h 486"/>
                <a:gd name="T72" fmla="*/ 262 w 310"/>
                <a:gd name="T73" fmla="*/ 486 h 486"/>
                <a:gd name="T74" fmla="*/ 262 w 310"/>
                <a:gd name="T75" fmla="*/ 486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10" h="486">
                  <a:moveTo>
                    <a:pt x="262" y="486"/>
                  </a:moveTo>
                  <a:lnTo>
                    <a:pt x="0" y="486"/>
                  </a:lnTo>
                  <a:lnTo>
                    <a:pt x="0" y="468"/>
                  </a:lnTo>
                  <a:lnTo>
                    <a:pt x="262" y="468"/>
                  </a:lnTo>
                  <a:lnTo>
                    <a:pt x="262" y="468"/>
                  </a:lnTo>
                  <a:lnTo>
                    <a:pt x="274" y="466"/>
                  </a:lnTo>
                  <a:lnTo>
                    <a:pt x="284" y="458"/>
                  </a:lnTo>
                  <a:lnTo>
                    <a:pt x="290" y="450"/>
                  </a:lnTo>
                  <a:lnTo>
                    <a:pt x="292" y="438"/>
                  </a:lnTo>
                  <a:lnTo>
                    <a:pt x="292" y="48"/>
                  </a:lnTo>
                  <a:lnTo>
                    <a:pt x="292" y="48"/>
                  </a:lnTo>
                  <a:lnTo>
                    <a:pt x="290" y="36"/>
                  </a:lnTo>
                  <a:lnTo>
                    <a:pt x="284" y="28"/>
                  </a:lnTo>
                  <a:lnTo>
                    <a:pt x="274" y="22"/>
                  </a:lnTo>
                  <a:lnTo>
                    <a:pt x="262" y="18"/>
                  </a:lnTo>
                  <a:lnTo>
                    <a:pt x="162" y="18"/>
                  </a:lnTo>
                  <a:lnTo>
                    <a:pt x="162" y="0"/>
                  </a:lnTo>
                  <a:lnTo>
                    <a:pt x="262" y="0"/>
                  </a:lnTo>
                  <a:lnTo>
                    <a:pt x="262" y="0"/>
                  </a:lnTo>
                  <a:lnTo>
                    <a:pt x="272" y="2"/>
                  </a:lnTo>
                  <a:lnTo>
                    <a:pt x="280" y="4"/>
                  </a:lnTo>
                  <a:lnTo>
                    <a:pt x="288" y="8"/>
                  </a:lnTo>
                  <a:lnTo>
                    <a:pt x="296" y="14"/>
                  </a:lnTo>
                  <a:lnTo>
                    <a:pt x="302" y="22"/>
                  </a:lnTo>
                  <a:lnTo>
                    <a:pt x="306" y="30"/>
                  </a:lnTo>
                  <a:lnTo>
                    <a:pt x="308" y="38"/>
                  </a:lnTo>
                  <a:lnTo>
                    <a:pt x="310" y="48"/>
                  </a:lnTo>
                  <a:lnTo>
                    <a:pt x="310" y="438"/>
                  </a:lnTo>
                  <a:lnTo>
                    <a:pt x="310" y="438"/>
                  </a:lnTo>
                  <a:lnTo>
                    <a:pt x="308" y="448"/>
                  </a:lnTo>
                  <a:lnTo>
                    <a:pt x="306" y="456"/>
                  </a:lnTo>
                  <a:lnTo>
                    <a:pt x="302" y="464"/>
                  </a:lnTo>
                  <a:lnTo>
                    <a:pt x="296" y="472"/>
                  </a:lnTo>
                  <a:lnTo>
                    <a:pt x="288" y="478"/>
                  </a:lnTo>
                  <a:lnTo>
                    <a:pt x="280" y="482"/>
                  </a:lnTo>
                  <a:lnTo>
                    <a:pt x="272" y="484"/>
                  </a:lnTo>
                  <a:lnTo>
                    <a:pt x="262" y="486"/>
                  </a:lnTo>
                  <a:lnTo>
                    <a:pt x="262" y="486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8" name="Freeform 37">
              <a:extLst>
                <a:ext uri="{FF2B5EF4-FFF2-40B4-BE49-F238E27FC236}">
                  <a16:creationId xmlns:a16="http://schemas.microsoft.com/office/drawing/2014/main" id="{C2369CE2-EA5E-4A49-8612-C58B9E8829F7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6" y="916"/>
              <a:ext cx="462" cy="486"/>
            </a:xfrm>
            <a:custGeom>
              <a:avLst/>
              <a:gdLst>
                <a:gd name="T0" fmla="*/ 190 w 462"/>
                <a:gd name="T1" fmla="*/ 486 h 486"/>
                <a:gd name="T2" fmla="*/ 46 w 462"/>
                <a:gd name="T3" fmla="*/ 486 h 486"/>
                <a:gd name="T4" fmla="*/ 46 w 462"/>
                <a:gd name="T5" fmla="*/ 486 h 486"/>
                <a:gd name="T6" fmla="*/ 38 w 462"/>
                <a:gd name="T7" fmla="*/ 484 h 486"/>
                <a:gd name="T8" fmla="*/ 28 w 462"/>
                <a:gd name="T9" fmla="*/ 482 h 486"/>
                <a:gd name="T10" fmla="*/ 20 w 462"/>
                <a:gd name="T11" fmla="*/ 478 h 486"/>
                <a:gd name="T12" fmla="*/ 14 w 462"/>
                <a:gd name="T13" fmla="*/ 472 h 486"/>
                <a:gd name="T14" fmla="*/ 8 w 462"/>
                <a:gd name="T15" fmla="*/ 464 h 486"/>
                <a:gd name="T16" fmla="*/ 4 w 462"/>
                <a:gd name="T17" fmla="*/ 456 h 486"/>
                <a:gd name="T18" fmla="*/ 0 w 462"/>
                <a:gd name="T19" fmla="*/ 448 h 486"/>
                <a:gd name="T20" fmla="*/ 0 w 462"/>
                <a:gd name="T21" fmla="*/ 438 h 486"/>
                <a:gd name="T22" fmla="*/ 0 w 462"/>
                <a:gd name="T23" fmla="*/ 48 h 486"/>
                <a:gd name="T24" fmla="*/ 0 w 462"/>
                <a:gd name="T25" fmla="*/ 48 h 486"/>
                <a:gd name="T26" fmla="*/ 0 w 462"/>
                <a:gd name="T27" fmla="*/ 38 h 486"/>
                <a:gd name="T28" fmla="*/ 4 w 462"/>
                <a:gd name="T29" fmla="*/ 30 h 486"/>
                <a:gd name="T30" fmla="*/ 8 w 462"/>
                <a:gd name="T31" fmla="*/ 22 h 486"/>
                <a:gd name="T32" fmla="*/ 14 w 462"/>
                <a:gd name="T33" fmla="*/ 14 h 486"/>
                <a:gd name="T34" fmla="*/ 20 w 462"/>
                <a:gd name="T35" fmla="*/ 8 h 486"/>
                <a:gd name="T36" fmla="*/ 28 w 462"/>
                <a:gd name="T37" fmla="*/ 4 h 486"/>
                <a:gd name="T38" fmla="*/ 38 w 462"/>
                <a:gd name="T39" fmla="*/ 2 h 486"/>
                <a:gd name="T40" fmla="*/ 46 w 462"/>
                <a:gd name="T41" fmla="*/ 0 h 486"/>
                <a:gd name="T42" fmla="*/ 462 w 462"/>
                <a:gd name="T43" fmla="*/ 0 h 486"/>
                <a:gd name="T44" fmla="*/ 462 w 462"/>
                <a:gd name="T45" fmla="*/ 18 h 486"/>
                <a:gd name="T46" fmla="*/ 46 w 462"/>
                <a:gd name="T47" fmla="*/ 18 h 486"/>
                <a:gd name="T48" fmla="*/ 46 w 462"/>
                <a:gd name="T49" fmla="*/ 18 h 486"/>
                <a:gd name="T50" fmla="*/ 36 w 462"/>
                <a:gd name="T51" fmla="*/ 22 h 486"/>
                <a:gd name="T52" fmla="*/ 26 w 462"/>
                <a:gd name="T53" fmla="*/ 28 h 486"/>
                <a:gd name="T54" fmla="*/ 20 w 462"/>
                <a:gd name="T55" fmla="*/ 36 h 486"/>
                <a:gd name="T56" fmla="*/ 18 w 462"/>
                <a:gd name="T57" fmla="*/ 48 h 486"/>
                <a:gd name="T58" fmla="*/ 18 w 462"/>
                <a:gd name="T59" fmla="*/ 438 h 486"/>
                <a:gd name="T60" fmla="*/ 18 w 462"/>
                <a:gd name="T61" fmla="*/ 438 h 486"/>
                <a:gd name="T62" fmla="*/ 20 w 462"/>
                <a:gd name="T63" fmla="*/ 450 h 486"/>
                <a:gd name="T64" fmla="*/ 26 w 462"/>
                <a:gd name="T65" fmla="*/ 458 h 486"/>
                <a:gd name="T66" fmla="*/ 36 w 462"/>
                <a:gd name="T67" fmla="*/ 466 h 486"/>
                <a:gd name="T68" fmla="*/ 46 w 462"/>
                <a:gd name="T69" fmla="*/ 468 h 486"/>
                <a:gd name="T70" fmla="*/ 190 w 462"/>
                <a:gd name="T71" fmla="*/ 468 h 486"/>
                <a:gd name="T72" fmla="*/ 190 w 462"/>
                <a:gd name="T73" fmla="*/ 486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62" h="486">
                  <a:moveTo>
                    <a:pt x="190" y="486"/>
                  </a:moveTo>
                  <a:lnTo>
                    <a:pt x="46" y="486"/>
                  </a:lnTo>
                  <a:lnTo>
                    <a:pt x="46" y="486"/>
                  </a:lnTo>
                  <a:lnTo>
                    <a:pt x="38" y="484"/>
                  </a:lnTo>
                  <a:lnTo>
                    <a:pt x="28" y="482"/>
                  </a:lnTo>
                  <a:lnTo>
                    <a:pt x="20" y="478"/>
                  </a:lnTo>
                  <a:lnTo>
                    <a:pt x="14" y="472"/>
                  </a:lnTo>
                  <a:lnTo>
                    <a:pt x="8" y="464"/>
                  </a:lnTo>
                  <a:lnTo>
                    <a:pt x="4" y="456"/>
                  </a:lnTo>
                  <a:lnTo>
                    <a:pt x="0" y="448"/>
                  </a:lnTo>
                  <a:lnTo>
                    <a:pt x="0" y="43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38"/>
                  </a:lnTo>
                  <a:lnTo>
                    <a:pt x="4" y="30"/>
                  </a:lnTo>
                  <a:lnTo>
                    <a:pt x="8" y="22"/>
                  </a:lnTo>
                  <a:lnTo>
                    <a:pt x="14" y="14"/>
                  </a:lnTo>
                  <a:lnTo>
                    <a:pt x="20" y="8"/>
                  </a:lnTo>
                  <a:lnTo>
                    <a:pt x="28" y="4"/>
                  </a:lnTo>
                  <a:lnTo>
                    <a:pt x="38" y="2"/>
                  </a:lnTo>
                  <a:lnTo>
                    <a:pt x="46" y="0"/>
                  </a:lnTo>
                  <a:lnTo>
                    <a:pt x="462" y="0"/>
                  </a:lnTo>
                  <a:lnTo>
                    <a:pt x="462" y="18"/>
                  </a:lnTo>
                  <a:lnTo>
                    <a:pt x="46" y="18"/>
                  </a:lnTo>
                  <a:lnTo>
                    <a:pt x="46" y="18"/>
                  </a:lnTo>
                  <a:lnTo>
                    <a:pt x="36" y="22"/>
                  </a:lnTo>
                  <a:lnTo>
                    <a:pt x="26" y="28"/>
                  </a:lnTo>
                  <a:lnTo>
                    <a:pt x="20" y="36"/>
                  </a:lnTo>
                  <a:lnTo>
                    <a:pt x="18" y="48"/>
                  </a:lnTo>
                  <a:lnTo>
                    <a:pt x="18" y="438"/>
                  </a:lnTo>
                  <a:lnTo>
                    <a:pt x="18" y="438"/>
                  </a:lnTo>
                  <a:lnTo>
                    <a:pt x="20" y="450"/>
                  </a:lnTo>
                  <a:lnTo>
                    <a:pt x="26" y="458"/>
                  </a:lnTo>
                  <a:lnTo>
                    <a:pt x="36" y="466"/>
                  </a:lnTo>
                  <a:lnTo>
                    <a:pt x="46" y="468"/>
                  </a:lnTo>
                  <a:lnTo>
                    <a:pt x="190" y="468"/>
                  </a:lnTo>
                  <a:lnTo>
                    <a:pt x="190" y="486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B37FF971-82AE-4EFD-8903-A7A8B3D69B37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0" y="1110"/>
              <a:ext cx="278" cy="284"/>
            </a:xfrm>
            <a:custGeom>
              <a:avLst/>
              <a:gdLst>
                <a:gd name="T0" fmla="*/ 252 w 278"/>
                <a:gd name="T1" fmla="*/ 284 h 284"/>
                <a:gd name="T2" fmla="*/ 244 w 278"/>
                <a:gd name="T3" fmla="*/ 284 h 284"/>
                <a:gd name="T4" fmla="*/ 244 w 278"/>
                <a:gd name="T5" fmla="*/ 266 h 284"/>
                <a:gd name="T6" fmla="*/ 252 w 278"/>
                <a:gd name="T7" fmla="*/ 266 h 284"/>
                <a:gd name="T8" fmla="*/ 252 w 278"/>
                <a:gd name="T9" fmla="*/ 266 h 284"/>
                <a:gd name="T10" fmla="*/ 256 w 278"/>
                <a:gd name="T11" fmla="*/ 266 h 284"/>
                <a:gd name="T12" fmla="*/ 258 w 278"/>
                <a:gd name="T13" fmla="*/ 264 h 284"/>
                <a:gd name="T14" fmla="*/ 260 w 278"/>
                <a:gd name="T15" fmla="*/ 262 h 284"/>
                <a:gd name="T16" fmla="*/ 260 w 278"/>
                <a:gd name="T17" fmla="*/ 258 h 284"/>
                <a:gd name="T18" fmla="*/ 260 w 278"/>
                <a:gd name="T19" fmla="*/ 178 h 284"/>
                <a:gd name="T20" fmla="*/ 260 w 278"/>
                <a:gd name="T21" fmla="*/ 178 h 284"/>
                <a:gd name="T22" fmla="*/ 260 w 278"/>
                <a:gd name="T23" fmla="*/ 174 h 284"/>
                <a:gd name="T24" fmla="*/ 186 w 278"/>
                <a:gd name="T25" fmla="*/ 22 h 284"/>
                <a:gd name="T26" fmla="*/ 186 w 278"/>
                <a:gd name="T27" fmla="*/ 22 h 284"/>
                <a:gd name="T28" fmla="*/ 182 w 278"/>
                <a:gd name="T29" fmla="*/ 18 h 284"/>
                <a:gd name="T30" fmla="*/ 178 w 278"/>
                <a:gd name="T31" fmla="*/ 18 h 284"/>
                <a:gd name="T32" fmla="*/ 26 w 278"/>
                <a:gd name="T33" fmla="*/ 18 h 284"/>
                <a:gd name="T34" fmla="*/ 26 w 278"/>
                <a:gd name="T35" fmla="*/ 18 h 284"/>
                <a:gd name="T36" fmla="*/ 22 w 278"/>
                <a:gd name="T37" fmla="*/ 18 h 284"/>
                <a:gd name="T38" fmla="*/ 20 w 278"/>
                <a:gd name="T39" fmla="*/ 20 h 284"/>
                <a:gd name="T40" fmla="*/ 18 w 278"/>
                <a:gd name="T41" fmla="*/ 22 h 284"/>
                <a:gd name="T42" fmla="*/ 18 w 278"/>
                <a:gd name="T43" fmla="*/ 26 h 284"/>
                <a:gd name="T44" fmla="*/ 18 w 278"/>
                <a:gd name="T45" fmla="*/ 234 h 284"/>
                <a:gd name="T46" fmla="*/ 0 w 278"/>
                <a:gd name="T47" fmla="*/ 234 h 284"/>
                <a:gd name="T48" fmla="*/ 0 w 278"/>
                <a:gd name="T49" fmla="*/ 26 h 284"/>
                <a:gd name="T50" fmla="*/ 0 w 278"/>
                <a:gd name="T51" fmla="*/ 26 h 284"/>
                <a:gd name="T52" fmla="*/ 2 w 278"/>
                <a:gd name="T53" fmla="*/ 16 h 284"/>
                <a:gd name="T54" fmla="*/ 8 w 278"/>
                <a:gd name="T55" fmla="*/ 8 h 284"/>
                <a:gd name="T56" fmla="*/ 16 w 278"/>
                <a:gd name="T57" fmla="*/ 2 h 284"/>
                <a:gd name="T58" fmla="*/ 26 w 278"/>
                <a:gd name="T59" fmla="*/ 0 h 284"/>
                <a:gd name="T60" fmla="*/ 178 w 278"/>
                <a:gd name="T61" fmla="*/ 0 h 284"/>
                <a:gd name="T62" fmla="*/ 178 w 278"/>
                <a:gd name="T63" fmla="*/ 0 h 284"/>
                <a:gd name="T64" fmla="*/ 186 w 278"/>
                <a:gd name="T65" fmla="*/ 0 h 284"/>
                <a:gd name="T66" fmla="*/ 192 w 278"/>
                <a:gd name="T67" fmla="*/ 4 h 284"/>
                <a:gd name="T68" fmla="*/ 198 w 278"/>
                <a:gd name="T69" fmla="*/ 8 h 284"/>
                <a:gd name="T70" fmla="*/ 202 w 278"/>
                <a:gd name="T71" fmla="*/ 14 h 284"/>
                <a:gd name="T72" fmla="*/ 276 w 278"/>
                <a:gd name="T73" fmla="*/ 166 h 284"/>
                <a:gd name="T74" fmla="*/ 276 w 278"/>
                <a:gd name="T75" fmla="*/ 166 h 284"/>
                <a:gd name="T76" fmla="*/ 278 w 278"/>
                <a:gd name="T77" fmla="*/ 172 h 284"/>
                <a:gd name="T78" fmla="*/ 278 w 278"/>
                <a:gd name="T79" fmla="*/ 178 h 284"/>
                <a:gd name="T80" fmla="*/ 278 w 278"/>
                <a:gd name="T81" fmla="*/ 258 h 284"/>
                <a:gd name="T82" fmla="*/ 278 w 278"/>
                <a:gd name="T83" fmla="*/ 258 h 284"/>
                <a:gd name="T84" fmla="*/ 276 w 278"/>
                <a:gd name="T85" fmla="*/ 268 h 284"/>
                <a:gd name="T86" fmla="*/ 272 w 278"/>
                <a:gd name="T87" fmla="*/ 278 h 284"/>
                <a:gd name="T88" fmla="*/ 262 w 278"/>
                <a:gd name="T89" fmla="*/ 282 h 284"/>
                <a:gd name="T90" fmla="*/ 252 w 278"/>
                <a:gd name="T91" fmla="*/ 284 h 284"/>
                <a:gd name="T92" fmla="*/ 252 w 278"/>
                <a:gd name="T93" fmla="*/ 284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78" h="284">
                  <a:moveTo>
                    <a:pt x="252" y="284"/>
                  </a:moveTo>
                  <a:lnTo>
                    <a:pt x="244" y="284"/>
                  </a:lnTo>
                  <a:lnTo>
                    <a:pt x="244" y="266"/>
                  </a:lnTo>
                  <a:lnTo>
                    <a:pt x="252" y="266"/>
                  </a:lnTo>
                  <a:lnTo>
                    <a:pt x="252" y="266"/>
                  </a:lnTo>
                  <a:lnTo>
                    <a:pt x="256" y="266"/>
                  </a:lnTo>
                  <a:lnTo>
                    <a:pt x="258" y="264"/>
                  </a:lnTo>
                  <a:lnTo>
                    <a:pt x="260" y="262"/>
                  </a:lnTo>
                  <a:lnTo>
                    <a:pt x="260" y="258"/>
                  </a:lnTo>
                  <a:lnTo>
                    <a:pt x="260" y="178"/>
                  </a:lnTo>
                  <a:lnTo>
                    <a:pt x="260" y="178"/>
                  </a:lnTo>
                  <a:lnTo>
                    <a:pt x="260" y="174"/>
                  </a:lnTo>
                  <a:lnTo>
                    <a:pt x="186" y="22"/>
                  </a:lnTo>
                  <a:lnTo>
                    <a:pt x="186" y="22"/>
                  </a:lnTo>
                  <a:lnTo>
                    <a:pt x="182" y="18"/>
                  </a:lnTo>
                  <a:lnTo>
                    <a:pt x="178" y="1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2" y="18"/>
                  </a:lnTo>
                  <a:lnTo>
                    <a:pt x="20" y="20"/>
                  </a:lnTo>
                  <a:lnTo>
                    <a:pt x="18" y="22"/>
                  </a:lnTo>
                  <a:lnTo>
                    <a:pt x="18" y="26"/>
                  </a:lnTo>
                  <a:lnTo>
                    <a:pt x="18" y="234"/>
                  </a:lnTo>
                  <a:lnTo>
                    <a:pt x="0" y="234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8" y="8"/>
                  </a:lnTo>
                  <a:lnTo>
                    <a:pt x="16" y="2"/>
                  </a:lnTo>
                  <a:lnTo>
                    <a:pt x="26" y="0"/>
                  </a:lnTo>
                  <a:lnTo>
                    <a:pt x="178" y="0"/>
                  </a:lnTo>
                  <a:lnTo>
                    <a:pt x="178" y="0"/>
                  </a:lnTo>
                  <a:lnTo>
                    <a:pt x="186" y="0"/>
                  </a:lnTo>
                  <a:lnTo>
                    <a:pt x="192" y="4"/>
                  </a:lnTo>
                  <a:lnTo>
                    <a:pt x="198" y="8"/>
                  </a:lnTo>
                  <a:lnTo>
                    <a:pt x="202" y="14"/>
                  </a:lnTo>
                  <a:lnTo>
                    <a:pt x="276" y="166"/>
                  </a:lnTo>
                  <a:lnTo>
                    <a:pt x="276" y="166"/>
                  </a:lnTo>
                  <a:lnTo>
                    <a:pt x="278" y="172"/>
                  </a:lnTo>
                  <a:lnTo>
                    <a:pt x="278" y="178"/>
                  </a:lnTo>
                  <a:lnTo>
                    <a:pt x="278" y="258"/>
                  </a:lnTo>
                  <a:lnTo>
                    <a:pt x="278" y="258"/>
                  </a:lnTo>
                  <a:lnTo>
                    <a:pt x="276" y="268"/>
                  </a:lnTo>
                  <a:lnTo>
                    <a:pt x="272" y="278"/>
                  </a:lnTo>
                  <a:lnTo>
                    <a:pt x="262" y="282"/>
                  </a:lnTo>
                  <a:lnTo>
                    <a:pt x="252" y="284"/>
                  </a:lnTo>
                  <a:lnTo>
                    <a:pt x="252" y="284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0" name="Freeform 39">
              <a:extLst>
                <a:ext uri="{FF2B5EF4-FFF2-40B4-BE49-F238E27FC236}">
                  <a16:creationId xmlns:a16="http://schemas.microsoft.com/office/drawing/2014/main" id="{91ACC4B6-114B-4B8F-B2FF-CB2B3275A61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58" y="1144"/>
              <a:ext cx="154" cy="116"/>
            </a:xfrm>
            <a:custGeom>
              <a:avLst/>
              <a:gdLst>
                <a:gd name="T0" fmla="*/ 136 w 154"/>
                <a:gd name="T1" fmla="*/ 116 h 116"/>
                <a:gd name="T2" fmla="*/ 18 w 154"/>
                <a:gd name="T3" fmla="*/ 116 h 116"/>
                <a:gd name="T4" fmla="*/ 18 w 154"/>
                <a:gd name="T5" fmla="*/ 116 h 116"/>
                <a:gd name="T6" fmla="*/ 10 w 154"/>
                <a:gd name="T7" fmla="*/ 116 h 116"/>
                <a:gd name="T8" fmla="*/ 4 w 154"/>
                <a:gd name="T9" fmla="*/ 112 h 116"/>
                <a:gd name="T10" fmla="*/ 0 w 154"/>
                <a:gd name="T11" fmla="*/ 106 h 116"/>
                <a:gd name="T12" fmla="*/ 0 w 154"/>
                <a:gd name="T13" fmla="*/ 98 h 116"/>
                <a:gd name="T14" fmla="*/ 0 w 154"/>
                <a:gd name="T15" fmla="*/ 18 h 116"/>
                <a:gd name="T16" fmla="*/ 0 w 154"/>
                <a:gd name="T17" fmla="*/ 18 h 116"/>
                <a:gd name="T18" fmla="*/ 0 w 154"/>
                <a:gd name="T19" fmla="*/ 10 h 116"/>
                <a:gd name="T20" fmla="*/ 4 w 154"/>
                <a:gd name="T21" fmla="*/ 4 h 116"/>
                <a:gd name="T22" fmla="*/ 10 w 154"/>
                <a:gd name="T23" fmla="*/ 0 h 116"/>
                <a:gd name="T24" fmla="*/ 18 w 154"/>
                <a:gd name="T25" fmla="*/ 0 h 116"/>
                <a:gd name="T26" fmla="*/ 96 w 154"/>
                <a:gd name="T27" fmla="*/ 0 h 116"/>
                <a:gd name="T28" fmla="*/ 96 w 154"/>
                <a:gd name="T29" fmla="*/ 0 h 116"/>
                <a:gd name="T30" fmla="*/ 102 w 154"/>
                <a:gd name="T31" fmla="*/ 0 h 116"/>
                <a:gd name="T32" fmla="*/ 106 w 154"/>
                <a:gd name="T33" fmla="*/ 2 h 116"/>
                <a:gd name="T34" fmla="*/ 110 w 154"/>
                <a:gd name="T35" fmla="*/ 6 h 116"/>
                <a:gd name="T36" fmla="*/ 112 w 154"/>
                <a:gd name="T37" fmla="*/ 10 h 116"/>
                <a:gd name="T38" fmla="*/ 152 w 154"/>
                <a:gd name="T39" fmla="*/ 90 h 116"/>
                <a:gd name="T40" fmla="*/ 152 w 154"/>
                <a:gd name="T41" fmla="*/ 90 h 116"/>
                <a:gd name="T42" fmla="*/ 154 w 154"/>
                <a:gd name="T43" fmla="*/ 94 h 116"/>
                <a:gd name="T44" fmla="*/ 154 w 154"/>
                <a:gd name="T45" fmla="*/ 98 h 116"/>
                <a:gd name="T46" fmla="*/ 154 w 154"/>
                <a:gd name="T47" fmla="*/ 104 h 116"/>
                <a:gd name="T48" fmla="*/ 152 w 154"/>
                <a:gd name="T49" fmla="*/ 108 h 116"/>
                <a:gd name="T50" fmla="*/ 152 w 154"/>
                <a:gd name="T51" fmla="*/ 108 h 116"/>
                <a:gd name="T52" fmla="*/ 150 w 154"/>
                <a:gd name="T53" fmla="*/ 112 h 116"/>
                <a:gd name="T54" fmla="*/ 146 w 154"/>
                <a:gd name="T55" fmla="*/ 114 h 116"/>
                <a:gd name="T56" fmla="*/ 142 w 154"/>
                <a:gd name="T57" fmla="*/ 116 h 116"/>
                <a:gd name="T58" fmla="*/ 136 w 154"/>
                <a:gd name="T59" fmla="*/ 116 h 116"/>
                <a:gd name="T60" fmla="*/ 136 w 154"/>
                <a:gd name="T61" fmla="*/ 116 h 116"/>
                <a:gd name="T62" fmla="*/ 18 w 154"/>
                <a:gd name="T63" fmla="*/ 18 h 116"/>
                <a:gd name="T64" fmla="*/ 18 w 154"/>
                <a:gd name="T65" fmla="*/ 98 h 116"/>
                <a:gd name="T66" fmla="*/ 136 w 154"/>
                <a:gd name="T67" fmla="*/ 98 h 116"/>
                <a:gd name="T68" fmla="*/ 136 w 154"/>
                <a:gd name="T69" fmla="*/ 98 h 116"/>
                <a:gd name="T70" fmla="*/ 136 w 154"/>
                <a:gd name="T71" fmla="*/ 98 h 116"/>
                <a:gd name="T72" fmla="*/ 96 w 154"/>
                <a:gd name="T73" fmla="*/ 18 h 116"/>
                <a:gd name="T74" fmla="*/ 18 w 154"/>
                <a:gd name="T75" fmla="*/ 1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54" h="116">
                  <a:moveTo>
                    <a:pt x="136" y="116"/>
                  </a:moveTo>
                  <a:lnTo>
                    <a:pt x="18" y="116"/>
                  </a:lnTo>
                  <a:lnTo>
                    <a:pt x="18" y="116"/>
                  </a:lnTo>
                  <a:lnTo>
                    <a:pt x="10" y="116"/>
                  </a:lnTo>
                  <a:lnTo>
                    <a:pt x="4" y="112"/>
                  </a:lnTo>
                  <a:lnTo>
                    <a:pt x="0" y="106"/>
                  </a:lnTo>
                  <a:lnTo>
                    <a:pt x="0" y="9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0"/>
                  </a:lnTo>
                  <a:lnTo>
                    <a:pt x="4" y="4"/>
                  </a:lnTo>
                  <a:lnTo>
                    <a:pt x="10" y="0"/>
                  </a:lnTo>
                  <a:lnTo>
                    <a:pt x="18" y="0"/>
                  </a:lnTo>
                  <a:lnTo>
                    <a:pt x="96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06" y="2"/>
                  </a:lnTo>
                  <a:lnTo>
                    <a:pt x="110" y="6"/>
                  </a:lnTo>
                  <a:lnTo>
                    <a:pt x="112" y="10"/>
                  </a:lnTo>
                  <a:lnTo>
                    <a:pt x="152" y="90"/>
                  </a:lnTo>
                  <a:lnTo>
                    <a:pt x="152" y="90"/>
                  </a:lnTo>
                  <a:lnTo>
                    <a:pt x="154" y="94"/>
                  </a:lnTo>
                  <a:lnTo>
                    <a:pt x="154" y="98"/>
                  </a:lnTo>
                  <a:lnTo>
                    <a:pt x="154" y="104"/>
                  </a:lnTo>
                  <a:lnTo>
                    <a:pt x="152" y="108"/>
                  </a:lnTo>
                  <a:lnTo>
                    <a:pt x="152" y="108"/>
                  </a:lnTo>
                  <a:lnTo>
                    <a:pt x="150" y="112"/>
                  </a:lnTo>
                  <a:lnTo>
                    <a:pt x="146" y="114"/>
                  </a:lnTo>
                  <a:lnTo>
                    <a:pt x="142" y="116"/>
                  </a:lnTo>
                  <a:lnTo>
                    <a:pt x="136" y="116"/>
                  </a:lnTo>
                  <a:lnTo>
                    <a:pt x="136" y="116"/>
                  </a:lnTo>
                  <a:close/>
                  <a:moveTo>
                    <a:pt x="18" y="18"/>
                  </a:moveTo>
                  <a:lnTo>
                    <a:pt x="18" y="98"/>
                  </a:lnTo>
                  <a:lnTo>
                    <a:pt x="136" y="98"/>
                  </a:lnTo>
                  <a:lnTo>
                    <a:pt x="136" y="98"/>
                  </a:lnTo>
                  <a:lnTo>
                    <a:pt x="136" y="98"/>
                  </a:lnTo>
                  <a:lnTo>
                    <a:pt x="96" y="18"/>
                  </a:lnTo>
                  <a:lnTo>
                    <a:pt x="18" y="18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966FB79B-6D40-4128-BB7F-568D3BF3C45D}"/>
                </a:ext>
              </a:extLst>
            </p:cNvPr>
            <p:cNvSpPr>
              <a:spLocks/>
            </p:cNvSpPr>
            <p:nvPr/>
          </p:nvSpPr>
          <p:spPr bwMode="auto">
            <a:xfrm>
              <a:off x="5150" y="1376"/>
              <a:ext cx="138" cy="74"/>
            </a:xfrm>
            <a:custGeom>
              <a:avLst/>
              <a:gdLst>
                <a:gd name="T0" fmla="*/ 114 w 138"/>
                <a:gd name="T1" fmla="*/ 74 h 74"/>
                <a:gd name="T2" fmla="*/ 0 w 138"/>
                <a:gd name="T3" fmla="*/ 74 h 74"/>
                <a:gd name="T4" fmla="*/ 0 w 138"/>
                <a:gd name="T5" fmla="*/ 56 h 74"/>
                <a:gd name="T6" fmla="*/ 114 w 138"/>
                <a:gd name="T7" fmla="*/ 56 h 74"/>
                <a:gd name="T8" fmla="*/ 114 w 138"/>
                <a:gd name="T9" fmla="*/ 56 h 74"/>
                <a:gd name="T10" fmla="*/ 118 w 138"/>
                <a:gd name="T11" fmla="*/ 54 h 74"/>
                <a:gd name="T12" fmla="*/ 120 w 138"/>
                <a:gd name="T13" fmla="*/ 50 h 74"/>
                <a:gd name="T14" fmla="*/ 120 w 138"/>
                <a:gd name="T15" fmla="*/ 24 h 74"/>
                <a:gd name="T16" fmla="*/ 120 w 138"/>
                <a:gd name="T17" fmla="*/ 24 h 74"/>
                <a:gd name="T18" fmla="*/ 118 w 138"/>
                <a:gd name="T19" fmla="*/ 20 h 74"/>
                <a:gd name="T20" fmla="*/ 114 w 138"/>
                <a:gd name="T21" fmla="*/ 18 h 74"/>
                <a:gd name="T22" fmla="*/ 12 w 138"/>
                <a:gd name="T23" fmla="*/ 18 h 74"/>
                <a:gd name="T24" fmla="*/ 12 w 138"/>
                <a:gd name="T25" fmla="*/ 0 h 74"/>
                <a:gd name="T26" fmla="*/ 114 w 138"/>
                <a:gd name="T27" fmla="*/ 0 h 74"/>
                <a:gd name="T28" fmla="*/ 114 w 138"/>
                <a:gd name="T29" fmla="*/ 0 h 74"/>
                <a:gd name="T30" fmla="*/ 124 w 138"/>
                <a:gd name="T31" fmla="*/ 2 h 74"/>
                <a:gd name="T32" fmla="*/ 130 w 138"/>
                <a:gd name="T33" fmla="*/ 8 h 74"/>
                <a:gd name="T34" fmla="*/ 136 w 138"/>
                <a:gd name="T35" fmla="*/ 14 h 74"/>
                <a:gd name="T36" fmla="*/ 138 w 138"/>
                <a:gd name="T37" fmla="*/ 24 h 74"/>
                <a:gd name="T38" fmla="*/ 138 w 138"/>
                <a:gd name="T39" fmla="*/ 50 h 74"/>
                <a:gd name="T40" fmla="*/ 138 w 138"/>
                <a:gd name="T41" fmla="*/ 50 h 74"/>
                <a:gd name="T42" fmla="*/ 136 w 138"/>
                <a:gd name="T43" fmla="*/ 60 h 74"/>
                <a:gd name="T44" fmla="*/ 130 w 138"/>
                <a:gd name="T45" fmla="*/ 66 h 74"/>
                <a:gd name="T46" fmla="*/ 124 w 138"/>
                <a:gd name="T47" fmla="*/ 72 h 74"/>
                <a:gd name="T48" fmla="*/ 114 w 138"/>
                <a:gd name="T49" fmla="*/ 74 h 74"/>
                <a:gd name="T50" fmla="*/ 114 w 138"/>
                <a:gd name="T51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38" h="74">
                  <a:moveTo>
                    <a:pt x="114" y="74"/>
                  </a:moveTo>
                  <a:lnTo>
                    <a:pt x="0" y="74"/>
                  </a:lnTo>
                  <a:lnTo>
                    <a:pt x="0" y="56"/>
                  </a:lnTo>
                  <a:lnTo>
                    <a:pt x="114" y="56"/>
                  </a:lnTo>
                  <a:lnTo>
                    <a:pt x="114" y="56"/>
                  </a:lnTo>
                  <a:lnTo>
                    <a:pt x="118" y="54"/>
                  </a:lnTo>
                  <a:lnTo>
                    <a:pt x="120" y="50"/>
                  </a:lnTo>
                  <a:lnTo>
                    <a:pt x="120" y="24"/>
                  </a:lnTo>
                  <a:lnTo>
                    <a:pt x="120" y="24"/>
                  </a:lnTo>
                  <a:lnTo>
                    <a:pt x="118" y="20"/>
                  </a:lnTo>
                  <a:lnTo>
                    <a:pt x="114" y="18"/>
                  </a:lnTo>
                  <a:lnTo>
                    <a:pt x="12" y="18"/>
                  </a:lnTo>
                  <a:lnTo>
                    <a:pt x="12" y="0"/>
                  </a:lnTo>
                  <a:lnTo>
                    <a:pt x="114" y="0"/>
                  </a:lnTo>
                  <a:lnTo>
                    <a:pt x="114" y="0"/>
                  </a:lnTo>
                  <a:lnTo>
                    <a:pt x="124" y="2"/>
                  </a:lnTo>
                  <a:lnTo>
                    <a:pt x="130" y="8"/>
                  </a:lnTo>
                  <a:lnTo>
                    <a:pt x="136" y="14"/>
                  </a:lnTo>
                  <a:lnTo>
                    <a:pt x="138" y="24"/>
                  </a:lnTo>
                  <a:lnTo>
                    <a:pt x="138" y="50"/>
                  </a:lnTo>
                  <a:lnTo>
                    <a:pt x="138" y="50"/>
                  </a:lnTo>
                  <a:lnTo>
                    <a:pt x="136" y="60"/>
                  </a:lnTo>
                  <a:lnTo>
                    <a:pt x="130" y="66"/>
                  </a:lnTo>
                  <a:lnTo>
                    <a:pt x="124" y="72"/>
                  </a:lnTo>
                  <a:lnTo>
                    <a:pt x="114" y="74"/>
                  </a:lnTo>
                  <a:lnTo>
                    <a:pt x="114" y="74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2" name="Freeform 41">
              <a:extLst>
                <a:ext uri="{FF2B5EF4-FFF2-40B4-BE49-F238E27FC236}">
                  <a16:creationId xmlns:a16="http://schemas.microsoft.com/office/drawing/2014/main" id="{C044BC69-86F5-4D89-B6E0-C6953F36FE72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6" y="1384"/>
              <a:ext cx="82" cy="72"/>
            </a:xfrm>
            <a:custGeom>
              <a:avLst/>
              <a:gdLst>
                <a:gd name="T0" fmla="*/ 82 w 82"/>
                <a:gd name="T1" fmla="*/ 72 h 72"/>
                <a:gd name="T2" fmla="*/ 24 w 82"/>
                <a:gd name="T3" fmla="*/ 72 h 72"/>
                <a:gd name="T4" fmla="*/ 24 w 82"/>
                <a:gd name="T5" fmla="*/ 72 h 72"/>
                <a:gd name="T6" fmla="*/ 14 w 82"/>
                <a:gd name="T7" fmla="*/ 70 h 72"/>
                <a:gd name="T8" fmla="*/ 8 w 82"/>
                <a:gd name="T9" fmla="*/ 66 h 72"/>
                <a:gd name="T10" fmla="*/ 2 w 82"/>
                <a:gd name="T11" fmla="*/ 58 h 72"/>
                <a:gd name="T12" fmla="*/ 0 w 82"/>
                <a:gd name="T13" fmla="*/ 48 h 72"/>
                <a:gd name="T14" fmla="*/ 0 w 82"/>
                <a:gd name="T15" fmla="*/ 0 h 72"/>
                <a:gd name="T16" fmla="*/ 18 w 82"/>
                <a:gd name="T17" fmla="*/ 0 h 72"/>
                <a:gd name="T18" fmla="*/ 18 w 82"/>
                <a:gd name="T19" fmla="*/ 48 h 72"/>
                <a:gd name="T20" fmla="*/ 18 w 82"/>
                <a:gd name="T21" fmla="*/ 48 h 72"/>
                <a:gd name="T22" fmla="*/ 20 w 82"/>
                <a:gd name="T23" fmla="*/ 52 h 72"/>
                <a:gd name="T24" fmla="*/ 24 w 82"/>
                <a:gd name="T25" fmla="*/ 54 h 72"/>
                <a:gd name="T26" fmla="*/ 82 w 82"/>
                <a:gd name="T27" fmla="*/ 54 h 72"/>
                <a:gd name="T28" fmla="*/ 82 w 82"/>
                <a:gd name="T29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2" h="72">
                  <a:moveTo>
                    <a:pt x="82" y="72"/>
                  </a:moveTo>
                  <a:lnTo>
                    <a:pt x="24" y="72"/>
                  </a:lnTo>
                  <a:lnTo>
                    <a:pt x="24" y="72"/>
                  </a:lnTo>
                  <a:lnTo>
                    <a:pt x="14" y="70"/>
                  </a:lnTo>
                  <a:lnTo>
                    <a:pt x="8" y="66"/>
                  </a:lnTo>
                  <a:lnTo>
                    <a:pt x="2" y="58"/>
                  </a:lnTo>
                  <a:lnTo>
                    <a:pt x="0" y="48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20" y="52"/>
                  </a:lnTo>
                  <a:lnTo>
                    <a:pt x="24" y="54"/>
                  </a:lnTo>
                  <a:lnTo>
                    <a:pt x="82" y="54"/>
                  </a:lnTo>
                  <a:lnTo>
                    <a:pt x="82" y="72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3" name="Freeform 42">
              <a:extLst>
                <a:ext uri="{FF2B5EF4-FFF2-40B4-BE49-F238E27FC236}">
                  <a16:creationId xmlns:a16="http://schemas.microsoft.com/office/drawing/2014/main" id="{E92545F7-2504-411F-9D42-07999728B95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74" y="1362"/>
              <a:ext cx="156" cy="156"/>
            </a:xfrm>
            <a:custGeom>
              <a:avLst/>
              <a:gdLst>
                <a:gd name="T0" fmla="*/ 78 w 156"/>
                <a:gd name="T1" fmla="*/ 156 h 156"/>
                <a:gd name="T2" fmla="*/ 48 w 156"/>
                <a:gd name="T3" fmla="*/ 150 h 156"/>
                <a:gd name="T4" fmla="*/ 22 w 156"/>
                <a:gd name="T5" fmla="*/ 134 h 156"/>
                <a:gd name="T6" fmla="*/ 6 w 156"/>
                <a:gd name="T7" fmla="*/ 108 h 156"/>
                <a:gd name="T8" fmla="*/ 0 w 156"/>
                <a:gd name="T9" fmla="*/ 78 h 156"/>
                <a:gd name="T10" fmla="*/ 2 w 156"/>
                <a:gd name="T11" fmla="*/ 64 h 156"/>
                <a:gd name="T12" fmla="*/ 12 w 156"/>
                <a:gd name="T13" fmla="*/ 36 h 156"/>
                <a:gd name="T14" fmla="*/ 34 w 156"/>
                <a:gd name="T15" fmla="*/ 14 h 156"/>
                <a:gd name="T16" fmla="*/ 62 w 156"/>
                <a:gd name="T17" fmla="*/ 2 h 156"/>
                <a:gd name="T18" fmla="*/ 78 w 156"/>
                <a:gd name="T19" fmla="*/ 0 h 156"/>
                <a:gd name="T20" fmla="*/ 108 w 156"/>
                <a:gd name="T21" fmla="*/ 8 h 156"/>
                <a:gd name="T22" fmla="*/ 132 w 156"/>
                <a:gd name="T23" fmla="*/ 24 h 156"/>
                <a:gd name="T24" fmla="*/ 150 w 156"/>
                <a:gd name="T25" fmla="*/ 48 h 156"/>
                <a:gd name="T26" fmla="*/ 156 w 156"/>
                <a:gd name="T27" fmla="*/ 78 h 156"/>
                <a:gd name="T28" fmla="*/ 154 w 156"/>
                <a:gd name="T29" fmla="*/ 94 h 156"/>
                <a:gd name="T30" fmla="*/ 142 w 156"/>
                <a:gd name="T31" fmla="*/ 122 h 156"/>
                <a:gd name="T32" fmla="*/ 120 w 156"/>
                <a:gd name="T33" fmla="*/ 144 h 156"/>
                <a:gd name="T34" fmla="*/ 94 w 156"/>
                <a:gd name="T35" fmla="*/ 154 h 156"/>
                <a:gd name="T36" fmla="*/ 78 w 156"/>
                <a:gd name="T37" fmla="*/ 156 h 156"/>
                <a:gd name="T38" fmla="*/ 78 w 156"/>
                <a:gd name="T39" fmla="*/ 18 h 156"/>
                <a:gd name="T40" fmla="*/ 54 w 156"/>
                <a:gd name="T41" fmla="*/ 24 h 156"/>
                <a:gd name="T42" fmla="*/ 36 w 156"/>
                <a:gd name="T43" fmla="*/ 36 h 156"/>
                <a:gd name="T44" fmla="*/ 22 w 156"/>
                <a:gd name="T45" fmla="*/ 56 h 156"/>
                <a:gd name="T46" fmla="*/ 18 w 156"/>
                <a:gd name="T47" fmla="*/ 78 h 156"/>
                <a:gd name="T48" fmla="*/ 18 w 156"/>
                <a:gd name="T49" fmla="*/ 90 h 156"/>
                <a:gd name="T50" fmla="*/ 28 w 156"/>
                <a:gd name="T51" fmla="*/ 112 h 156"/>
                <a:gd name="T52" fmla="*/ 44 w 156"/>
                <a:gd name="T53" fmla="*/ 128 h 156"/>
                <a:gd name="T54" fmla="*/ 66 w 156"/>
                <a:gd name="T55" fmla="*/ 138 h 156"/>
                <a:gd name="T56" fmla="*/ 78 w 156"/>
                <a:gd name="T57" fmla="*/ 138 h 156"/>
                <a:gd name="T58" fmla="*/ 100 w 156"/>
                <a:gd name="T59" fmla="*/ 134 h 156"/>
                <a:gd name="T60" fmla="*/ 120 w 156"/>
                <a:gd name="T61" fmla="*/ 120 h 156"/>
                <a:gd name="T62" fmla="*/ 132 w 156"/>
                <a:gd name="T63" fmla="*/ 102 h 156"/>
                <a:gd name="T64" fmla="*/ 138 w 156"/>
                <a:gd name="T65" fmla="*/ 78 h 156"/>
                <a:gd name="T66" fmla="*/ 136 w 156"/>
                <a:gd name="T67" fmla="*/ 66 h 156"/>
                <a:gd name="T68" fmla="*/ 126 w 156"/>
                <a:gd name="T69" fmla="*/ 46 h 156"/>
                <a:gd name="T70" fmla="*/ 110 w 156"/>
                <a:gd name="T71" fmla="*/ 30 h 156"/>
                <a:gd name="T72" fmla="*/ 90 w 156"/>
                <a:gd name="T73" fmla="*/ 20 h 156"/>
                <a:gd name="T74" fmla="*/ 78 w 156"/>
                <a:gd name="T75" fmla="*/ 18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56" h="156">
                  <a:moveTo>
                    <a:pt x="78" y="156"/>
                  </a:moveTo>
                  <a:lnTo>
                    <a:pt x="78" y="156"/>
                  </a:lnTo>
                  <a:lnTo>
                    <a:pt x="62" y="154"/>
                  </a:lnTo>
                  <a:lnTo>
                    <a:pt x="48" y="150"/>
                  </a:lnTo>
                  <a:lnTo>
                    <a:pt x="34" y="144"/>
                  </a:lnTo>
                  <a:lnTo>
                    <a:pt x="22" y="134"/>
                  </a:lnTo>
                  <a:lnTo>
                    <a:pt x="12" y="122"/>
                  </a:lnTo>
                  <a:lnTo>
                    <a:pt x="6" y="108"/>
                  </a:lnTo>
                  <a:lnTo>
                    <a:pt x="2" y="94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2" y="64"/>
                  </a:lnTo>
                  <a:lnTo>
                    <a:pt x="6" y="48"/>
                  </a:lnTo>
                  <a:lnTo>
                    <a:pt x="12" y="36"/>
                  </a:lnTo>
                  <a:lnTo>
                    <a:pt x="22" y="24"/>
                  </a:lnTo>
                  <a:lnTo>
                    <a:pt x="34" y="14"/>
                  </a:lnTo>
                  <a:lnTo>
                    <a:pt x="48" y="8"/>
                  </a:lnTo>
                  <a:lnTo>
                    <a:pt x="62" y="2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94" y="2"/>
                  </a:lnTo>
                  <a:lnTo>
                    <a:pt x="108" y="8"/>
                  </a:lnTo>
                  <a:lnTo>
                    <a:pt x="120" y="14"/>
                  </a:lnTo>
                  <a:lnTo>
                    <a:pt x="132" y="24"/>
                  </a:lnTo>
                  <a:lnTo>
                    <a:pt x="142" y="36"/>
                  </a:lnTo>
                  <a:lnTo>
                    <a:pt x="150" y="48"/>
                  </a:lnTo>
                  <a:lnTo>
                    <a:pt x="154" y="64"/>
                  </a:lnTo>
                  <a:lnTo>
                    <a:pt x="156" y="78"/>
                  </a:lnTo>
                  <a:lnTo>
                    <a:pt x="156" y="78"/>
                  </a:lnTo>
                  <a:lnTo>
                    <a:pt x="154" y="94"/>
                  </a:lnTo>
                  <a:lnTo>
                    <a:pt x="150" y="108"/>
                  </a:lnTo>
                  <a:lnTo>
                    <a:pt x="142" y="122"/>
                  </a:lnTo>
                  <a:lnTo>
                    <a:pt x="132" y="134"/>
                  </a:lnTo>
                  <a:lnTo>
                    <a:pt x="120" y="144"/>
                  </a:lnTo>
                  <a:lnTo>
                    <a:pt x="108" y="150"/>
                  </a:lnTo>
                  <a:lnTo>
                    <a:pt x="94" y="154"/>
                  </a:lnTo>
                  <a:lnTo>
                    <a:pt x="78" y="156"/>
                  </a:lnTo>
                  <a:lnTo>
                    <a:pt x="78" y="156"/>
                  </a:lnTo>
                  <a:close/>
                  <a:moveTo>
                    <a:pt x="78" y="18"/>
                  </a:moveTo>
                  <a:lnTo>
                    <a:pt x="78" y="18"/>
                  </a:lnTo>
                  <a:lnTo>
                    <a:pt x="66" y="20"/>
                  </a:lnTo>
                  <a:lnTo>
                    <a:pt x="54" y="24"/>
                  </a:lnTo>
                  <a:lnTo>
                    <a:pt x="44" y="30"/>
                  </a:lnTo>
                  <a:lnTo>
                    <a:pt x="36" y="36"/>
                  </a:lnTo>
                  <a:lnTo>
                    <a:pt x="28" y="46"/>
                  </a:lnTo>
                  <a:lnTo>
                    <a:pt x="22" y="56"/>
                  </a:lnTo>
                  <a:lnTo>
                    <a:pt x="18" y="66"/>
                  </a:lnTo>
                  <a:lnTo>
                    <a:pt x="18" y="78"/>
                  </a:lnTo>
                  <a:lnTo>
                    <a:pt x="18" y="78"/>
                  </a:lnTo>
                  <a:lnTo>
                    <a:pt x="18" y="90"/>
                  </a:lnTo>
                  <a:lnTo>
                    <a:pt x="22" y="102"/>
                  </a:lnTo>
                  <a:lnTo>
                    <a:pt x="28" y="112"/>
                  </a:lnTo>
                  <a:lnTo>
                    <a:pt x="36" y="120"/>
                  </a:lnTo>
                  <a:lnTo>
                    <a:pt x="44" y="128"/>
                  </a:lnTo>
                  <a:lnTo>
                    <a:pt x="54" y="134"/>
                  </a:lnTo>
                  <a:lnTo>
                    <a:pt x="66" y="138"/>
                  </a:lnTo>
                  <a:lnTo>
                    <a:pt x="78" y="138"/>
                  </a:lnTo>
                  <a:lnTo>
                    <a:pt x="78" y="138"/>
                  </a:lnTo>
                  <a:lnTo>
                    <a:pt x="90" y="138"/>
                  </a:lnTo>
                  <a:lnTo>
                    <a:pt x="100" y="134"/>
                  </a:lnTo>
                  <a:lnTo>
                    <a:pt x="110" y="128"/>
                  </a:lnTo>
                  <a:lnTo>
                    <a:pt x="120" y="120"/>
                  </a:lnTo>
                  <a:lnTo>
                    <a:pt x="126" y="112"/>
                  </a:lnTo>
                  <a:lnTo>
                    <a:pt x="132" y="102"/>
                  </a:lnTo>
                  <a:lnTo>
                    <a:pt x="136" y="90"/>
                  </a:lnTo>
                  <a:lnTo>
                    <a:pt x="138" y="78"/>
                  </a:lnTo>
                  <a:lnTo>
                    <a:pt x="138" y="78"/>
                  </a:lnTo>
                  <a:lnTo>
                    <a:pt x="136" y="66"/>
                  </a:lnTo>
                  <a:lnTo>
                    <a:pt x="132" y="56"/>
                  </a:lnTo>
                  <a:lnTo>
                    <a:pt x="126" y="46"/>
                  </a:lnTo>
                  <a:lnTo>
                    <a:pt x="120" y="36"/>
                  </a:lnTo>
                  <a:lnTo>
                    <a:pt x="110" y="30"/>
                  </a:lnTo>
                  <a:lnTo>
                    <a:pt x="100" y="24"/>
                  </a:lnTo>
                  <a:lnTo>
                    <a:pt x="90" y="20"/>
                  </a:lnTo>
                  <a:lnTo>
                    <a:pt x="78" y="18"/>
                  </a:lnTo>
                  <a:lnTo>
                    <a:pt x="78" y="18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4" name="Freeform 43">
              <a:extLst>
                <a:ext uri="{FF2B5EF4-FFF2-40B4-BE49-F238E27FC236}">
                  <a16:creationId xmlns:a16="http://schemas.microsoft.com/office/drawing/2014/main" id="{5F72B542-A5D7-480E-95EB-CFCAF6A414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12" y="1362"/>
              <a:ext cx="156" cy="156"/>
            </a:xfrm>
            <a:custGeom>
              <a:avLst/>
              <a:gdLst>
                <a:gd name="T0" fmla="*/ 78 w 156"/>
                <a:gd name="T1" fmla="*/ 156 h 156"/>
                <a:gd name="T2" fmla="*/ 48 w 156"/>
                <a:gd name="T3" fmla="*/ 150 h 156"/>
                <a:gd name="T4" fmla="*/ 22 w 156"/>
                <a:gd name="T5" fmla="*/ 134 h 156"/>
                <a:gd name="T6" fmla="*/ 6 w 156"/>
                <a:gd name="T7" fmla="*/ 108 h 156"/>
                <a:gd name="T8" fmla="*/ 0 w 156"/>
                <a:gd name="T9" fmla="*/ 78 h 156"/>
                <a:gd name="T10" fmla="*/ 2 w 156"/>
                <a:gd name="T11" fmla="*/ 64 h 156"/>
                <a:gd name="T12" fmla="*/ 14 w 156"/>
                <a:gd name="T13" fmla="*/ 36 h 156"/>
                <a:gd name="T14" fmla="*/ 34 w 156"/>
                <a:gd name="T15" fmla="*/ 14 h 156"/>
                <a:gd name="T16" fmla="*/ 62 w 156"/>
                <a:gd name="T17" fmla="*/ 2 h 156"/>
                <a:gd name="T18" fmla="*/ 78 w 156"/>
                <a:gd name="T19" fmla="*/ 0 h 156"/>
                <a:gd name="T20" fmla="*/ 108 w 156"/>
                <a:gd name="T21" fmla="*/ 8 h 156"/>
                <a:gd name="T22" fmla="*/ 132 w 156"/>
                <a:gd name="T23" fmla="*/ 24 h 156"/>
                <a:gd name="T24" fmla="*/ 150 w 156"/>
                <a:gd name="T25" fmla="*/ 48 h 156"/>
                <a:gd name="T26" fmla="*/ 156 w 156"/>
                <a:gd name="T27" fmla="*/ 78 h 156"/>
                <a:gd name="T28" fmla="*/ 154 w 156"/>
                <a:gd name="T29" fmla="*/ 94 h 156"/>
                <a:gd name="T30" fmla="*/ 142 w 156"/>
                <a:gd name="T31" fmla="*/ 122 h 156"/>
                <a:gd name="T32" fmla="*/ 122 w 156"/>
                <a:gd name="T33" fmla="*/ 144 h 156"/>
                <a:gd name="T34" fmla="*/ 94 w 156"/>
                <a:gd name="T35" fmla="*/ 154 h 156"/>
                <a:gd name="T36" fmla="*/ 78 w 156"/>
                <a:gd name="T37" fmla="*/ 156 h 156"/>
                <a:gd name="T38" fmla="*/ 78 w 156"/>
                <a:gd name="T39" fmla="*/ 18 h 156"/>
                <a:gd name="T40" fmla="*/ 54 w 156"/>
                <a:gd name="T41" fmla="*/ 24 h 156"/>
                <a:gd name="T42" fmla="*/ 36 w 156"/>
                <a:gd name="T43" fmla="*/ 36 h 156"/>
                <a:gd name="T44" fmla="*/ 22 w 156"/>
                <a:gd name="T45" fmla="*/ 56 h 156"/>
                <a:gd name="T46" fmla="*/ 18 w 156"/>
                <a:gd name="T47" fmla="*/ 78 h 156"/>
                <a:gd name="T48" fmla="*/ 20 w 156"/>
                <a:gd name="T49" fmla="*/ 90 h 156"/>
                <a:gd name="T50" fmla="*/ 28 w 156"/>
                <a:gd name="T51" fmla="*/ 112 h 156"/>
                <a:gd name="T52" fmla="*/ 44 w 156"/>
                <a:gd name="T53" fmla="*/ 128 h 156"/>
                <a:gd name="T54" fmla="*/ 66 w 156"/>
                <a:gd name="T55" fmla="*/ 138 h 156"/>
                <a:gd name="T56" fmla="*/ 78 w 156"/>
                <a:gd name="T57" fmla="*/ 138 h 156"/>
                <a:gd name="T58" fmla="*/ 100 w 156"/>
                <a:gd name="T59" fmla="*/ 134 h 156"/>
                <a:gd name="T60" fmla="*/ 120 w 156"/>
                <a:gd name="T61" fmla="*/ 120 h 156"/>
                <a:gd name="T62" fmla="*/ 132 w 156"/>
                <a:gd name="T63" fmla="*/ 102 h 156"/>
                <a:gd name="T64" fmla="*/ 138 w 156"/>
                <a:gd name="T65" fmla="*/ 78 h 156"/>
                <a:gd name="T66" fmla="*/ 136 w 156"/>
                <a:gd name="T67" fmla="*/ 66 h 156"/>
                <a:gd name="T68" fmla="*/ 128 w 156"/>
                <a:gd name="T69" fmla="*/ 46 h 156"/>
                <a:gd name="T70" fmla="*/ 112 w 156"/>
                <a:gd name="T71" fmla="*/ 30 h 156"/>
                <a:gd name="T72" fmla="*/ 90 w 156"/>
                <a:gd name="T73" fmla="*/ 20 h 156"/>
                <a:gd name="T74" fmla="*/ 78 w 156"/>
                <a:gd name="T75" fmla="*/ 18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56" h="156">
                  <a:moveTo>
                    <a:pt x="78" y="156"/>
                  </a:moveTo>
                  <a:lnTo>
                    <a:pt x="78" y="156"/>
                  </a:lnTo>
                  <a:lnTo>
                    <a:pt x="62" y="154"/>
                  </a:lnTo>
                  <a:lnTo>
                    <a:pt x="48" y="150"/>
                  </a:lnTo>
                  <a:lnTo>
                    <a:pt x="34" y="144"/>
                  </a:lnTo>
                  <a:lnTo>
                    <a:pt x="22" y="134"/>
                  </a:lnTo>
                  <a:lnTo>
                    <a:pt x="14" y="122"/>
                  </a:lnTo>
                  <a:lnTo>
                    <a:pt x="6" y="108"/>
                  </a:lnTo>
                  <a:lnTo>
                    <a:pt x="2" y="94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2" y="64"/>
                  </a:lnTo>
                  <a:lnTo>
                    <a:pt x="6" y="48"/>
                  </a:lnTo>
                  <a:lnTo>
                    <a:pt x="14" y="36"/>
                  </a:lnTo>
                  <a:lnTo>
                    <a:pt x="22" y="24"/>
                  </a:lnTo>
                  <a:lnTo>
                    <a:pt x="34" y="14"/>
                  </a:lnTo>
                  <a:lnTo>
                    <a:pt x="48" y="8"/>
                  </a:lnTo>
                  <a:lnTo>
                    <a:pt x="62" y="2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94" y="2"/>
                  </a:lnTo>
                  <a:lnTo>
                    <a:pt x="108" y="8"/>
                  </a:lnTo>
                  <a:lnTo>
                    <a:pt x="122" y="14"/>
                  </a:lnTo>
                  <a:lnTo>
                    <a:pt x="132" y="24"/>
                  </a:lnTo>
                  <a:lnTo>
                    <a:pt x="142" y="36"/>
                  </a:lnTo>
                  <a:lnTo>
                    <a:pt x="150" y="48"/>
                  </a:lnTo>
                  <a:lnTo>
                    <a:pt x="154" y="64"/>
                  </a:lnTo>
                  <a:lnTo>
                    <a:pt x="156" y="78"/>
                  </a:lnTo>
                  <a:lnTo>
                    <a:pt x="156" y="78"/>
                  </a:lnTo>
                  <a:lnTo>
                    <a:pt x="154" y="94"/>
                  </a:lnTo>
                  <a:lnTo>
                    <a:pt x="150" y="108"/>
                  </a:lnTo>
                  <a:lnTo>
                    <a:pt x="142" y="122"/>
                  </a:lnTo>
                  <a:lnTo>
                    <a:pt x="132" y="134"/>
                  </a:lnTo>
                  <a:lnTo>
                    <a:pt x="122" y="144"/>
                  </a:lnTo>
                  <a:lnTo>
                    <a:pt x="108" y="150"/>
                  </a:lnTo>
                  <a:lnTo>
                    <a:pt x="94" y="154"/>
                  </a:lnTo>
                  <a:lnTo>
                    <a:pt x="78" y="156"/>
                  </a:lnTo>
                  <a:lnTo>
                    <a:pt x="78" y="156"/>
                  </a:lnTo>
                  <a:close/>
                  <a:moveTo>
                    <a:pt x="78" y="18"/>
                  </a:moveTo>
                  <a:lnTo>
                    <a:pt x="78" y="18"/>
                  </a:lnTo>
                  <a:lnTo>
                    <a:pt x="66" y="20"/>
                  </a:lnTo>
                  <a:lnTo>
                    <a:pt x="54" y="24"/>
                  </a:lnTo>
                  <a:lnTo>
                    <a:pt x="44" y="30"/>
                  </a:lnTo>
                  <a:lnTo>
                    <a:pt x="36" y="36"/>
                  </a:lnTo>
                  <a:lnTo>
                    <a:pt x="28" y="46"/>
                  </a:lnTo>
                  <a:lnTo>
                    <a:pt x="22" y="56"/>
                  </a:lnTo>
                  <a:lnTo>
                    <a:pt x="20" y="66"/>
                  </a:lnTo>
                  <a:lnTo>
                    <a:pt x="18" y="78"/>
                  </a:lnTo>
                  <a:lnTo>
                    <a:pt x="18" y="78"/>
                  </a:lnTo>
                  <a:lnTo>
                    <a:pt x="20" y="90"/>
                  </a:lnTo>
                  <a:lnTo>
                    <a:pt x="22" y="102"/>
                  </a:lnTo>
                  <a:lnTo>
                    <a:pt x="28" y="112"/>
                  </a:lnTo>
                  <a:lnTo>
                    <a:pt x="36" y="120"/>
                  </a:lnTo>
                  <a:lnTo>
                    <a:pt x="44" y="128"/>
                  </a:lnTo>
                  <a:lnTo>
                    <a:pt x="54" y="134"/>
                  </a:lnTo>
                  <a:lnTo>
                    <a:pt x="66" y="138"/>
                  </a:lnTo>
                  <a:lnTo>
                    <a:pt x="78" y="138"/>
                  </a:lnTo>
                  <a:lnTo>
                    <a:pt x="78" y="138"/>
                  </a:lnTo>
                  <a:lnTo>
                    <a:pt x="90" y="138"/>
                  </a:lnTo>
                  <a:lnTo>
                    <a:pt x="100" y="134"/>
                  </a:lnTo>
                  <a:lnTo>
                    <a:pt x="112" y="128"/>
                  </a:lnTo>
                  <a:lnTo>
                    <a:pt x="120" y="120"/>
                  </a:lnTo>
                  <a:lnTo>
                    <a:pt x="128" y="112"/>
                  </a:lnTo>
                  <a:lnTo>
                    <a:pt x="132" y="102"/>
                  </a:lnTo>
                  <a:lnTo>
                    <a:pt x="136" y="90"/>
                  </a:lnTo>
                  <a:lnTo>
                    <a:pt x="138" y="78"/>
                  </a:lnTo>
                  <a:lnTo>
                    <a:pt x="138" y="78"/>
                  </a:lnTo>
                  <a:lnTo>
                    <a:pt x="136" y="66"/>
                  </a:lnTo>
                  <a:lnTo>
                    <a:pt x="132" y="56"/>
                  </a:lnTo>
                  <a:lnTo>
                    <a:pt x="128" y="46"/>
                  </a:lnTo>
                  <a:lnTo>
                    <a:pt x="120" y="36"/>
                  </a:lnTo>
                  <a:lnTo>
                    <a:pt x="112" y="30"/>
                  </a:lnTo>
                  <a:lnTo>
                    <a:pt x="100" y="24"/>
                  </a:lnTo>
                  <a:lnTo>
                    <a:pt x="90" y="20"/>
                  </a:lnTo>
                  <a:lnTo>
                    <a:pt x="78" y="18"/>
                  </a:lnTo>
                  <a:lnTo>
                    <a:pt x="78" y="18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9A992682-9597-40F5-B4AB-7296F972BD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12" y="1432"/>
              <a:ext cx="318" cy="18"/>
            </a:xfrm>
            <a:prstGeom prst="rect">
              <a:avLst/>
            </a:pr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6" name="Freeform 45">
              <a:extLst>
                <a:ext uri="{FF2B5EF4-FFF2-40B4-BE49-F238E27FC236}">
                  <a16:creationId xmlns:a16="http://schemas.microsoft.com/office/drawing/2014/main" id="{E54AF02A-AC23-4682-88BE-E9CF3D659B4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14" y="1404"/>
              <a:ext cx="74" cy="74"/>
            </a:xfrm>
            <a:custGeom>
              <a:avLst/>
              <a:gdLst>
                <a:gd name="T0" fmla="*/ 38 w 74"/>
                <a:gd name="T1" fmla="*/ 74 h 74"/>
                <a:gd name="T2" fmla="*/ 38 w 74"/>
                <a:gd name="T3" fmla="*/ 74 h 74"/>
                <a:gd name="T4" fmla="*/ 30 w 74"/>
                <a:gd name="T5" fmla="*/ 72 h 74"/>
                <a:gd name="T6" fmla="*/ 24 w 74"/>
                <a:gd name="T7" fmla="*/ 70 h 74"/>
                <a:gd name="T8" fmla="*/ 16 w 74"/>
                <a:gd name="T9" fmla="*/ 68 h 74"/>
                <a:gd name="T10" fmla="*/ 12 w 74"/>
                <a:gd name="T11" fmla="*/ 62 h 74"/>
                <a:gd name="T12" fmla="*/ 6 w 74"/>
                <a:gd name="T13" fmla="*/ 58 h 74"/>
                <a:gd name="T14" fmla="*/ 4 w 74"/>
                <a:gd name="T15" fmla="*/ 52 h 74"/>
                <a:gd name="T16" fmla="*/ 2 w 74"/>
                <a:gd name="T17" fmla="*/ 44 h 74"/>
                <a:gd name="T18" fmla="*/ 0 w 74"/>
                <a:gd name="T19" fmla="*/ 36 h 74"/>
                <a:gd name="T20" fmla="*/ 0 w 74"/>
                <a:gd name="T21" fmla="*/ 36 h 74"/>
                <a:gd name="T22" fmla="*/ 2 w 74"/>
                <a:gd name="T23" fmla="*/ 30 h 74"/>
                <a:gd name="T24" fmla="*/ 4 w 74"/>
                <a:gd name="T25" fmla="*/ 22 h 74"/>
                <a:gd name="T26" fmla="*/ 6 w 74"/>
                <a:gd name="T27" fmla="*/ 16 h 74"/>
                <a:gd name="T28" fmla="*/ 12 w 74"/>
                <a:gd name="T29" fmla="*/ 10 h 74"/>
                <a:gd name="T30" fmla="*/ 16 w 74"/>
                <a:gd name="T31" fmla="*/ 6 h 74"/>
                <a:gd name="T32" fmla="*/ 24 w 74"/>
                <a:gd name="T33" fmla="*/ 2 h 74"/>
                <a:gd name="T34" fmla="*/ 30 w 74"/>
                <a:gd name="T35" fmla="*/ 0 h 74"/>
                <a:gd name="T36" fmla="*/ 38 w 74"/>
                <a:gd name="T37" fmla="*/ 0 h 74"/>
                <a:gd name="T38" fmla="*/ 38 w 74"/>
                <a:gd name="T39" fmla="*/ 0 h 74"/>
                <a:gd name="T40" fmla="*/ 44 w 74"/>
                <a:gd name="T41" fmla="*/ 0 h 74"/>
                <a:gd name="T42" fmla="*/ 52 w 74"/>
                <a:gd name="T43" fmla="*/ 2 h 74"/>
                <a:gd name="T44" fmla="*/ 58 w 74"/>
                <a:gd name="T45" fmla="*/ 6 h 74"/>
                <a:gd name="T46" fmla="*/ 64 w 74"/>
                <a:gd name="T47" fmla="*/ 10 h 74"/>
                <a:gd name="T48" fmla="*/ 68 w 74"/>
                <a:gd name="T49" fmla="*/ 16 h 74"/>
                <a:gd name="T50" fmla="*/ 72 w 74"/>
                <a:gd name="T51" fmla="*/ 22 h 74"/>
                <a:gd name="T52" fmla="*/ 74 w 74"/>
                <a:gd name="T53" fmla="*/ 30 h 74"/>
                <a:gd name="T54" fmla="*/ 74 w 74"/>
                <a:gd name="T55" fmla="*/ 36 h 74"/>
                <a:gd name="T56" fmla="*/ 74 w 74"/>
                <a:gd name="T57" fmla="*/ 36 h 74"/>
                <a:gd name="T58" fmla="*/ 74 w 74"/>
                <a:gd name="T59" fmla="*/ 44 h 74"/>
                <a:gd name="T60" fmla="*/ 72 w 74"/>
                <a:gd name="T61" fmla="*/ 52 h 74"/>
                <a:gd name="T62" fmla="*/ 68 w 74"/>
                <a:gd name="T63" fmla="*/ 58 h 74"/>
                <a:gd name="T64" fmla="*/ 64 w 74"/>
                <a:gd name="T65" fmla="*/ 62 h 74"/>
                <a:gd name="T66" fmla="*/ 58 w 74"/>
                <a:gd name="T67" fmla="*/ 68 h 74"/>
                <a:gd name="T68" fmla="*/ 52 w 74"/>
                <a:gd name="T69" fmla="*/ 70 h 74"/>
                <a:gd name="T70" fmla="*/ 44 w 74"/>
                <a:gd name="T71" fmla="*/ 72 h 74"/>
                <a:gd name="T72" fmla="*/ 38 w 74"/>
                <a:gd name="T73" fmla="*/ 74 h 74"/>
                <a:gd name="T74" fmla="*/ 38 w 74"/>
                <a:gd name="T75" fmla="*/ 74 h 74"/>
                <a:gd name="T76" fmla="*/ 38 w 74"/>
                <a:gd name="T77" fmla="*/ 18 h 74"/>
                <a:gd name="T78" fmla="*/ 38 w 74"/>
                <a:gd name="T79" fmla="*/ 18 h 74"/>
                <a:gd name="T80" fmla="*/ 30 w 74"/>
                <a:gd name="T81" fmla="*/ 20 h 74"/>
                <a:gd name="T82" fmla="*/ 24 w 74"/>
                <a:gd name="T83" fmla="*/ 24 h 74"/>
                <a:gd name="T84" fmla="*/ 20 w 74"/>
                <a:gd name="T85" fmla="*/ 30 h 74"/>
                <a:gd name="T86" fmla="*/ 18 w 74"/>
                <a:gd name="T87" fmla="*/ 36 h 74"/>
                <a:gd name="T88" fmla="*/ 18 w 74"/>
                <a:gd name="T89" fmla="*/ 36 h 74"/>
                <a:gd name="T90" fmla="*/ 20 w 74"/>
                <a:gd name="T91" fmla="*/ 44 h 74"/>
                <a:gd name="T92" fmla="*/ 24 w 74"/>
                <a:gd name="T93" fmla="*/ 50 h 74"/>
                <a:gd name="T94" fmla="*/ 30 w 74"/>
                <a:gd name="T95" fmla="*/ 54 h 74"/>
                <a:gd name="T96" fmla="*/ 38 w 74"/>
                <a:gd name="T97" fmla="*/ 56 h 74"/>
                <a:gd name="T98" fmla="*/ 38 w 74"/>
                <a:gd name="T99" fmla="*/ 56 h 74"/>
                <a:gd name="T100" fmla="*/ 44 w 74"/>
                <a:gd name="T101" fmla="*/ 54 h 74"/>
                <a:gd name="T102" fmla="*/ 50 w 74"/>
                <a:gd name="T103" fmla="*/ 50 h 74"/>
                <a:gd name="T104" fmla="*/ 54 w 74"/>
                <a:gd name="T105" fmla="*/ 44 h 74"/>
                <a:gd name="T106" fmla="*/ 56 w 74"/>
                <a:gd name="T107" fmla="*/ 36 h 74"/>
                <a:gd name="T108" fmla="*/ 56 w 74"/>
                <a:gd name="T109" fmla="*/ 36 h 74"/>
                <a:gd name="T110" fmla="*/ 54 w 74"/>
                <a:gd name="T111" fmla="*/ 30 h 74"/>
                <a:gd name="T112" fmla="*/ 50 w 74"/>
                <a:gd name="T113" fmla="*/ 24 h 74"/>
                <a:gd name="T114" fmla="*/ 44 w 74"/>
                <a:gd name="T115" fmla="*/ 20 h 74"/>
                <a:gd name="T116" fmla="*/ 38 w 74"/>
                <a:gd name="T117" fmla="*/ 18 h 74"/>
                <a:gd name="T118" fmla="*/ 38 w 74"/>
                <a:gd name="T119" fmla="*/ 18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4" h="74">
                  <a:moveTo>
                    <a:pt x="38" y="74"/>
                  </a:moveTo>
                  <a:lnTo>
                    <a:pt x="38" y="74"/>
                  </a:lnTo>
                  <a:lnTo>
                    <a:pt x="30" y="72"/>
                  </a:lnTo>
                  <a:lnTo>
                    <a:pt x="24" y="70"/>
                  </a:lnTo>
                  <a:lnTo>
                    <a:pt x="16" y="68"/>
                  </a:lnTo>
                  <a:lnTo>
                    <a:pt x="12" y="62"/>
                  </a:lnTo>
                  <a:lnTo>
                    <a:pt x="6" y="58"/>
                  </a:lnTo>
                  <a:lnTo>
                    <a:pt x="4" y="52"/>
                  </a:lnTo>
                  <a:lnTo>
                    <a:pt x="2" y="44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2" y="30"/>
                  </a:lnTo>
                  <a:lnTo>
                    <a:pt x="4" y="22"/>
                  </a:lnTo>
                  <a:lnTo>
                    <a:pt x="6" y="16"/>
                  </a:lnTo>
                  <a:lnTo>
                    <a:pt x="12" y="10"/>
                  </a:lnTo>
                  <a:lnTo>
                    <a:pt x="16" y="6"/>
                  </a:lnTo>
                  <a:lnTo>
                    <a:pt x="24" y="2"/>
                  </a:lnTo>
                  <a:lnTo>
                    <a:pt x="30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44" y="0"/>
                  </a:lnTo>
                  <a:lnTo>
                    <a:pt x="52" y="2"/>
                  </a:lnTo>
                  <a:lnTo>
                    <a:pt x="58" y="6"/>
                  </a:lnTo>
                  <a:lnTo>
                    <a:pt x="64" y="10"/>
                  </a:lnTo>
                  <a:lnTo>
                    <a:pt x="68" y="16"/>
                  </a:lnTo>
                  <a:lnTo>
                    <a:pt x="72" y="22"/>
                  </a:lnTo>
                  <a:lnTo>
                    <a:pt x="74" y="30"/>
                  </a:lnTo>
                  <a:lnTo>
                    <a:pt x="74" y="36"/>
                  </a:lnTo>
                  <a:lnTo>
                    <a:pt x="74" y="36"/>
                  </a:lnTo>
                  <a:lnTo>
                    <a:pt x="74" y="44"/>
                  </a:lnTo>
                  <a:lnTo>
                    <a:pt x="72" y="52"/>
                  </a:lnTo>
                  <a:lnTo>
                    <a:pt x="68" y="58"/>
                  </a:lnTo>
                  <a:lnTo>
                    <a:pt x="64" y="62"/>
                  </a:lnTo>
                  <a:lnTo>
                    <a:pt x="58" y="68"/>
                  </a:lnTo>
                  <a:lnTo>
                    <a:pt x="52" y="70"/>
                  </a:lnTo>
                  <a:lnTo>
                    <a:pt x="44" y="72"/>
                  </a:lnTo>
                  <a:lnTo>
                    <a:pt x="38" y="74"/>
                  </a:lnTo>
                  <a:lnTo>
                    <a:pt x="38" y="74"/>
                  </a:lnTo>
                  <a:close/>
                  <a:moveTo>
                    <a:pt x="38" y="18"/>
                  </a:moveTo>
                  <a:lnTo>
                    <a:pt x="38" y="18"/>
                  </a:lnTo>
                  <a:lnTo>
                    <a:pt x="30" y="20"/>
                  </a:lnTo>
                  <a:lnTo>
                    <a:pt x="24" y="24"/>
                  </a:lnTo>
                  <a:lnTo>
                    <a:pt x="20" y="30"/>
                  </a:lnTo>
                  <a:lnTo>
                    <a:pt x="18" y="36"/>
                  </a:lnTo>
                  <a:lnTo>
                    <a:pt x="18" y="36"/>
                  </a:lnTo>
                  <a:lnTo>
                    <a:pt x="20" y="44"/>
                  </a:lnTo>
                  <a:lnTo>
                    <a:pt x="24" y="50"/>
                  </a:lnTo>
                  <a:lnTo>
                    <a:pt x="30" y="54"/>
                  </a:lnTo>
                  <a:lnTo>
                    <a:pt x="38" y="56"/>
                  </a:lnTo>
                  <a:lnTo>
                    <a:pt x="38" y="56"/>
                  </a:lnTo>
                  <a:lnTo>
                    <a:pt x="44" y="54"/>
                  </a:lnTo>
                  <a:lnTo>
                    <a:pt x="50" y="50"/>
                  </a:lnTo>
                  <a:lnTo>
                    <a:pt x="54" y="44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4" y="30"/>
                  </a:lnTo>
                  <a:lnTo>
                    <a:pt x="50" y="24"/>
                  </a:lnTo>
                  <a:lnTo>
                    <a:pt x="44" y="20"/>
                  </a:lnTo>
                  <a:lnTo>
                    <a:pt x="38" y="18"/>
                  </a:lnTo>
                  <a:lnTo>
                    <a:pt x="38" y="18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7" name="Freeform 46">
              <a:extLst>
                <a:ext uri="{FF2B5EF4-FFF2-40B4-BE49-F238E27FC236}">
                  <a16:creationId xmlns:a16="http://schemas.microsoft.com/office/drawing/2014/main" id="{53B3375A-A2A8-425C-9E8A-5DA2B37302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52" y="1404"/>
              <a:ext cx="74" cy="74"/>
            </a:xfrm>
            <a:custGeom>
              <a:avLst/>
              <a:gdLst>
                <a:gd name="T0" fmla="*/ 38 w 74"/>
                <a:gd name="T1" fmla="*/ 74 h 74"/>
                <a:gd name="T2" fmla="*/ 38 w 74"/>
                <a:gd name="T3" fmla="*/ 74 h 74"/>
                <a:gd name="T4" fmla="*/ 30 w 74"/>
                <a:gd name="T5" fmla="*/ 72 h 74"/>
                <a:gd name="T6" fmla="*/ 24 w 74"/>
                <a:gd name="T7" fmla="*/ 70 h 74"/>
                <a:gd name="T8" fmla="*/ 18 w 74"/>
                <a:gd name="T9" fmla="*/ 68 h 74"/>
                <a:gd name="T10" fmla="*/ 12 w 74"/>
                <a:gd name="T11" fmla="*/ 62 h 74"/>
                <a:gd name="T12" fmla="*/ 8 w 74"/>
                <a:gd name="T13" fmla="*/ 58 h 74"/>
                <a:gd name="T14" fmla="*/ 4 w 74"/>
                <a:gd name="T15" fmla="*/ 52 h 74"/>
                <a:gd name="T16" fmla="*/ 2 w 74"/>
                <a:gd name="T17" fmla="*/ 44 h 74"/>
                <a:gd name="T18" fmla="*/ 0 w 74"/>
                <a:gd name="T19" fmla="*/ 36 h 74"/>
                <a:gd name="T20" fmla="*/ 0 w 74"/>
                <a:gd name="T21" fmla="*/ 36 h 74"/>
                <a:gd name="T22" fmla="*/ 2 w 74"/>
                <a:gd name="T23" fmla="*/ 30 h 74"/>
                <a:gd name="T24" fmla="*/ 4 w 74"/>
                <a:gd name="T25" fmla="*/ 22 h 74"/>
                <a:gd name="T26" fmla="*/ 8 w 74"/>
                <a:gd name="T27" fmla="*/ 16 h 74"/>
                <a:gd name="T28" fmla="*/ 12 w 74"/>
                <a:gd name="T29" fmla="*/ 10 h 74"/>
                <a:gd name="T30" fmla="*/ 18 w 74"/>
                <a:gd name="T31" fmla="*/ 6 h 74"/>
                <a:gd name="T32" fmla="*/ 24 w 74"/>
                <a:gd name="T33" fmla="*/ 2 h 74"/>
                <a:gd name="T34" fmla="*/ 30 w 74"/>
                <a:gd name="T35" fmla="*/ 0 h 74"/>
                <a:gd name="T36" fmla="*/ 38 w 74"/>
                <a:gd name="T37" fmla="*/ 0 h 74"/>
                <a:gd name="T38" fmla="*/ 38 w 74"/>
                <a:gd name="T39" fmla="*/ 0 h 74"/>
                <a:gd name="T40" fmla="*/ 46 w 74"/>
                <a:gd name="T41" fmla="*/ 0 h 74"/>
                <a:gd name="T42" fmla="*/ 52 w 74"/>
                <a:gd name="T43" fmla="*/ 2 h 74"/>
                <a:gd name="T44" fmla="*/ 58 w 74"/>
                <a:gd name="T45" fmla="*/ 6 h 74"/>
                <a:gd name="T46" fmla="*/ 64 w 74"/>
                <a:gd name="T47" fmla="*/ 10 h 74"/>
                <a:gd name="T48" fmla="*/ 68 w 74"/>
                <a:gd name="T49" fmla="*/ 16 h 74"/>
                <a:gd name="T50" fmla="*/ 72 w 74"/>
                <a:gd name="T51" fmla="*/ 22 h 74"/>
                <a:gd name="T52" fmla="*/ 74 w 74"/>
                <a:gd name="T53" fmla="*/ 30 h 74"/>
                <a:gd name="T54" fmla="*/ 74 w 74"/>
                <a:gd name="T55" fmla="*/ 36 h 74"/>
                <a:gd name="T56" fmla="*/ 74 w 74"/>
                <a:gd name="T57" fmla="*/ 36 h 74"/>
                <a:gd name="T58" fmla="*/ 74 w 74"/>
                <a:gd name="T59" fmla="*/ 44 h 74"/>
                <a:gd name="T60" fmla="*/ 72 w 74"/>
                <a:gd name="T61" fmla="*/ 52 h 74"/>
                <a:gd name="T62" fmla="*/ 68 w 74"/>
                <a:gd name="T63" fmla="*/ 58 h 74"/>
                <a:gd name="T64" fmla="*/ 64 w 74"/>
                <a:gd name="T65" fmla="*/ 62 h 74"/>
                <a:gd name="T66" fmla="*/ 58 w 74"/>
                <a:gd name="T67" fmla="*/ 68 h 74"/>
                <a:gd name="T68" fmla="*/ 52 w 74"/>
                <a:gd name="T69" fmla="*/ 70 h 74"/>
                <a:gd name="T70" fmla="*/ 46 w 74"/>
                <a:gd name="T71" fmla="*/ 72 h 74"/>
                <a:gd name="T72" fmla="*/ 38 w 74"/>
                <a:gd name="T73" fmla="*/ 74 h 74"/>
                <a:gd name="T74" fmla="*/ 38 w 74"/>
                <a:gd name="T75" fmla="*/ 74 h 74"/>
                <a:gd name="T76" fmla="*/ 38 w 74"/>
                <a:gd name="T77" fmla="*/ 18 h 74"/>
                <a:gd name="T78" fmla="*/ 38 w 74"/>
                <a:gd name="T79" fmla="*/ 18 h 74"/>
                <a:gd name="T80" fmla="*/ 30 w 74"/>
                <a:gd name="T81" fmla="*/ 20 h 74"/>
                <a:gd name="T82" fmla="*/ 24 w 74"/>
                <a:gd name="T83" fmla="*/ 24 h 74"/>
                <a:gd name="T84" fmla="*/ 20 w 74"/>
                <a:gd name="T85" fmla="*/ 30 h 74"/>
                <a:gd name="T86" fmla="*/ 18 w 74"/>
                <a:gd name="T87" fmla="*/ 36 h 74"/>
                <a:gd name="T88" fmla="*/ 18 w 74"/>
                <a:gd name="T89" fmla="*/ 36 h 74"/>
                <a:gd name="T90" fmla="*/ 20 w 74"/>
                <a:gd name="T91" fmla="*/ 44 h 74"/>
                <a:gd name="T92" fmla="*/ 24 w 74"/>
                <a:gd name="T93" fmla="*/ 50 h 74"/>
                <a:gd name="T94" fmla="*/ 30 w 74"/>
                <a:gd name="T95" fmla="*/ 54 h 74"/>
                <a:gd name="T96" fmla="*/ 38 w 74"/>
                <a:gd name="T97" fmla="*/ 56 h 74"/>
                <a:gd name="T98" fmla="*/ 38 w 74"/>
                <a:gd name="T99" fmla="*/ 56 h 74"/>
                <a:gd name="T100" fmla="*/ 44 w 74"/>
                <a:gd name="T101" fmla="*/ 54 h 74"/>
                <a:gd name="T102" fmla="*/ 50 w 74"/>
                <a:gd name="T103" fmla="*/ 50 h 74"/>
                <a:gd name="T104" fmla="*/ 54 w 74"/>
                <a:gd name="T105" fmla="*/ 44 h 74"/>
                <a:gd name="T106" fmla="*/ 56 w 74"/>
                <a:gd name="T107" fmla="*/ 36 h 74"/>
                <a:gd name="T108" fmla="*/ 56 w 74"/>
                <a:gd name="T109" fmla="*/ 36 h 74"/>
                <a:gd name="T110" fmla="*/ 54 w 74"/>
                <a:gd name="T111" fmla="*/ 30 h 74"/>
                <a:gd name="T112" fmla="*/ 50 w 74"/>
                <a:gd name="T113" fmla="*/ 24 h 74"/>
                <a:gd name="T114" fmla="*/ 44 w 74"/>
                <a:gd name="T115" fmla="*/ 20 h 74"/>
                <a:gd name="T116" fmla="*/ 38 w 74"/>
                <a:gd name="T117" fmla="*/ 18 h 74"/>
                <a:gd name="T118" fmla="*/ 38 w 74"/>
                <a:gd name="T119" fmla="*/ 18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4" h="74">
                  <a:moveTo>
                    <a:pt x="38" y="74"/>
                  </a:moveTo>
                  <a:lnTo>
                    <a:pt x="38" y="74"/>
                  </a:lnTo>
                  <a:lnTo>
                    <a:pt x="30" y="72"/>
                  </a:lnTo>
                  <a:lnTo>
                    <a:pt x="24" y="70"/>
                  </a:lnTo>
                  <a:lnTo>
                    <a:pt x="18" y="68"/>
                  </a:lnTo>
                  <a:lnTo>
                    <a:pt x="12" y="62"/>
                  </a:lnTo>
                  <a:lnTo>
                    <a:pt x="8" y="58"/>
                  </a:lnTo>
                  <a:lnTo>
                    <a:pt x="4" y="52"/>
                  </a:lnTo>
                  <a:lnTo>
                    <a:pt x="2" y="44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2" y="30"/>
                  </a:lnTo>
                  <a:lnTo>
                    <a:pt x="4" y="22"/>
                  </a:lnTo>
                  <a:lnTo>
                    <a:pt x="8" y="16"/>
                  </a:lnTo>
                  <a:lnTo>
                    <a:pt x="12" y="10"/>
                  </a:lnTo>
                  <a:lnTo>
                    <a:pt x="18" y="6"/>
                  </a:lnTo>
                  <a:lnTo>
                    <a:pt x="24" y="2"/>
                  </a:lnTo>
                  <a:lnTo>
                    <a:pt x="30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46" y="0"/>
                  </a:lnTo>
                  <a:lnTo>
                    <a:pt x="52" y="2"/>
                  </a:lnTo>
                  <a:lnTo>
                    <a:pt x="58" y="6"/>
                  </a:lnTo>
                  <a:lnTo>
                    <a:pt x="64" y="10"/>
                  </a:lnTo>
                  <a:lnTo>
                    <a:pt x="68" y="16"/>
                  </a:lnTo>
                  <a:lnTo>
                    <a:pt x="72" y="22"/>
                  </a:lnTo>
                  <a:lnTo>
                    <a:pt x="74" y="30"/>
                  </a:lnTo>
                  <a:lnTo>
                    <a:pt x="74" y="36"/>
                  </a:lnTo>
                  <a:lnTo>
                    <a:pt x="74" y="36"/>
                  </a:lnTo>
                  <a:lnTo>
                    <a:pt x="74" y="44"/>
                  </a:lnTo>
                  <a:lnTo>
                    <a:pt x="72" y="52"/>
                  </a:lnTo>
                  <a:lnTo>
                    <a:pt x="68" y="58"/>
                  </a:lnTo>
                  <a:lnTo>
                    <a:pt x="64" y="62"/>
                  </a:lnTo>
                  <a:lnTo>
                    <a:pt x="58" y="68"/>
                  </a:lnTo>
                  <a:lnTo>
                    <a:pt x="52" y="70"/>
                  </a:lnTo>
                  <a:lnTo>
                    <a:pt x="46" y="72"/>
                  </a:lnTo>
                  <a:lnTo>
                    <a:pt x="38" y="74"/>
                  </a:lnTo>
                  <a:lnTo>
                    <a:pt x="38" y="74"/>
                  </a:lnTo>
                  <a:close/>
                  <a:moveTo>
                    <a:pt x="38" y="18"/>
                  </a:moveTo>
                  <a:lnTo>
                    <a:pt x="38" y="18"/>
                  </a:lnTo>
                  <a:lnTo>
                    <a:pt x="30" y="20"/>
                  </a:lnTo>
                  <a:lnTo>
                    <a:pt x="24" y="24"/>
                  </a:lnTo>
                  <a:lnTo>
                    <a:pt x="20" y="30"/>
                  </a:lnTo>
                  <a:lnTo>
                    <a:pt x="18" y="36"/>
                  </a:lnTo>
                  <a:lnTo>
                    <a:pt x="18" y="36"/>
                  </a:lnTo>
                  <a:lnTo>
                    <a:pt x="20" y="44"/>
                  </a:lnTo>
                  <a:lnTo>
                    <a:pt x="24" y="50"/>
                  </a:lnTo>
                  <a:lnTo>
                    <a:pt x="30" y="54"/>
                  </a:lnTo>
                  <a:lnTo>
                    <a:pt x="38" y="56"/>
                  </a:lnTo>
                  <a:lnTo>
                    <a:pt x="38" y="56"/>
                  </a:lnTo>
                  <a:lnTo>
                    <a:pt x="44" y="54"/>
                  </a:lnTo>
                  <a:lnTo>
                    <a:pt x="50" y="50"/>
                  </a:lnTo>
                  <a:lnTo>
                    <a:pt x="54" y="44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4" y="30"/>
                  </a:lnTo>
                  <a:lnTo>
                    <a:pt x="50" y="24"/>
                  </a:lnTo>
                  <a:lnTo>
                    <a:pt x="44" y="20"/>
                  </a:lnTo>
                  <a:lnTo>
                    <a:pt x="38" y="18"/>
                  </a:lnTo>
                  <a:lnTo>
                    <a:pt x="38" y="18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9CD3C9C0-4A6C-40F5-B780-1F05A0386C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66" y="1278"/>
              <a:ext cx="54" cy="18"/>
            </a:xfrm>
            <a:prstGeom prst="rect">
              <a:avLst/>
            </a:pr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9" name="Freeform 48">
              <a:extLst>
                <a:ext uri="{FF2B5EF4-FFF2-40B4-BE49-F238E27FC236}">
                  <a16:creationId xmlns:a16="http://schemas.microsoft.com/office/drawing/2014/main" id="{2C2E2BC0-D291-45EA-B43F-3B892474029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8" y="1272"/>
              <a:ext cx="182" cy="18"/>
            </a:xfrm>
            <a:custGeom>
              <a:avLst/>
              <a:gdLst>
                <a:gd name="T0" fmla="*/ 174 w 182"/>
                <a:gd name="T1" fmla="*/ 18 h 18"/>
                <a:gd name="T2" fmla="*/ 10 w 182"/>
                <a:gd name="T3" fmla="*/ 18 h 18"/>
                <a:gd name="T4" fmla="*/ 10 w 182"/>
                <a:gd name="T5" fmla="*/ 18 h 18"/>
                <a:gd name="T6" fmla="*/ 6 w 182"/>
                <a:gd name="T7" fmla="*/ 18 h 18"/>
                <a:gd name="T8" fmla="*/ 4 w 182"/>
                <a:gd name="T9" fmla="*/ 16 h 18"/>
                <a:gd name="T10" fmla="*/ 2 w 182"/>
                <a:gd name="T11" fmla="*/ 14 h 18"/>
                <a:gd name="T12" fmla="*/ 0 w 182"/>
                <a:gd name="T13" fmla="*/ 10 h 18"/>
                <a:gd name="T14" fmla="*/ 0 w 182"/>
                <a:gd name="T15" fmla="*/ 10 h 18"/>
                <a:gd name="T16" fmla="*/ 2 w 182"/>
                <a:gd name="T17" fmla="*/ 6 h 18"/>
                <a:gd name="T18" fmla="*/ 4 w 182"/>
                <a:gd name="T19" fmla="*/ 4 h 18"/>
                <a:gd name="T20" fmla="*/ 6 w 182"/>
                <a:gd name="T21" fmla="*/ 2 h 18"/>
                <a:gd name="T22" fmla="*/ 10 w 182"/>
                <a:gd name="T23" fmla="*/ 0 h 18"/>
                <a:gd name="T24" fmla="*/ 174 w 182"/>
                <a:gd name="T25" fmla="*/ 0 h 18"/>
                <a:gd name="T26" fmla="*/ 174 w 182"/>
                <a:gd name="T27" fmla="*/ 0 h 18"/>
                <a:gd name="T28" fmla="*/ 176 w 182"/>
                <a:gd name="T29" fmla="*/ 2 h 18"/>
                <a:gd name="T30" fmla="*/ 180 w 182"/>
                <a:gd name="T31" fmla="*/ 4 h 18"/>
                <a:gd name="T32" fmla="*/ 182 w 182"/>
                <a:gd name="T33" fmla="*/ 6 h 18"/>
                <a:gd name="T34" fmla="*/ 182 w 182"/>
                <a:gd name="T35" fmla="*/ 10 h 18"/>
                <a:gd name="T36" fmla="*/ 182 w 182"/>
                <a:gd name="T37" fmla="*/ 10 h 18"/>
                <a:gd name="T38" fmla="*/ 182 w 182"/>
                <a:gd name="T39" fmla="*/ 14 h 18"/>
                <a:gd name="T40" fmla="*/ 180 w 182"/>
                <a:gd name="T41" fmla="*/ 16 h 18"/>
                <a:gd name="T42" fmla="*/ 176 w 182"/>
                <a:gd name="T43" fmla="*/ 18 h 18"/>
                <a:gd name="T44" fmla="*/ 174 w 182"/>
                <a:gd name="T45" fmla="*/ 18 h 18"/>
                <a:gd name="T46" fmla="*/ 174 w 182"/>
                <a:gd name="T4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82" h="18">
                  <a:moveTo>
                    <a:pt x="174" y="18"/>
                  </a:moveTo>
                  <a:lnTo>
                    <a:pt x="10" y="18"/>
                  </a:lnTo>
                  <a:lnTo>
                    <a:pt x="10" y="18"/>
                  </a:lnTo>
                  <a:lnTo>
                    <a:pt x="6" y="18"/>
                  </a:lnTo>
                  <a:lnTo>
                    <a:pt x="4" y="16"/>
                  </a:lnTo>
                  <a:lnTo>
                    <a:pt x="2" y="14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2" y="6"/>
                  </a:lnTo>
                  <a:lnTo>
                    <a:pt x="4" y="4"/>
                  </a:lnTo>
                  <a:lnTo>
                    <a:pt x="6" y="2"/>
                  </a:lnTo>
                  <a:lnTo>
                    <a:pt x="10" y="0"/>
                  </a:lnTo>
                  <a:lnTo>
                    <a:pt x="174" y="0"/>
                  </a:lnTo>
                  <a:lnTo>
                    <a:pt x="174" y="0"/>
                  </a:lnTo>
                  <a:lnTo>
                    <a:pt x="176" y="2"/>
                  </a:lnTo>
                  <a:lnTo>
                    <a:pt x="180" y="4"/>
                  </a:lnTo>
                  <a:lnTo>
                    <a:pt x="182" y="6"/>
                  </a:lnTo>
                  <a:lnTo>
                    <a:pt x="182" y="10"/>
                  </a:lnTo>
                  <a:lnTo>
                    <a:pt x="182" y="10"/>
                  </a:lnTo>
                  <a:lnTo>
                    <a:pt x="182" y="14"/>
                  </a:lnTo>
                  <a:lnTo>
                    <a:pt x="180" y="16"/>
                  </a:lnTo>
                  <a:lnTo>
                    <a:pt x="176" y="18"/>
                  </a:lnTo>
                  <a:lnTo>
                    <a:pt x="174" y="18"/>
                  </a:lnTo>
                  <a:lnTo>
                    <a:pt x="174" y="18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50" name="Freeform 49">
              <a:extLst>
                <a:ext uri="{FF2B5EF4-FFF2-40B4-BE49-F238E27FC236}">
                  <a16:creationId xmlns:a16="http://schemas.microsoft.com/office/drawing/2014/main" id="{2C9E0F69-8311-4B2E-87B1-0ADCF2DC940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90" y="1208"/>
              <a:ext cx="164" cy="18"/>
            </a:xfrm>
            <a:custGeom>
              <a:avLst/>
              <a:gdLst>
                <a:gd name="T0" fmla="*/ 156 w 164"/>
                <a:gd name="T1" fmla="*/ 18 h 18"/>
                <a:gd name="T2" fmla="*/ 8 w 164"/>
                <a:gd name="T3" fmla="*/ 18 h 18"/>
                <a:gd name="T4" fmla="*/ 8 w 164"/>
                <a:gd name="T5" fmla="*/ 18 h 18"/>
                <a:gd name="T6" fmla="*/ 6 w 164"/>
                <a:gd name="T7" fmla="*/ 18 h 18"/>
                <a:gd name="T8" fmla="*/ 2 w 164"/>
                <a:gd name="T9" fmla="*/ 16 h 18"/>
                <a:gd name="T10" fmla="*/ 0 w 164"/>
                <a:gd name="T11" fmla="*/ 12 h 18"/>
                <a:gd name="T12" fmla="*/ 0 w 164"/>
                <a:gd name="T13" fmla="*/ 8 h 18"/>
                <a:gd name="T14" fmla="*/ 0 w 164"/>
                <a:gd name="T15" fmla="*/ 8 h 18"/>
                <a:gd name="T16" fmla="*/ 0 w 164"/>
                <a:gd name="T17" fmla="*/ 6 h 18"/>
                <a:gd name="T18" fmla="*/ 2 w 164"/>
                <a:gd name="T19" fmla="*/ 2 h 18"/>
                <a:gd name="T20" fmla="*/ 6 w 164"/>
                <a:gd name="T21" fmla="*/ 0 h 18"/>
                <a:gd name="T22" fmla="*/ 8 w 164"/>
                <a:gd name="T23" fmla="*/ 0 h 18"/>
                <a:gd name="T24" fmla="*/ 156 w 164"/>
                <a:gd name="T25" fmla="*/ 0 h 18"/>
                <a:gd name="T26" fmla="*/ 156 w 164"/>
                <a:gd name="T27" fmla="*/ 0 h 18"/>
                <a:gd name="T28" fmla="*/ 158 w 164"/>
                <a:gd name="T29" fmla="*/ 0 h 18"/>
                <a:gd name="T30" fmla="*/ 162 w 164"/>
                <a:gd name="T31" fmla="*/ 2 h 18"/>
                <a:gd name="T32" fmla="*/ 164 w 164"/>
                <a:gd name="T33" fmla="*/ 6 h 18"/>
                <a:gd name="T34" fmla="*/ 164 w 164"/>
                <a:gd name="T35" fmla="*/ 8 h 18"/>
                <a:gd name="T36" fmla="*/ 164 w 164"/>
                <a:gd name="T37" fmla="*/ 8 h 18"/>
                <a:gd name="T38" fmla="*/ 164 w 164"/>
                <a:gd name="T39" fmla="*/ 12 h 18"/>
                <a:gd name="T40" fmla="*/ 162 w 164"/>
                <a:gd name="T41" fmla="*/ 16 h 18"/>
                <a:gd name="T42" fmla="*/ 158 w 164"/>
                <a:gd name="T43" fmla="*/ 18 h 18"/>
                <a:gd name="T44" fmla="*/ 156 w 164"/>
                <a:gd name="T45" fmla="*/ 18 h 18"/>
                <a:gd name="T46" fmla="*/ 156 w 164"/>
                <a:gd name="T4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64" h="18">
                  <a:moveTo>
                    <a:pt x="156" y="18"/>
                  </a:moveTo>
                  <a:lnTo>
                    <a:pt x="8" y="18"/>
                  </a:lnTo>
                  <a:lnTo>
                    <a:pt x="8" y="18"/>
                  </a:lnTo>
                  <a:lnTo>
                    <a:pt x="6" y="18"/>
                  </a:lnTo>
                  <a:lnTo>
                    <a:pt x="2" y="16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6"/>
                  </a:lnTo>
                  <a:lnTo>
                    <a:pt x="2" y="2"/>
                  </a:lnTo>
                  <a:lnTo>
                    <a:pt x="6" y="0"/>
                  </a:lnTo>
                  <a:lnTo>
                    <a:pt x="8" y="0"/>
                  </a:lnTo>
                  <a:lnTo>
                    <a:pt x="156" y="0"/>
                  </a:lnTo>
                  <a:lnTo>
                    <a:pt x="156" y="0"/>
                  </a:lnTo>
                  <a:lnTo>
                    <a:pt x="158" y="0"/>
                  </a:lnTo>
                  <a:lnTo>
                    <a:pt x="162" y="2"/>
                  </a:lnTo>
                  <a:lnTo>
                    <a:pt x="164" y="6"/>
                  </a:lnTo>
                  <a:lnTo>
                    <a:pt x="164" y="8"/>
                  </a:lnTo>
                  <a:lnTo>
                    <a:pt x="164" y="8"/>
                  </a:lnTo>
                  <a:lnTo>
                    <a:pt x="164" y="12"/>
                  </a:lnTo>
                  <a:lnTo>
                    <a:pt x="162" y="16"/>
                  </a:lnTo>
                  <a:lnTo>
                    <a:pt x="158" y="18"/>
                  </a:lnTo>
                  <a:lnTo>
                    <a:pt x="156" y="18"/>
                  </a:lnTo>
                  <a:lnTo>
                    <a:pt x="156" y="18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51" name="Freeform 50">
              <a:extLst>
                <a:ext uri="{FF2B5EF4-FFF2-40B4-BE49-F238E27FC236}">
                  <a16:creationId xmlns:a16="http://schemas.microsoft.com/office/drawing/2014/main" id="{DFF8E254-791B-417D-81DA-5B31DFE9146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8" y="1144"/>
              <a:ext cx="152" cy="18"/>
            </a:xfrm>
            <a:custGeom>
              <a:avLst/>
              <a:gdLst>
                <a:gd name="T0" fmla="*/ 144 w 152"/>
                <a:gd name="T1" fmla="*/ 18 h 18"/>
                <a:gd name="T2" fmla="*/ 8 w 152"/>
                <a:gd name="T3" fmla="*/ 18 h 18"/>
                <a:gd name="T4" fmla="*/ 8 w 152"/>
                <a:gd name="T5" fmla="*/ 18 h 18"/>
                <a:gd name="T6" fmla="*/ 4 w 152"/>
                <a:gd name="T7" fmla="*/ 16 h 18"/>
                <a:gd name="T8" fmla="*/ 2 w 152"/>
                <a:gd name="T9" fmla="*/ 14 h 18"/>
                <a:gd name="T10" fmla="*/ 0 w 152"/>
                <a:gd name="T11" fmla="*/ 12 h 18"/>
                <a:gd name="T12" fmla="*/ 0 w 152"/>
                <a:gd name="T13" fmla="*/ 8 h 18"/>
                <a:gd name="T14" fmla="*/ 0 w 152"/>
                <a:gd name="T15" fmla="*/ 8 h 18"/>
                <a:gd name="T16" fmla="*/ 0 w 152"/>
                <a:gd name="T17" fmla="*/ 4 h 18"/>
                <a:gd name="T18" fmla="*/ 2 w 152"/>
                <a:gd name="T19" fmla="*/ 2 h 18"/>
                <a:gd name="T20" fmla="*/ 4 w 152"/>
                <a:gd name="T21" fmla="*/ 0 h 18"/>
                <a:gd name="T22" fmla="*/ 8 w 152"/>
                <a:gd name="T23" fmla="*/ 0 h 18"/>
                <a:gd name="T24" fmla="*/ 144 w 152"/>
                <a:gd name="T25" fmla="*/ 0 h 18"/>
                <a:gd name="T26" fmla="*/ 144 w 152"/>
                <a:gd name="T27" fmla="*/ 0 h 18"/>
                <a:gd name="T28" fmla="*/ 146 w 152"/>
                <a:gd name="T29" fmla="*/ 0 h 18"/>
                <a:gd name="T30" fmla="*/ 150 w 152"/>
                <a:gd name="T31" fmla="*/ 2 h 18"/>
                <a:gd name="T32" fmla="*/ 152 w 152"/>
                <a:gd name="T33" fmla="*/ 4 h 18"/>
                <a:gd name="T34" fmla="*/ 152 w 152"/>
                <a:gd name="T35" fmla="*/ 8 h 18"/>
                <a:gd name="T36" fmla="*/ 152 w 152"/>
                <a:gd name="T37" fmla="*/ 8 h 18"/>
                <a:gd name="T38" fmla="*/ 152 w 152"/>
                <a:gd name="T39" fmla="*/ 12 h 18"/>
                <a:gd name="T40" fmla="*/ 150 w 152"/>
                <a:gd name="T41" fmla="*/ 14 h 18"/>
                <a:gd name="T42" fmla="*/ 146 w 152"/>
                <a:gd name="T43" fmla="*/ 16 h 18"/>
                <a:gd name="T44" fmla="*/ 144 w 152"/>
                <a:gd name="T45" fmla="*/ 18 h 18"/>
                <a:gd name="T46" fmla="*/ 144 w 152"/>
                <a:gd name="T4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52" h="18">
                  <a:moveTo>
                    <a:pt x="144" y="18"/>
                  </a:moveTo>
                  <a:lnTo>
                    <a:pt x="8" y="18"/>
                  </a:lnTo>
                  <a:lnTo>
                    <a:pt x="8" y="18"/>
                  </a:lnTo>
                  <a:lnTo>
                    <a:pt x="4" y="16"/>
                  </a:lnTo>
                  <a:lnTo>
                    <a:pt x="2" y="14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2" y="2"/>
                  </a:lnTo>
                  <a:lnTo>
                    <a:pt x="4" y="0"/>
                  </a:lnTo>
                  <a:lnTo>
                    <a:pt x="8" y="0"/>
                  </a:lnTo>
                  <a:lnTo>
                    <a:pt x="144" y="0"/>
                  </a:lnTo>
                  <a:lnTo>
                    <a:pt x="144" y="0"/>
                  </a:lnTo>
                  <a:lnTo>
                    <a:pt x="146" y="0"/>
                  </a:lnTo>
                  <a:lnTo>
                    <a:pt x="150" y="2"/>
                  </a:lnTo>
                  <a:lnTo>
                    <a:pt x="152" y="4"/>
                  </a:lnTo>
                  <a:lnTo>
                    <a:pt x="152" y="8"/>
                  </a:lnTo>
                  <a:lnTo>
                    <a:pt x="152" y="8"/>
                  </a:lnTo>
                  <a:lnTo>
                    <a:pt x="152" y="12"/>
                  </a:lnTo>
                  <a:lnTo>
                    <a:pt x="150" y="14"/>
                  </a:lnTo>
                  <a:lnTo>
                    <a:pt x="146" y="16"/>
                  </a:lnTo>
                  <a:lnTo>
                    <a:pt x="144" y="18"/>
                  </a:lnTo>
                  <a:lnTo>
                    <a:pt x="144" y="18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52" name="Freeform 51">
              <a:extLst>
                <a:ext uri="{FF2B5EF4-FFF2-40B4-BE49-F238E27FC236}">
                  <a16:creationId xmlns:a16="http://schemas.microsoft.com/office/drawing/2014/main" id="{7E45F755-112E-4EC0-BB0F-EA319C0042BD}"/>
                </a:ext>
              </a:extLst>
            </p:cNvPr>
            <p:cNvSpPr>
              <a:spLocks/>
            </p:cNvSpPr>
            <p:nvPr/>
          </p:nvSpPr>
          <p:spPr bwMode="auto">
            <a:xfrm>
              <a:off x="4590" y="1078"/>
              <a:ext cx="164" cy="18"/>
            </a:xfrm>
            <a:custGeom>
              <a:avLst/>
              <a:gdLst>
                <a:gd name="T0" fmla="*/ 156 w 164"/>
                <a:gd name="T1" fmla="*/ 18 h 18"/>
                <a:gd name="T2" fmla="*/ 8 w 164"/>
                <a:gd name="T3" fmla="*/ 18 h 18"/>
                <a:gd name="T4" fmla="*/ 8 w 164"/>
                <a:gd name="T5" fmla="*/ 18 h 18"/>
                <a:gd name="T6" fmla="*/ 6 w 164"/>
                <a:gd name="T7" fmla="*/ 18 h 18"/>
                <a:gd name="T8" fmla="*/ 2 w 164"/>
                <a:gd name="T9" fmla="*/ 16 h 18"/>
                <a:gd name="T10" fmla="*/ 0 w 164"/>
                <a:gd name="T11" fmla="*/ 14 h 18"/>
                <a:gd name="T12" fmla="*/ 0 w 164"/>
                <a:gd name="T13" fmla="*/ 10 h 18"/>
                <a:gd name="T14" fmla="*/ 0 w 164"/>
                <a:gd name="T15" fmla="*/ 10 h 18"/>
                <a:gd name="T16" fmla="*/ 0 w 164"/>
                <a:gd name="T17" fmla="*/ 6 h 18"/>
                <a:gd name="T18" fmla="*/ 2 w 164"/>
                <a:gd name="T19" fmla="*/ 4 h 18"/>
                <a:gd name="T20" fmla="*/ 6 w 164"/>
                <a:gd name="T21" fmla="*/ 2 h 18"/>
                <a:gd name="T22" fmla="*/ 8 w 164"/>
                <a:gd name="T23" fmla="*/ 0 h 18"/>
                <a:gd name="T24" fmla="*/ 156 w 164"/>
                <a:gd name="T25" fmla="*/ 0 h 18"/>
                <a:gd name="T26" fmla="*/ 156 w 164"/>
                <a:gd name="T27" fmla="*/ 0 h 18"/>
                <a:gd name="T28" fmla="*/ 158 w 164"/>
                <a:gd name="T29" fmla="*/ 2 h 18"/>
                <a:gd name="T30" fmla="*/ 162 w 164"/>
                <a:gd name="T31" fmla="*/ 4 h 18"/>
                <a:gd name="T32" fmla="*/ 164 w 164"/>
                <a:gd name="T33" fmla="*/ 6 h 18"/>
                <a:gd name="T34" fmla="*/ 164 w 164"/>
                <a:gd name="T35" fmla="*/ 10 h 18"/>
                <a:gd name="T36" fmla="*/ 164 w 164"/>
                <a:gd name="T37" fmla="*/ 10 h 18"/>
                <a:gd name="T38" fmla="*/ 164 w 164"/>
                <a:gd name="T39" fmla="*/ 14 h 18"/>
                <a:gd name="T40" fmla="*/ 162 w 164"/>
                <a:gd name="T41" fmla="*/ 16 h 18"/>
                <a:gd name="T42" fmla="*/ 158 w 164"/>
                <a:gd name="T43" fmla="*/ 18 h 18"/>
                <a:gd name="T44" fmla="*/ 156 w 164"/>
                <a:gd name="T45" fmla="*/ 18 h 18"/>
                <a:gd name="T46" fmla="*/ 156 w 164"/>
                <a:gd name="T4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64" h="18">
                  <a:moveTo>
                    <a:pt x="156" y="18"/>
                  </a:moveTo>
                  <a:lnTo>
                    <a:pt x="8" y="18"/>
                  </a:lnTo>
                  <a:lnTo>
                    <a:pt x="8" y="18"/>
                  </a:lnTo>
                  <a:lnTo>
                    <a:pt x="6" y="18"/>
                  </a:lnTo>
                  <a:lnTo>
                    <a:pt x="2" y="16"/>
                  </a:lnTo>
                  <a:lnTo>
                    <a:pt x="0" y="14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6"/>
                  </a:lnTo>
                  <a:lnTo>
                    <a:pt x="2" y="4"/>
                  </a:lnTo>
                  <a:lnTo>
                    <a:pt x="6" y="2"/>
                  </a:lnTo>
                  <a:lnTo>
                    <a:pt x="8" y="0"/>
                  </a:lnTo>
                  <a:lnTo>
                    <a:pt x="156" y="0"/>
                  </a:lnTo>
                  <a:lnTo>
                    <a:pt x="156" y="0"/>
                  </a:lnTo>
                  <a:lnTo>
                    <a:pt x="158" y="2"/>
                  </a:lnTo>
                  <a:lnTo>
                    <a:pt x="162" y="4"/>
                  </a:lnTo>
                  <a:lnTo>
                    <a:pt x="164" y="6"/>
                  </a:lnTo>
                  <a:lnTo>
                    <a:pt x="164" y="10"/>
                  </a:lnTo>
                  <a:lnTo>
                    <a:pt x="164" y="10"/>
                  </a:lnTo>
                  <a:lnTo>
                    <a:pt x="164" y="14"/>
                  </a:lnTo>
                  <a:lnTo>
                    <a:pt x="162" y="16"/>
                  </a:lnTo>
                  <a:lnTo>
                    <a:pt x="158" y="18"/>
                  </a:lnTo>
                  <a:lnTo>
                    <a:pt x="156" y="18"/>
                  </a:lnTo>
                  <a:lnTo>
                    <a:pt x="156" y="18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53" name="Freeform 52">
              <a:extLst>
                <a:ext uri="{FF2B5EF4-FFF2-40B4-BE49-F238E27FC236}">
                  <a16:creationId xmlns:a16="http://schemas.microsoft.com/office/drawing/2014/main" id="{88DEC98E-8342-498A-ACAC-44F173258A4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8" y="1014"/>
              <a:ext cx="182" cy="18"/>
            </a:xfrm>
            <a:custGeom>
              <a:avLst/>
              <a:gdLst>
                <a:gd name="T0" fmla="*/ 174 w 182"/>
                <a:gd name="T1" fmla="*/ 18 h 18"/>
                <a:gd name="T2" fmla="*/ 10 w 182"/>
                <a:gd name="T3" fmla="*/ 18 h 18"/>
                <a:gd name="T4" fmla="*/ 10 w 182"/>
                <a:gd name="T5" fmla="*/ 18 h 18"/>
                <a:gd name="T6" fmla="*/ 6 w 182"/>
                <a:gd name="T7" fmla="*/ 18 h 18"/>
                <a:gd name="T8" fmla="*/ 4 w 182"/>
                <a:gd name="T9" fmla="*/ 16 h 18"/>
                <a:gd name="T10" fmla="*/ 2 w 182"/>
                <a:gd name="T11" fmla="*/ 12 h 18"/>
                <a:gd name="T12" fmla="*/ 0 w 182"/>
                <a:gd name="T13" fmla="*/ 8 h 18"/>
                <a:gd name="T14" fmla="*/ 0 w 182"/>
                <a:gd name="T15" fmla="*/ 8 h 18"/>
                <a:gd name="T16" fmla="*/ 2 w 182"/>
                <a:gd name="T17" fmla="*/ 6 h 18"/>
                <a:gd name="T18" fmla="*/ 4 w 182"/>
                <a:gd name="T19" fmla="*/ 2 h 18"/>
                <a:gd name="T20" fmla="*/ 6 w 182"/>
                <a:gd name="T21" fmla="*/ 0 h 18"/>
                <a:gd name="T22" fmla="*/ 10 w 182"/>
                <a:gd name="T23" fmla="*/ 0 h 18"/>
                <a:gd name="T24" fmla="*/ 174 w 182"/>
                <a:gd name="T25" fmla="*/ 0 h 18"/>
                <a:gd name="T26" fmla="*/ 174 w 182"/>
                <a:gd name="T27" fmla="*/ 0 h 18"/>
                <a:gd name="T28" fmla="*/ 176 w 182"/>
                <a:gd name="T29" fmla="*/ 0 h 18"/>
                <a:gd name="T30" fmla="*/ 180 w 182"/>
                <a:gd name="T31" fmla="*/ 2 h 18"/>
                <a:gd name="T32" fmla="*/ 182 w 182"/>
                <a:gd name="T33" fmla="*/ 6 h 18"/>
                <a:gd name="T34" fmla="*/ 182 w 182"/>
                <a:gd name="T35" fmla="*/ 8 h 18"/>
                <a:gd name="T36" fmla="*/ 182 w 182"/>
                <a:gd name="T37" fmla="*/ 8 h 18"/>
                <a:gd name="T38" fmla="*/ 182 w 182"/>
                <a:gd name="T39" fmla="*/ 12 h 18"/>
                <a:gd name="T40" fmla="*/ 180 w 182"/>
                <a:gd name="T41" fmla="*/ 16 h 18"/>
                <a:gd name="T42" fmla="*/ 176 w 182"/>
                <a:gd name="T43" fmla="*/ 18 h 18"/>
                <a:gd name="T44" fmla="*/ 174 w 182"/>
                <a:gd name="T45" fmla="*/ 18 h 18"/>
                <a:gd name="T46" fmla="*/ 174 w 182"/>
                <a:gd name="T4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82" h="18">
                  <a:moveTo>
                    <a:pt x="174" y="18"/>
                  </a:moveTo>
                  <a:lnTo>
                    <a:pt x="10" y="18"/>
                  </a:lnTo>
                  <a:lnTo>
                    <a:pt x="10" y="18"/>
                  </a:lnTo>
                  <a:lnTo>
                    <a:pt x="6" y="18"/>
                  </a:lnTo>
                  <a:lnTo>
                    <a:pt x="4" y="16"/>
                  </a:lnTo>
                  <a:lnTo>
                    <a:pt x="2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2" y="6"/>
                  </a:lnTo>
                  <a:lnTo>
                    <a:pt x="4" y="2"/>
                  </a:lnTo>
                  <a:lnTo>
                    <a:pt x="6" y="0"/>
                  </a:lnTo>
                  <a:lnTo>
                    <a:pt x="10" y="0"/>
                  </a:lnTo>
                  <a:lnTo>
                    <a:pt x="174" y="0"/>
                  </a:lnTo>
                  <a:lnTo>
                    <a:pt x="174" y="0"/>
                  </a:lnTo>
                  <a:lnTo>
                    <a:pt x="176" y="0"/>
                  </a:lnTo>
                  <a:lnTo>
                    <a:pt x="180" y="2"/>
                  </a:lnTo>
                  <a:lnTo>
                    <a:pt x="182" y="6"/>
                  </a:lnTo>
                  <a:lnTo>
                    <a:pt x="182" y="8"/>
                  </a:lnTo>
                  <a:lnTo>
                    <a:pt x="182" y="8"/>
                  </a:lnTo>
                  <a:lnTo>
                    <a:pt x="182" y="12"/>
                  </a:lnTo>
                  <a:lnTo>
                    <a:pt x="180" y="16"/>
                  </a:lnTo>
                  <a:lnTo>
                    <a:pt x="176" y="18"/>
                  </a:lnTo>
                  <a:lnTo>
                    <a:pt x="174" y="18"/>
                  </a:lnTo>
                  <a:lnTo>
                    <a:pt x="174" y="18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2DA8ACDA-6562-4057-9555-711847BEB19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167741" y="1269755"/>
            <a:ext cx="691182" cy="639729"/>
            <a:chOff x="505" y="848"/>
            <a:chExt cx="806" cy="746"/>
          </a:xfrm>
        </p:grpSpPr>
        <p:sp>
          <p:nvSpPr>
            <p:cNvPr id="17" name="AutoShape 3">
              <a:extLst>
                <a:ext uri="{FF2B5EF4-FFF2-40B4-BE49-F238E27FC236}">
                  <a16:creationId xmlns:a16="http://schemas.microsoft.com/office/drawing/2014/main" id="{8B375EE2-42F0-4DC3-B1BB-23369FC80C8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05" y="848"/>
              <a:ext cx="806" cy="7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33738A29-F91A-4DF4-8CE4-F5F433951C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5" y="1340"/>
              <a:ext cx="210" cy="254"/>
            </a:xfrm>
            <a:custGeom>
              <a:avLst/>
              <a:gdLst>
                <a:gd name="T0" fmla="*/ 210 w 210"/>
                <a:gd name="T1" fmla="*/ 254 h 254"/>
                <a:gd name="T2" fmla="*/ 0 w 210"/>
                <a:gd name="T3" fmla="*/ 254 h 254"/>
                <a:gd name="T4" fmla="*/ 0 w 210"/>
                <a:gd name="T5" fmla="*/ 0 h 254"/>
                <a:gd name="T6" fmla="*/ 152 w 210"/>
                <a:gd name="T7" fmla="*/ 0 h 254"/>
                <a:gd name="T8" fmla="*/ 210 w 210"/>
                <a:gd name="T9" fmla="*/ 58 h 254"/>
                <a:gd name="T10" fmla="*/ 210 w 210"/>
                <a:gd name="T11" fmla="*/ 254 h 254"/>
                <a:gd name="T12" fmla="*/ 18 w 210"/>
                <a:gd name="T13" fmla="*/ 236 h 254"/>
                <a:gd name="T14" fmla="*/ 192 w 210"/>
                <a:gd name="T15" fmla="*/ 236 h 254"/>
                <a:gd name="T16" fmla="*/ 192 w 210"/>
                <a:gd name="T17" fmla="*/ 64 h 254"/>
                <a:gd name="T18" fmla="*/ 144 w 210"/>
                <a:gd name="T19" fmla="*/ 18 h 254"/>
                <a:gd name="T20" fmla="*/ 18 w 210"/>
                <a:gd name="T21" fmla="*/ 18 h 254"/>
                <a:gd name="T22" fmla="*/ 18 w 210"/>
                <a:gd name="T23" fmla="*/ 236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0" h="254">
                  <a:moveTo>
                    <a:pt x="210" y="254"/>
                  </a:moveTo>
                  <a:lnTo>
                    <a:pt x="0" y="254"/>
                  </a:lnTo>
                  <a:lnTo>
                    <a:pt x="0" y="0"/>
                  </a:lnTo>
                  <a:lnTo>
                    <a:pt x="152" y="0"/>
                  </a:lnTo>
                  <a:lnTo>
                    <a:pt x="210" y="58"/>
                  </a:lnTo>
                  <a:lnTo>
                    <a:pt x="210" y="254"/>
                  </a:lnTo>
                  <a:close/>
                  <a:moveTo>
                    <a:pt x="18" y="236"/>
                  </a:moveTo>
                  <a:lnTo>
                    <a:pt x="192" y="236"/>
                  </a:lnTo>
                  <a:lnTo>
                    <a:pt x="192" y="64"/>
                  </a:lnTo>
                  <a:lnTo>
                    <a:pt x="144" y="18"/>
                  </a:lnTo>
                  <a:lnTo>
                    <a:pt x="18" y="18"/>
                  </a:lnTo>
                  <a:lnTo>
                    <a:pt x="18" y="236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0AD05870-59FE-4D52-AF4C-36FFA002C1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9" y="1434"/>
              <a:ext cx="122" cy="18"/>
            </a:xfrm>
            <a:prstGeom prst="rect">
              <a:avLst/>
            </a:pr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9BB62F56-2DA3-4442-ABBE-A25A779083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9" y="1480"/>
              <a:ext cx="122" cy="18"/>
            </a:xfrm>
            <a:prstGeom prst="rect">
              <a:avLst/>
            </a:pr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881072CF-5A7E-49EB-83C0-79579950D4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9" y="1526"/>
              <a:ext cx="122" cy="18"/>
            </a:xfrm>
            <a:prstGeom prst="rect">
              <a:avLst/>
            </a:pr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A2ACBEF6-72F7-4B02-A8DA-04B2580F964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5" y="1340"/>
              <a:ext cx="208" cy="254"/>
            </a:xfrm>
            <a:custGeom>
              <a:avLst/>
              <a:gdLst>
                <a:gd name="T0" fmla="*/ 208 w 208"/>
                <a:gd name="T1" fmla="*/ 254 h 254"/>
                <a:gd name="T2" fmla="*/ 0 w 208"/>
                <a:gd name="T3" fmla="*/ 254 h 254"/>
                <a:gd name="T4" fmla="*/ 0 w 208"/>
                <a:gd name="T5" fmla="*/ 0 h 254"/>
                <a:gd name="T6" fmla="*/ 150 w 208"/>
                <a:gd name="T7" fmla="*/ 0 h 254"/>
                <a:gd name="T8" fmla="*/ 208 w 208"/>
                <a:gd name="T9" fmla="*/ 58 h 254"/>
                <a:gd name="T10" fmla="*/ 208 w 208"/>
                <a:gd name="T11" fmla="*/ 254 h 254"/>
                <a:gd name="T12" fmla="*/ 18 w 208"/>
                <a:gd name="T13" fmla="*/ 236 h 254"/>
                <a:gd name="T14" fmla="*/ 190 w 208"/>
                <a:gd name="T15" fmla="*/ 236 h 254"/>
                <a:gd name="T16" fmla="*/ 190 w 208"/>
                <a:gd name="T17" fmla="*/ 64 h 254"/>
                <a:gd name="T18" fmla="*/ 142 w 208"/>
                <a:gd name="T19" fmla="*/ 18 h 254"/>
                <a:gd name="T20" fmla="*/ 18 w 208"/>
                <a:gd name="T21" fmla="*/ 18 h 254"/>
                <a:gd name="T22" fmla="*/ 18 w 208"/>
                <a:gd name="T23" fmla="*/ 236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08" h="254">
                  <a:moveTo>
                    <a:pt x="208" y="254"/>
                  </a:moveTo>
                  <a:lnTo>
                    <a:pt x="0" y="254"/>
                  </a:lnTo>
                  <a:lnTo>
                    <a:pt x="0" y="0"/>
                  </a:lnTo>
                  <a:lnTo>
                    <a:pt x="150" y="0"/>
                  </a:lnTo>
                  <a:lnTo>
                    <a:pt x="208" y="58"/>
                  </a:lnTo>
                  <a:lnTo>
                    <a:pt x="208" y="254"/>
                  </a:lnTo>
                  <a:close/>
                  <a:moveTo>
                    <a:pt x="18" y="236"/>
                  </a:moveTo>
                  <a:lnTo>
                    <a:pt x="190" y="236"/>
                  </a:lnTo>
                  <a:lnTo>
                    <a:pt x="190" y="64"/>
                  </a:lnTo>
                  <a:lnTo>
                    <a:pt x="142" y="18"/>
                  </a:lnTo>
                  <a:lnTo>
                    <a:pt x="18" y="18"/>
                  </a:lnTo>
                  <a:lnTo>
                    <a:pt x="18" y="236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B3C97694-F655-45D0-A6BF-3708EBA4BD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7" y="1434"/>
              <a:ext cx="122" cy="18"/>
            </a:xfrm>
            <a:prstGeom prst="rect">
              <a:avLst/>
            </a:pr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A5246556-7185-4CDA-B8A1-4DC70F56C0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7" y="1480"/>
              <a:ext cx="122" cy="18"/>
            </a:xfrm>
            <a:prstGeom prst="rect">
              <a:avLst/>
            </a:pr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4B47320B-1AD6-49AF-8CB0-F1BB733478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7" y="1526"/>
              <a:ext cx="122" cy="18"/>
            </a:xfrm>
            <a:prstGeom prst="rect">
              <a:avLst/>
            </a:pr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BE40F4AB-5C17-4926-9465-4D3FA734F79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3" y="1340"/>
              <a:ext cx="208" cy="254"/>
            </a:xfrm>
            <a:custGeom>
              <a:avLst/>
              <a:gdLst>
                <a:gd name="T0" fmla="*/ 208 w 208"/>
                <a:gd name="T1" fmla="*/ 254 h 254"/>
                <a:gd name="T2" fmla="*/ 0 w 208"/>
                <a:gd name="T3" fmla="*/ 254 h 254"/>
                <a:gd name="T4" fmla="*/ 0 w 208"/>
                <a:gd name="T5" fmla="*/ 0 h 254"/>
                <a:gd name="T6" fmla="*/ 150 w 208"/>
                <a:gd name="T7" fmla="*/ 0 h 254"/>
                <a:gd name="T8" fmla="*/ 208 w 208"/>
                <a:gd name="T9" fmla="*/ 58 h 254"/>
                <a:gd name="T10" fmla="*/ 208 w 208"/>
                <a:gd name="T11" fmla="*/ 254 h 254"/>
                <a:gd name="T12" fmla="*/ 18 w 208"/>
                <a:gd name="T13" fmla="*/ 236 h 254"/>
                <a:gd name="T14" fmla="*/ 190 w 208"/>
                <a:gd name="T15" fmla="*/ 236 h 254"/>
                <a:gd name="T16" fmla="*/ 190 w 208"/>
                <a:gd name="T17" fmla="*/ 64 h 254"/>
                <a:gd name="T18" fmla="*/ 142 w 208"/>
                <a:gd name="T19" fmla="*/ 18 h 254"/>
                <a:gd name="T20" fmla="*/ 18 w 208"/>
                <a:gd name="T21" fmla="*/ 18 h 254"/>
                <a:gd name="T22" fmla="*/ 18 w 208"/>
                <a:gd name="T23" fmla="*/ 236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08" h="254">
                  <a:moveTo>
                    <a:pt x="208" y="254"/>
                  </a:moveTo>
                  <a:lnTo>
                    <a:pt x="0" y="254"/>
                  </a:lnTo>
                  <a:lnTo>
                    <a:pt x="0" y="0"/>
                  </a:lnTo>
                  <a:lnTo>
                    <a:pt x="150" y="0"/>
                  </a:lnTo>
                  <a:lnTo>
                    <a:pt x="208" y="58"/>
                  </a:lnTo>
                  <a:lnTo>
                    <a:pt x="208" y="254"/>
                  </a:lnTo>
                  <a:close/>
                  <a:moveTo>
                    <a:pt x="18" y="236"/>
                  </a:moveTo>
                  <a:lnTo>
                    <a:pt x="190" y="236"/>
                  </a:lnTo>
                  <a:lnTo>
                    <a:pt x="190" y="64"/>
                  </a:lnTo>
                  <a:lnTo>
                    <a:pt x="142" y="18"/>
                  </a:lnTo>
                  <a:lnTo>
                    <a:pt x="18" y="18"/>
                  </a:lnTo>
                  <a:lnTo>
                    <a:pt x="18" y="236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4222F7F9-3A5E-498B-867B-C925400888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45" y="1434"/>
              <a:ext cx="124" cy="18"/>
            </a:xfrm>
            <a:prstGeom prst="rect">
              <a:avLst/>
            </a:pr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729A99B8-1EA3-46F5-8879-43C654B67F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45" y="1480"/>
              <a:ext cx="124" cy="18"/>
            </a:xfrm>
            <a:prstGeom prst="rect">
              <a:avLst/>
            </a:pr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F2B9F7B8-094A-4005-A079-11E102520A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45" y="1526"/>
              <a:ext cx="124" cy="18"/>
            </a:xfrm>
            <a:prstGeom prst="rect">
              <a:avLst/>
            </a:pr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B5B48438-2D81-415D-A534-331FBD1AC7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5" y="848"/>
              <a:ext cx="208" cy="210"/>
            </a:xfrm>
            <a:custGeom>
              <a:avLst/>
              <a:gdLst>
                <a:gd name="T0" fmla="*/ 104 w 208"/>
                <a:gd name="T1" fmla="*/ 210 h 210"/>
                <a:gd name="T2" fmla="*/ 62 w 208"/>
                <a:gd name="T3" fmla="*/ 200 h 210"/>
                <a:gd name="T4" fmla="*/ 30 w 208"/>
                <a:gd name="T5" fmla="*/ 178 h 210"/>
                <a:gd name="T6" fmla="*/ 8 w 208"/>
                <a:gd name="T7" fmla="*/ 146 h 210"/>
                <a:gd name="T8" fmla="*/ 0 w 208"/>
                <a:gd name="T9" fmla="*/ 104 h 210"/>
                <a:gd name="T10" fmla="*/ 2 w 208"/>
                <a:gd name="T11" fmla="*/ 84 h 210"/>
                <a:gd name="T12" fmla="*/ 16 w 208"/>
                <a:gd name="T13" fmla="*/ 46 h 210"/>
                <a:gd name="T14" fmla="*/ 46 w 208"/>
                <a:gd name="T15" fmla="*/ 18 h 210"/>
                <a:gd name="T16" fmla="*/ 82 w 208"/>
                <a:gd name="T17" fmla="*/ 2 h 210"/>
                <a:gd name="T18" fmla="*/ 104 w 208"/>
                <a:gd name="T19" fmla="*/ 0 h 210"/>
                <a:gd name="T20" fmla="*/ 144 w 208"/>
                <a:gd name="T21" fmla="*/ 8 h 210"/>
                <a:gd name="T22" fmla="*/ 178 w 208"/>
                <a:gd name="T23" fmla="*/ 32 h 210"/>
                <a:gd name="T24" fmla="*/ 200 w 208"/>
                <a:gd name="T25" fmla="*/ 64 h 210"/>
                <a:gd name="T26" fmla="*/ 208 w 208"/>
                <a:gd name="T27" fmla="*/ 104 h 210"/>
                <a:gd name="T28" fmla="*/ 206 w 208"/>
                <a:gd name="T29" fmla="*/ 126 h 210"/>
                <a:gd name="T30" fmla="*/ 190 w 208"/>
                <a:gd name="T31" fmla="*/ 162 h 210"/>
                <a:gd name="T32" fmla="*/ 162 w 208"/>
                <a:gd name="T33" fmla="*/ 192 h 210"/>
                <a:gd name="T34" fmla="*/ 124 w 208"/>
                <a:gd name="T35" fmla="*/ 206 h 210"/>
                <a:gd name="T36" fmla="*/ 104 w 208"/>
                <a:gd name="T37" fmla="*/ 210 h 210"/>
                <a:gd name="T38" fmla="*/ 104 w 208"/>
                <a:gd name="T39" fmla="*/ 18 h 210"/>
                <a:gd name="T40" fmla="*/ 70 w 208"/>
                <a:gd name="T41" fmla="*/ 26 h 210"/>
                <a:gd name="T42" fmla="*/ 42 w 208"/>
                <a:gd name="T43" fmla="*/ 44 h 210"/>
                <a:gd name="T44" fmla="*/ 24 w 208"/>
                <a:gd name="T45" fmla="*/ 72 h 210"/>
                <a:gd name="T46" fmla="*/ 18 w 208"/>
                <a:gd name="T47" fmla="*/ 104 h 210"/>
                <a:gd name="T48" fmla="*/ 18 w 208"/>
                <a:gd name="T49" fmla="*/ 122 h 210"/>
                <a:gd name="T50" fmla="*/ 32 w 208"/>
                <a:gd name="T51" fmla="*/ 152 h 210"/>
                <a:gd name="T52" fmla="*/ 56 w 208"/>
                <a:gd name="T53" fmla="*/ 176 h 210"/>
                <a:gd name="T54" fmla="*/ 86 w 208"/>
                <a:gd name="T55" fmla="*/ 190 h 210"/>
                <a:gd name="T56" fmla="*/ 104 w 208"/>
                <a:gd name="T57" fmla="*/ 192 h 210"/>
                <a:gd name="T58" fmla="*/ 136 w 208"/>
                <a:gd name="T59" fmla="*/ 184 h 210"/>
                <a:gd name="T60" fmla="*/ 164 w 208"/>
                <a:gd name="T61" fmla="*/ 166 h 210"/>
                <a:gd name="T62" fmla="*/ 182 w 208"/>
                <a:gd name="T63" fmla="*/ 138 h 210"/>
                <a:gd name="T64" fmla="*/ 190 w 208"/>
                <a:gd name="T65" fmla="*/ 104 h 210"/>
                <a:gd name="T66" fmla="*/ 188 w 208"/>
                <a:gd name="T67" fmla="*/ 88 h 210"/>
                <a:gd name="T68" fmla="*/ 174 w 208"/>
                <a:gd name="T69" fmla="*/ 56 h 210"/>
                <a:gd name="T70" fmla="*/ 152 w 208"/>
                <a:gd name="T71" fmla="*/ 34 h 210"/>
                <a:gd name="T72" fmla="*/ 120 w 208"/>
                <a:gd name="T73" fmla="*/ 20 h 210"/>
                <a:gd name="T74" fmla="*/ 104 w 208"/>
                <a:gd name="T75" fmla="*/ 18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08" h="210">
                  <a:moveTo>
                    <a:pt x="104" y="210"/>
                  </a:moveTo>
                  <a:lnTo>
                    <a:pt x="104" y="210"/>
                  </a:lnTo>
                  <a:lnTo>
                    <a:pt x="82" y="206"/>
                  </a:lnTo>
                  <a:lnTo>
                    <a:pt x="62" y="200"/>
                  </a:lnTo>
                  <a:lnTo>
                    <a:pt x="46" y="192"/>
                  </a:lnTo>
                  <a:lnTo>
                    <a:pt x="30" y="178"/>
                  </a:lnTo>
                  <a:lnTo>
                    <a:pt x="16" y="162"/>
                  </a:lnTo>
                  <a:lnTo>
                    <a:pt x="8" y="146"/>
                  </a:lnTo>
                  <a:lnTo>
                    <a:pt x="2" y="126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2" y="84"/>
                  </a:lnTo>
                  <a:lnTo>
                    <a:pt x="8" y="64"/>
                  </a:lnTo>
                  <a:lnTo>
                    <a:pt x="16" y="46"/>
                  </a:lnTo>
                  <a:lnTo>
                    <a:pt x="30" y="32"/>
                  </a:lnTo>
                  <a:lnTo>
                    <a:pt x="46" y="18"/>
                  </a:lnTo>
                  <a:lnTo>
                    <a:pt x="62" y="8"/>
                  </a:lnTo>
                  <a:lnTo>
                    <a:pt x="82" y="2"/>
                  </a:lnTo>
                  <a:lnTo>
                    <a:pt x="104" y="0"/>
                  </a:lnTo>
                  <a:lnTo>
                    <a:pt x="104" y="0"/>
                  </a:lnTo>
                  <a:lnTo>
                    <a:pt x="124" y="2"/>
                  </a:lnTo>
                  <a:lnTo>
                    <a:pt x="144" y="8"/>
                  </a:lnTo>
                  <a:lnTo>
                    <a:pt x="162" y="18"/>
                  </a:lnTo>
                  <a:lnTo>
                    <a:pt x="178" y="32"/>
                  </a:lnTo>
                  <a:lnTo>
                    <a:pt x="190" y="46"/>
                  </a:lnTo>
                  <a:lnTo>
                    <a:pt x="200" y="64"/>
                  </a:lnTo>
                  <a:lnTo>
                    <a:pt x="206" y="84"/>
                  </a:lnTo>
                  <a:lnTo>
                    <a:pt x="208" y="104"/>
                  </a:lnTo>
                  <a:lnTo>
                    <a:pt x="208" y="104"/>
                  </a:lnTo>
                  <a:lnTo>
                    <a:pt x="206" y="126"/>
                  </a:lnTo>
                  <a:lnTo>
                    <a:pt x="200" y="146"/>
                  </a:lnTo>
                  <a:lnTo>
                    <a:pt x="190" y="162"/>
                  </a:lnTo>
                  <a:lnTo>
                    <a:pt x="178" y="178"/>
                  </a:lnTo>
                  <a:lnTo>
                    <a:pt x="162" y="192"/>
                  </a:lnTo>
                  <a:lnTo>
                    <a:pt x="144" y="200"/>
                  </a:lnTo>
                  <a:lnTo>
                    <a:pt x="124" y="206"/>
                  </a:lnTo>
                  <a:lnTo>
                    <a:pt x="104" y="210"/>
                  </a:lnTo>
                  <a:lnTo>
                    <a:pt x="104" y="210"/>
                  </a:lnTo>
                  <a:close/>
                  <a:moveTo>
                    <a:pt x="104" y="18"/>
                  </a:moveTo>
                  <a:lnTo>
                    <a:pt x="104" y="18"/>
                  </a:lnTo>
                  <a:lnTo>
                    <a:pt x="86" y="20"/>
                  </a:lnTo>
                  <a:lnTo>
                    <a:pt x="70" y="26"/>
                  </a:lnTo>
                  <a:lnTo>
                    <a:pt x="56" y="34"/>
                  </a:lnTo>
                  <a:lnTo>
                    <a:pt x="42" y="44"/>
                  </a:lnTo>
                  <a:lnTo>
                    <a:pt x="32" y="56"/>
                  </a:lnTo>
                  <a:lnTo>
                    <a:pt x="24" y="72"/>
                  </a:lnTo>
                  <a:lnTo>
                    <a:pt x="18" y="88"/>
                  </a:lnTo>
                  <a:lnTo>
                    <a:pt x="18" y="104"/>
                  </a:lnTo>
                  <a:lnTo>
                    <a:pt x="18" y="104"/>
                  </a:lnTo>
                  <a:lnTo>
                    <a:pt x="18" y="122"/>
                  </a:lnTo>
                  <a:lnTo>
                    <a:pt x="24" y="138"/>
                  </a:lnTo>
                  <a:lnTo>
                    <a:pt x="32" y="152"/>
                  </a:lnTo>
                  <a:lnTo>
                    <a:pt x="42" y="166"/>
                  </a:lnTo>
                  <a:lnTo>
                    <a:pt x="56" y="176"/>
                  </a:lnTo>
                  <a:lnTo>
                    <a:pt x="70" y="184"/>
                  </a:lnTo>
                  <a:lnTo>
                    <a:pt x="86" y="190"/>
                  </a:lnTo>
                  <a:lnTo>
                    <a:pt x="104" y="192"/>
                  </a:lnTo>
                  <a:lnTo>
                    <a:pt x="104" y="192"/>
                  </a:lnTo>
                  <a:lnTo>
                    <a:pt x="120" y="190"/>
                  </a:lnTo>
                  <a:lnTo>
                    <a:pt x="136" y="184"/>
                  </a:lnTo>
                  <a:lnTo>
                    <a:pt x="152" y="176"/>
                  </a:lnTo>
                  <a:lnTo>
                    <a:pt x="164" y="166"/>
                  </a:lnTo>
                  <a:lnTo>
                    <a:pt x="174" y="152"/>
                  </a:lnTo>
                  <a:lnTo>
                    <a:pt x="182" y="138"/>
                  </a:lnTo>
                  <a:lnTo>
                    <a:pt x="188" y="122"/>
                  </a:lnTo>
                  <a:lnTo>
                    <a:pt x="190" y="104"/>
                  </a:lnTo>
                  <a:lnTo>
                    <a:pt x="190" y="104"/>
                  </a:lnTo>
                  <a:lnTo>
                    <a:pt x="188" y="88"/>
                  </a:lnTo>
                  <a:lnTo>
                    <a:pt x="182" y="72"/>
                  </a:lnTo>
                  <a:lnTo>
                    <a:pt x="174" y="56"/>
                  </a:lnTo>
                  <a:lnTo>
                    <a:pt x="164" y="44"/>
                  </a:lnTo>
                  <a:lnTo>
                    <a:pt x="152" y="34"/>
                  </a:lnTo>
                  <a:lnTo>
                    <a:pt x="136" y="26"/>
                  </a:lnTo>
                  <a:lnTo>
                    <a:pt x="120" y="20"/>
                  </a:lnTo>
                  <a:lnTo>
                    <a:pt x="104" y="18"/>
                  </a:lnTo>
                  <a:lnTo>
                    <a:pt x="104" y="18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79CA351D-F2C0-4E6A-8A1B-8F2702B3F8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7" y="1134"/>
              <a:ext cx="442" cy="150"/>
            </a:xfrm>
            <a:custGeom>
              <a:avLst/>
              <a:gdLst>
                <a:gd name="T0" fmla="*/ 442 w 442"/>
                <a:gd name="T1" fmla="*/ 150 h 150"/>
                <a:gd name="T2" fmla="*/ 0 w 442"/>
                <a:gd name="T3" fmla="*/ 150 h 150"/>
                <a:gd name="T4" fmla="*/ 0 w 442"/>
                <a:gd name="T5" fmla="*/ 0 h 150"/>
                <a:gd name="T6" fmla="*/ 442 w 442"/>
                <a:gd name="T7" fmla="*/ 0 h 150"/>
                <a:gd name="T8" fmla="*/ 442 w 442"/>
                <a:gd name="T9" fmla="*/ 150 h 150"/>
                <a:gd name="T10" fmla="*/ 18 w 442"/>
                <a:gd name="T11" fmla="*/ 132 h 150"/>
                <a:gd name="T12" fmla="*/ 424 w 442"/>
                <a:gd name="T13" fmla="*/ 132 h 150"/>
                <a:gd name="T14" fmla="*/ 424 w 442"/>
                <a:gd name="T15" fmla="*/ 18 h 150"/>
                <a:gd name="T16" fmla="*/ 18 w 442"/>
                <a:gd name="T17" fmla="*/ 18 h 150"/>
                <a:gd name="T18" fmla="*/ 18 w 442"/>
                <a:gd name="T19" fmla="*/ 132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2" h="150">
                  <a:moveTo>
                    <a:pt x="442" y="150"/>
                  </a:moveTo>
                  <a:lnTo>
                    <a:pt x="0" y="150"/>
                  </a:lnTo>
                  <a:lnTo>
                    <a:pt x="0" y="0"/>
                  </a:lnTo>
                  <a:lnTo>
                    <a:pt x="442" y="0"/>
                  </a:lnTo>
                  <a:lnTo>
                    <a:pt x="442" y="150"/>
                  </a:lnTo>
                  <a:close/>
                  <a:moveTo>
                    <a:pt x="18" y="132"/>
                  </a:moveTo>
                  <a:lnTo>
                    <a:pt x="424" y="132"/>
                  </a:lnTo>
                  <a:lnTo>
                    <a:pt x="424" y="18"/>
                  </a:lnTo>
                  <a:lnTo>
                    <a:pt x="18" y="18"/>
                  </a:lnTo>
                  <a:lnTo>
                    <a:pt x="18" y="132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E5A6854A-65FD-410D-B0A1-ED753DE46B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9" y="1048"/>
              <a:ext cx="18" cy="94"/>
            </a:xfrm>
            <a:prstGeom prst="rect">
              <a:avLst/>
            </a:pr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70739523-7485-4AA2-84B5-7511AF2250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9" y="1274"/>
              <a:ext cx="18" cy="74"/>
            </a:xfrm>
            <a:prstGeom prst="rect">
              <a:avLst/>
            </a:pr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3FBB6AFD-CB5D-4514-8625-2A2AFC02EB0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1" y="1200"/>
              <a:ext cx="94" cy="148"/>
            </a:xfrm>
            <a:custGeom>
              <a:avLst/>
              <a:gdLst>
                <a:gd name="T0" fmla="*/ 18 w 94"/>
                <a:gd name="T1" fmla="*/ 148 h 148"/>
                <a:gd name="T2" fmla="*/ 0 w 94"/>
                <a:gd name="T3" fmla="*/ 148 h 148"/>
                <a:gd name="T4" fmla="*/ 0 w 94"/>
                <a:gd name="T5" fmla="*/ 0 h 148"/>
                <a:gd name="T6" fmla="*/ 94 w 94"/>
                <a:gd name="T7" fmla="*/ 0 h 148"/>
                <a:gd name="T8" fmla="*/ 94 w 94"/>
                <a:gd name="T9" fmla="*/ 18 h 148"/>
                <a:gd name="T10" fmla="*/ 18 w 94"/>
                <a:gd name="T11" fmla="*/ 18 h 148"/>
                <a:gd name="T12" fmla="*/ 18 w 94"/>
                <a:gd name="T13" fmla="*/ 14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4" h="148">
                  <a:moveTo>
                    <a:pt x="18" y="148"/>
                  </a:moveTo>
                  <a:lnTo>
                    <a:pt x="0" y="148"/>
                  </a:lnTo>
                  <a:lnTo>
                    <a:pt x="0" y="0"/>
                  </a:lnTo>
                  <a:lnTo>
                    <a:pt x="94" y="0"/>
                  </a:lnTo>
                  <a:lnTo>
                    <a:pt x="94" y="18"/>
                  </a:lnTo>
                  <a:lnTo>
                    <a:pt x="18" y="18"/>
                  </a:lnTo>
                  <a:lnTo>
                    <a:pt x="18" y="148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5" name="Freeform 34">
              <a:extLst>
                <a:ext uri="{FF2B5EF4-FFF2-40B4-BE49-F238E27FC236}">
                  <a16:creationId xmlns:a16="http://schemas.microsoft.com/office/drawing/2014/main" id="{94F7BD48-B397-441A-B7DD-633270E4D68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" y="1200"/>
              <a:ext cx="94" cy="148"/>
            </a:xfrm>
            <a:custGeom>
              <a:avLst/>
              <a:gdLst>
                <a:gd name="T0" fmla="*/ 94 w 94"/>
                <a:gd name="T1" fmla="*/ 148 h 148"/>
                <a:gd name="T2" fmla="*/ 76 w 94"/>
                <a:gd name="T3" fmla="*/ 148 h 148"/>
                <a:gd name="T4" fmla="*/ 76 w 94"/>
                <a:gd name="T5" fmla="*/ 18 h 148"/>
                <a:gd name="T6" fmla="*/ 0 w 94"/>
                <a:gd name="T7" fmla="*/ 18 h 148"/>
                <a:gd name="T8" fmla="*/ 0 w 94"/>
                <a:gd name="T9" fmla="*/ 0 h 148"/>
                <a:gd name="T10" fmla="*/ 94 w 94"/>
                <a:gd name="T11" fmla="*/ 0 h 148"/>
                <a:gd name="T12" fmla="*/ 94 w 94"/>
                <a:gd name="T13" fmla="*/ 14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4" h="148">
                  <a:moveTo>
                    <a:pt x="94" y="148"/>
                  </a:moveTo>
                  <a:lnTo>
                    <a:pt x="76" y="148"/>
                  </a:lnTo>
                  <a:lnTo>
                    <a:pt x="76" y="1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94" y="0"/>
                  </a:lnTo>
                  <a:lnTo>
                    <a:pt x="94" y="148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</p:grpSp>
      <p:sp>
        <p:nvSpPr>
          <p:cNvPr id="84" name="Rectangle 83">
            <a:extLst>
              <a:ext uri="{FF2B5EF4-FFF2-40B4-BE49-F238E27FC236}">
                <a16:creationId xmlns:a16="http://schemas.microsoft.com/office/drawing/2014/main" id="{6F4E02E0-C619-4AE7-AFE0-647A5FBDDA54}"/>
              </a:ext>
            </a:extLst>
          </p:cNvPr>
          <p:cNvSpPr/>
          <p:nvPr/>
        </p:nvSpPr>
        <p:spPr>
          <a:xfrm>
            <a:off x="562653" y="3347401"/>
            <a:ext cx="5493448" cy="305927"/>
          </a:xfrm>
          <a:prstGeom prst="rect">
            <a:avLst/>
          </a:prstGeom>
          <a:noFill/>
          <a:ln w="19050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ts val="17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b="1" i="1" u="sng" dirty="0" smtClean="0">
                <a:solidFill>
                  <a:srgbClr val="2E2E38"/>
                </a:solidFill>
                <a:latin typeface="+mj-lt"/>
              </a:rPr>
              <a:t>КАТЕГОРИИ ЦЕЛЕВЫХ ПРОВЕРОК:</a:t>
            </a:r>
            <a:r>
              <a:rPr kumimoji="0" lang="ru-RU" sz="1400" b="1" i="1" u="sng" strike="noStrike" kern="1200" cap="none" spc="0" normalizeH="0" baseline="0" noProof="0" dirty="0" smtClean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+mj-lt"/>
              </a:rPr>
              <a:t> </a:t>
            </a:r>
            <a:r>
              <a:rPr kumimoji="0" lang="ru-RU" sz="1400" b="1" i="1" u="sng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+mj-lt"/>
              </a:rPr>
              <a:t/>
            </a:r>
            <a:br>
              <a:rPr kumimoji="0" lang="ru-RU" sz="1400" b="1" i="1" u="sng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+mj-lt"/>
              </a:rPr>
            </a:br>
            <a:endParaRPr kumimoji="0" lang="ru-RU" sz="1400" b="1" i="1" u="sng" strike="noStrike" kern="120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85" name="Rectangle: Rounded Corners 3">
            <a:extLst>
              <a:ext uri="{FF2B5EF4-FFF2-40B4-BE49-F238E27FC236}">
                <a16:creationId xmlns:a16="http://schemas.microsoft.com/office/drawing/2014/main" id="{A4866915-9672-4B0E-A1E9-A5E65A1C2623}"/>
              </a:ext>
            </a:extLst>
          </p:cNvPr>
          <p:cNvSpPr/>
          <p:nvPr/>
        </p:nvSpPr>
        <p:spPr>
          <a:xfrm>
            <a:off x="590504" y="3895284"/>
            <a:ext cx="1773101" cy="896514"/>
          </a:xfrm>
          <a:prstGeom prst="roundRect">
            <a:avLst/>
          </a:prstGeom>
          <a:solidFill>
            <a:schemeClr val="tx1"/>
          </a:solidFill>
          <a:ln w="19050">
            <a:solidFill>
              <a:srgbClr val="4AA85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Таможенная стоимость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91" name="Rectangle: Rounded Corners 14">
            <a:extLst>
              <a:ext uri="{FF2B5EF4-FFF2-40B4-BE49-F238E27FC236}">
                <a16:creationId xmlns:a16="http://schemas.microsoft.com/office/drawing/2014/main" id="{2B9BAEA3-97DE-45C6-ABC8-7A8C80EABC19}"/>
              </a:ext>
            </a:extLst>
          </p:cNvPr>
          <p:cNvSpPr/>
          <p:nvPr/>
        </p:nvSpPr>
        <p:spPr>
          <a:xfrm>
            <a:off x="593305" y="4884863"/>
            <a:ext cx="1773101" cy="442569"/>
          </a:xfrm>
          <a:prstGeom prst="roundRect">
            <a:avLst/>
          </a:prstGeom>
          <a:solidFill>
            <a:schemeClr val="tx1"/>
          </a:solidFill>
          <a:ln w="19050">
            <a:solidFill>
              <a:srgbClr val="4AA85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ru-RU" sz="1200" b="1" dirty="0">
                <a:solidFill>
                  <a:srgbClr val="2E2E38"/>
                </a:solidFill>
                <a:latin typeface="+mj-lt"/>
              </a:rPr>
              <a:t>Классификация</a:t>
            </a:r>
            <a:endParaRPr lang="en-US" sz="1200" b="1" dirty="0">
              <a:solidFill>
                <a:srgbClr val="2E2E38"/>
              </a:solidFill>
              <a:latin typeface="+mj-lt"/>
            </a:endParaRPr>
          </a:p>
        </p:txBody>
      </p:sp>
      <p:sp>
        <p:nvSpPr>
          <p:cNvPr id="92" name="Rectangle: Rounded Corners 15">
            <a:extLst>
              <a:ext uri="{FF2B5EF4-FFF2-40B4-BE49-F238E27FC236}">
                <a16:creationId xmlns:a16="http://schemas.microsoft.com/office/drawing/2014/main" id="{FF45CA61-5360-479D-B55C-1D49E06CAB31}"/>
              </a:ext>
            </a:extLst>
          </p:cNvPr>
          <p:cNvSpPr/>
          <p:nvPr/>
        </p:nvSpPr>
        <p:spPr>
          <a:xfrm>
            <a:off x="596020" y="5420497"/>
            <a:ext cx="1773101" cy="514601"/>
          </a:xfrm>
          <a:prstGeom prst="roundRect">
            <a:avLst/>
          </a:prstGeom>
          <a:solidFill>
            <a:schemeClr val="tx1"/>
          </a:solidFill>
          <a:ln w="19050">
            <a:solidFill>
              <a:srgbClr val="4AA85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68544" tIns="34272" rIns="68544" bIns="34272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Страна происхождения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93" name="Rectangle: Rounded Corners 16">
            <a:extLst>
              <a:ext uri="{FF2B5EF4-FFF2-40B4-BE49-F238E27FC236}">
                <a16:creationId xmlns:a16="http://schemas.microsoft.com/office/drawing/2014/main" id="{3B903CF6-2349-45E6-A107-9E5735B37730}"/>
              </a:ext>
            </a:extLst>
          </p:cNvPr>
          <p:cNvSpPr/>
          <p:nvPr/>
        </p:nvSpPr>
        <p:spPr>
          <a:xfrm>
            <a:off x="615430" y="6028163"/>
            <a:ext cx="1797564" cy="370243"/>
          </a:xfrm>
          <a:prstGeom prst="roundRect">
            <a:avLst/>
          </a:prstGeom>
          <a:solidFill>
            <a:schemeClr val="tx1"/>
          </a:solidFill>
          <a:ln w="19050">
            <a:solidFill>
              <a:srgbClr val="4AA85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68544" tIns="34272" rIns="68544" bIns="34272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Тарифные льготы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11" name="Right Arrow 110"/>
          <p:cNvSpPr/>
          <p:nvPr/>
        </p:nvSpPr>
        <p:spPr>
          <a:xfrm>
            <a:off x="2470326" y="4153041"/>
            <a:ext cx="381000" cy="381000"/>
          </a:xfrm>
          <a:prstGeom prst="rightArrow">
            <a:avLst/>
          </a:prstGeom>
          <a:solidFill>
            <a:srgbClr val="4AA851"/>
          </a:solidFill>
          <a:ln w="9525">
            <a:solidFill>
              <a:srgbClr val="4AA85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ru-RU" sz="12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12" name="Right Arrow 111"/>
          <p:cNvSpPr/>
          <p:nvPr/>
        </p:nvSpPr>
        <p:spPr>
          <a:xfrm>
            <a:off x="2470326" y="4883071"/>
            <a:ext cx="381000" cy="381000"/>
          </a:xfrm>
          <a:prstGeom prst="rightArrow">
            <a:avLst/>
          </a:prstGeom>
          <a:solidFill>
            <a:srgbClr val="4AA851"/>
          </a:solidFill>
          <a:ln w="9525">
            <a:solidFill>
              <a:srgbClr val="4AA85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ru-RU" sz="12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15" name="Rectangle: Rounded Corners 3">
            <a:extLst>
              <a:ext uri="{FF2B5EF4-FFF2-40B4-BE49-F238E27FC236}">
                <a16:creationId xmlns:a16="http://schemas.microsoft.com/office/drawing/2014/main" id="{A4866915-9672-4B0E-A1E9-A5E65A1C2623}"/>
              </a:ext>
            </a:extLst>
          </p:cNvPr>
          <p:cNvSpPr/>
          <p:nvPr/>
        </p:nvSpPr>
        <p:spPr>
          <a:xfrm>
            <a:off x="3072498" y="3900500"/>
            <a:ext cx="4623702" cy="896514"/>
          </a:xfrm>
          <a:prstGeom prst="roundRect">
            <a:avLst/>
          </a:prstGeom>
          <a:solidFill>
            <a:schemeClr val="tx1"/>
          </a:solidFill>
          <a:ln w="19050">
            <a:solidFill>
              <a:srgbClr val="4AA85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A851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ru-RU" sz="1200" dirty="0" smtClean="0">
                <a:solidFill>
                  <a:schemeClr val="bg1"/>
                </a:solidFill>
                <a:latin typeface="+mj-lt"/>
              </a:rPr>
              <a:t>Лицензионные платежи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A851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ru-RU" sz="1200" dirty="0" smtClean="0">
                <a:solidFill>
                  <a:schemeClr val="bg1"/>
                </a:solidFill>
                <a:latin typeface="+mj-lt"/>
              </a:rPr>
              <a:t>Внутригрупповые платежи</a:t>
            </a:r>
          </a:p>
          <a:p>
            <a:pPr marL="285750" indent="-285750" algn="just">
              <a:buClr>
                <a:srgbClr val="4AA851"/>
              </a:buClr>
              <a:buFont typeface="Wingdings" panose="05000000000000000000" pitchFamily="2" charset="2"/>
              <a:buChar char="Ø"/>
              <a:defRPr/>
            </a:pPr>
            <a:r>
              <a:rPr lang="ru-RU" sz="1200" dirty="0" smtClean="0">
                <a:solidFill>
                  <a:schemeClr val="bg1"/>
                </a:solidFill>
                <a:latin typeface="+mj-lt"/>
              </a:rPr>
              <a:t>Транспортные расходы (вычеты</a:t>
            </a:r>
            <a:r>
              <a:rPr lang="ru-RU" sz="1200" dirty="0">
                <a:solidFill>
                  <a:schemeClr val="bg1"/>
                </a:solidFill>
                <a:latin typeface="+mj-lt"/>
              </a:rPr>
              <a:t>) </a:t>
            </a:r>
            <a:endParaRPr lang="en-US" sz="1200" dirty="0" smtClean="0">
              <a:solidFill>
                <a:schemeClr val="bg1"/>
              </a:solidFill>
              <a:latin typeface="+mj-lt"/>
            </a:endParaRPr>
          </a:p>
          <a:p>
            <a:pPr marL="285750" indent="-285750" algn="just">
              <a:buClr>
                <a:srgbClr val="4AA851"/>
              </a:buClr>
              <a:buFont typeface="Wingdings" panose="05000000000000000000" pitchFamily="2" charset="2"/>
              <a:buChar char="Ø"/>
              <a:defRPr/>
            </a:pPr>
            <a:r>
              <a:rPr lang="ru-RU" sz="1200" dirty="0" smtClean="0">
                <a:solidFill>
                  <a:schemeClr val="bg1"/>
                </a:solidFill>
                <a:latin typeface="+mj-lt"/>
              </a:rPr>
              <a:t>Дивиденды</a:t>
            </a:r>
            <a:endParaRPr lang="en-US" sz="12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16" name="Rectangle: Rounded Corners 3">
            <a:extLst>
              <a:ext uri="{FF2B5EF4-FFF2-40B4-BE49-F238E27FC236}">
                <a16:creationId xmlns:a16="http://schemas.microsoft.com/office/drawing/2014/main" id="{A4866915-9672-4B0E-A1E9-A5E65A1C2623}"/>
              </a:ext>
            </a:extLst>
          </p:cNvPr>
          <p:cNvSpPr/>
          <p:nvPr/>
        </p:nvSpPr>
        <p:spPr>
          <a:xfrm>
            <a:off x="3072497" y="4879175"/>
            <a:ext cx="4623703" cy="448257"/>
          </a:xfrm>
          <a:prstGeom prst="roundRect">
            <a:avLst/>
          </a:prstGeom>
          <a:solidFill>
            <a:schemeClr val="tx1"/>
          </a:solidFill>
          <a:ln w="19050">
            <a:solidFill>
              <a:srgbClr val="4AA85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0" indent="-285750" algn="just">
              <a:buClr>
                <a:srgbClr val="4AA851"/>
              </a:buClr>
              <a:buFont typeface="Wingdings" panose="05000000000000000000" pitchFamily="2" charset="2"/>
              <a:buChar char="Ø"/>
              <a:defRPr/>
            </a:pPr>
            <a:r>
              <a:rPr lang="ru-RU" sz="1200" dirty="0">
                <a:solidFill>
                  <a:schemeClr val="bg1"/>
                </a:solidFill>
                <a:latin typeface="+mj-lt"/>
              </a:rPr>
              <a:t>Технически </a:t>
            </a:r>
            <a:r>
              <a:rPr lang="ru-RU" sz="1200" dirty="0" smtClean="0">
                <a:solidFill>
                  <a:schemeClr val="bg1"/>
                </a:solidFill>
                <a:latin typeface="+mj-lt"/>
              </a:rPr>
              <a:t>сложные </a:t>
            </a:r>
            <a:r>
              <a:rPr lang="en-US" sz="1200" dirty="0" smtClean="0">
                <a:solidFill>
                  <a:schemeClr val="bg1"/>
                </a:solidFill>
                <a:latin typeface="+mj-lt"/>
              </a:rPr>
              <a:t>/ </a:t>
            </a:r>
            <a:r>
              <a:rPr lang="ru-RU" sz="1200" dirty="0" smtClean="0">
                <a:solidFill>
                  <a:schemeClr val="bg1"/>
                </a:solidFill>
                <a:latin typeface="+mj-lt"/>
              </a:rPr>
              <a:t>инновационные  </a:t>
            </a:r>
            <a:r>
              <a:rPr lang="ru-RU" sz="1200" dirty="0">
                <a:solidFill>
                  <a:schemeClr val="bg1"/>
                </a:solidFill>
                <a:latin typeface="+mj-lt"/>
              </a:rPr>
              <a:t>товары</a:t>
            </a:r>
          </a:p>
          <a:p>
            <a:pPr marL="285750" lvl="0" indent="-285750" algn="just">
              <a:buClr>
                <a:srgbClr val="4AA851"/>
              </a:buClr>
              <a:buFont typeface="Wingdings" panose="05000000000000000000" pitchFamily="2" charset="2"/>
              <a:buChar char="Ø"/>
              <a:defRPr/>
            </a:pPr>
            <a:r>
              <a:rPr lang="ru-RU" sz="1200" dirty="0">
                <a:solidFill>
                  <a:schemeClr val="bg1"/>
                </a:solidFill>
                <a:latin typeface="+mj-lt"/>
              </a:rPr>
              <a:t>Части и компоненты </a:t>
            </a:r>
            <a:r>
              <a:rPr lang="ru-RU" sz="1200" dirty="0" smtClean="0">
                <a:solidFill>
                  <a:schemeClr val="bg1"/>
                </a:solidFill>
                <a:latin typeface="+mj-lt"/>
              </a:rPr>
              <a:t>товаров</a:t>
            </a:r>
            <a:endParaRPr lang="ru-RU" sz="12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17" name="Right Arrow 116"/>
          <p:cNvSpPr/>
          <p:nvPr/>
        </p:nvSpPr>
        <p:spPr>
          <a:xfrm>
            <a:off x="2463924" y="5487297"/>
            <a:ext cx="381000" cy="381000"/>
          </a:xfrm>
          <a:prstGeom prst="rightArrow">
            <a:avLst/>
          </a:prstGeom>
          <a:solidFill>
            <a:srgbClr val="4AA851"/>
          </a:solidFill>
          <a:ln w="9525">
            <a:solidFill>
              <a:srgbClr val="4AA85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ru-RU" sz="12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18" name="Rectangle: Rounded Corners 3">
            <a:extLst>
              <a:ext uri="{FF2B5EF4-FFF2-40B4-BE49-F238E27FC236}">
                <a16:creationId xmlns:a16="http://schemas.microsoft.com/office/drawing/2014/main" id="{A4866915-9672-4B0E-A1E9-A5E65A1C2623}"/>
              </a:ext>
            </a:extLst>
          </p:cNvPr>
          <p:cNvSpPr/>
          <p:nvPr/>
        </p:nvSpPr>
        <p:spPr>
          <a:xfrm>
            <a:off x="3072496" y="5420040"/>
            <a:ext cx="4623703" cy="515058"/>
          </a:xfrm>
          <a:prstGeom prst="roundRect">
            <a:avLst/>
          </a:prstGeom>
          <a:solidFill>
            <a:schemeClr val="tx1"/>
          </a:solidFill>
          <a:ln w="19050">
            <a:solidFill>
              <a:srgbClr val="4AA85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0" indent="-285750" algn="just">
              <a:buClr>
                <a:srgbClr val="4AA851"/>
              </a:buClr>
              <a:buFont typeface="Wingdings" panose="05000000000000000000" pitchFamily="2" charset="2"/>
              <a:buChar char="Ø"/>
              <a:defRPr/>
            </a:pPr>
            <a:r>
              <a:rPr lang="ru-RU" sz="1200" dirty="0">
                <a:solidFill>
                  <a:schemeClr val="bg1"/>
                </a:solidFill>
                <a:latin typeface="+mj-lt"/>
              </a:rPr>
              <a:t>Право применения тарифных преференций после выпуска товаров </a:t>
            </a:r>
          </a:p>
        </p:txBody>
      </p:sp>
      <p:sp>
        <p:nvSpPr>
          <p:cNvPr id="119" name="Rectangle: Rounded Corners 3">
            <a:extLst>
              <a:ext uri="{FF2B5EF4-FFF2-40B4-BE49-F238E27FC236}">
                <a16:creationId xmlns:a16="http://schemas.microsoft.com/office/drawing/2014/main" id="{A4866915-9672-4B0E-A1E9-A5E65A1C2623}"/>
              </a:ext>
            </a:extLst>
          </p:cNvPr>
          <p:cNvSpPr/>
          <p:nvPr/>
        </p:nvSpPr>
        <p:spPr>
          <a:xfrm>
            <a:off x="3072498" y="6022861"/>
            <a:ext cx="4623703" cy="375545"/>
          </a:xfrm>
          <a:prstGeom prst="roundRect">
            <a:avLst/>
          </a:prstGeom>
          <a:solidFill>
            <a:schemeClr val="tx1"/>
          </a:solidFill>
          <a:ln w="19050">
            <a:solidFill>
              <a:srgbClr val="4AA85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0" indent="-285750" algn="just">
              <a:buClr>
                <a:srgbClr val="4AA851"/>
              </a:buClr>
              <a:buFont typeface="Wingdings" panose="05000000000000000000" pitchFamily="2" charset="2"/>
              <a:buChar char="Ø"/>
              <a:defRPr/>
            </a:pPr>
            <a:r>
              <a:rPr lang="ru-RU" sz="1200" dirty="0">
                <a:solidFill>
                  <a:schemeClr val="bg1"/>
                </a:solidFill>
                <a:latin typeface="+mj-lt"/>
              </a:rPr>
              <a:t>Правомерность применения</a:t>
            </a:r>
          </a:p>
        </p:txBody>
      </p:sp>
      <p:sp>
        <p:nvSpPr>
          <p:cNvPr id="120" name="Right Arrow 119"/>
          <p:cNvSpPr/>
          <p:nvPr/>
        </p:nvSpPr>
        <p:spPr>
          <a:xfrm>
            <a:off x="2479686" y="6028163"/>
            <a:ext cx="381000" cy="381000"/>
          </a:xfrm>
          <a:prstGeom prst="rightArrow">
            <a:avLst/>
          </a:prstGeom>
          <a:solidFill>
            <a:srgbClr val="4AA851"/>
          </a:solidFill>
          <a:ln w="9525">
            <a:solidFill>
              <a:srgbClr val="4AA85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ru-RU" sz="12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22" name="TextBox 35">
            <a:extLst>
              <a:ext uri="{FF2B5EF4-FFF2-40B4-BE49-F238E27FC236}">
                <a16:creationId xmlns:a16="http://schemas.microsoft.com/office/drawing/2014/main" id="{F13556F4-DD2C-47DA-AC2A-A55256CE8DB8}"/>
              </a:ext>
            </a:extLst>
          </p:cNvPr>
          <p:cNvSpPr txBox="1"/>
          <p:nvPr/>
        </p:nvSpPr>
        <p:spPr>
          <a:xfrm>
            <a:off x="9058829" y="3418470"/>
            <a:ext cx="1542247" cy="234858"/>
          </a:xfrm>
          <a:prstGeom prst="rect">
            <a:avLst/>
          </a:prstGeom>
          <a:noFill/>
          <a:ln w="19050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>
            <a:defPPr>
              <a:defRPr lang="en-US"/>
            </a:defPPr>
            <a:lvl1pPr marR="0" lvl="0" indent="0" fontAlgn="auto">
              <a:lnSpc>
                <a:spcPts val="17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1" i="1" u="sng">
                <a:solidFill>
                  <a:srgbClr val="2E2E38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/>
            <a:r>
              <a:rPr lang="ru-RU" dirty="0" smtClean="0">
                <a:latin typeface="+mj-lt"/>
              </a:rPr>
              <a:t>РИСКИ</a:t>
            </a:r>
            <a:endParaRPr lang="en-US" dirty="0">
              <a:latin typeface="+mj-lt"/>
            </a:endParaRPr>
          </a:p>
        </p:txBody>
      </p:sp>
      <p:sp>
        <p:nvSpPr>
          <p:cNvPr id="123" name="TextBox 36">
            <a:extLst>
              <a:ext uri="{FF2B5EF4-FFF2-40B4-BE49-F238E27FC236}">
                <a16:creationId xmlns:a16="http://schemas.microsoft.com/office/drawing/2014/main" id="{F18FD795-3170-4CF4-9686-06169B24F87D}"/>
              </a:ext>
            </a:extLst>
          </p:cNvPr>
          <p:cNvSpPr txBox="1"/>
          <p:nvPr/>
        </p:nvSpPr>
        <p:spPr>
          <a:xfrm>
            <a:off x="8318714" y="3914090"/>
            <a:ext cx="3391199" cy="2330880"/>
          </a:xfrm>
          <a:prstGeom prst="rect">
            <a:avLst/>
          </a:prstGeom>
          <a:noFill/>
        </p:spPr>
        <p:txBody>
          <a:bodyPr wrap="square" lIns="0" tIns="27418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57038" marR="0" lvl="0" indent="-257038" defTabSz="9144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450"/>
              </a:spcAft>
              <a:buClr>
                <a:srgbClr val="000000"/>
              </a:buClr>
              <a:buSzPct val="100000"/>
              <a:buFontTx/>
              <a:buAutoNum type="arabicPeriod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Начисление дополнительных таможенных платежей</a:t>
            </a:r>
          </a:p>
          <a:p>
            <a:pPr marL="257038" marR="0" lvl="0" indent="-257038" defTabSz="9144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450"/>
              </a:spcAft>
              <a:buClr>
                <a:srgbClr val="000000"/>
              </a:buClr>
              <a:buSzPct val="100000"/>
              <a:buFontTx/>
              <a:buAutoNum type="arabicPeriod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Начисление пени на размер задолженности</a:t>
            </a:r>
          </a:p>
          <a:p>
            <a:pPr marL="257038" marR="0" lvl="0" indent="-257038" defTabSz="9144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450"/>
              </a:spcAft>
              <a:buClr>
                <a:srgbClr val="000000"/>
              </a:buClr>
              <a:buSzPct val="100000"/>
              <a:buFontTx/>
              <a:buAutoNum type="arabicPeriod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Применение административных санкций</a:t>
            </a:r>
          </a:p>
          <a:p>
            <a:pPr marL="257038" marR="0" lvl="0" indent="-257038" defTabSz="9144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450"/>
              </a:spcAft>
              <a:buClr>
                <a:srgbClr val="000000"/>
              </a:buClr>
              <a:buSzPct val="100000"/>
              <a:buFontTx/>
              <a:buAutoNum type="arabicPeriod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Возбуждение уголовного дела</a:t>
            </a:r>
          </a:p>
          <a:p>
            <a:pPr marL="257038" marR="0" lvl="0" indent="-257038" defTabSz="9144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450"/>
              </a:spcAft>
              <a:buClr>
                <a:srgbClr val="000000"/>
              </a:buClr>
              <a:buSzPct val="100000"/>
              <a:buFontTx/>
              <a:buAutoNum type="arabicPeriod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Применение уголовных санкций</a:t>
            </a:r>
          </a:p>
          <a:p>
            <a:pPr marL="257038" marR="0" lvl="0" indent="-257038" defTabSz="9144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450"/>
              </a:spcAft>
              <a:buClr>
                <a:srgbClr val="000000"/>
              </a:buClr>
              <a:buSzPct val="100000"/>
              <a:buFontTx/>
              <a:buAutoNum type="arabicPeriod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Изменение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категории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уровня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риска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39675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1 dark background">
  <a:themeElements>
    <a:clrScheme name="B1">
      <a:dk1>
        <a:srgbClr val="444042"/>
      </a:dk1>
      <a:lt1>
        <a:sysClr val="window" lastClr="FFFFFF"/>
      </a:lt1>
      <a:dk2>
        <a:srgbClr val="4AA851"/>
      </a:dk2>
      <a:lt2>
        <a:srgbClr val="000000"/>
      </a:lt2>
      <a:accent1>
        <a:srgbClr val="95C11F"/>
      </a:accent1>
      <a:accent2>
        <a:srgbClr val="27ACAA"/>
      </a:accent2>
      <a:accent3>
        <a:srgbClr val="1D71B8"/>
      </a:accent3>
      <a:accent4>
        <a:srgbClr val="662483"/>
      </a:accent4>
      <a:accent5>
        <a:srgbClr val="E6332A"/>
      </a:accent5>
      <a:accent6>
        <a:srgbClr val="F39200"/>
      </a:accent6>
      <a:hlink>
        <a:srgbClr val="0000FF"/>
      </a:hlink>
      <a:folHlink>
        <a:srgbClr val="800080"/>
      </a:folHlink>
    </a:clrScheme>
    <a:fontScheme name="Другая 2">
      <a:majorFont>
        <a:latin typeface="Montserrat"/>
        <a:ea typeface=""/>
        <a:cs typeface=""/>
      </a:majorFont>
      <a:minorFont>
        <a:latin typeface="Montserra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ZOL.potx" id="{0EE856BD-7E83-479F-9E61-17355F40DD81}" vid="{46C38CB7-6A3E-47F3-9781-01249CA6B6E5}"/>
    </a:ext>
  </a:extLst>
</a:theme>
</file>

<file path=ppt/theme/theme2.xml><?xml version="1.0" encoding="utf-8"?>
<a:theme xmlns:a="http://schemas.openxmlformats.org/drawingml/2006/main" name="B1 light background">
  <a:themeElements>
    <a:clrScheme name="B1-W">
      <a:dk1>
        <a:srgbClr val="FFFFFF"/>
      </a:dk1>
      <a:lt1>
        <a:srgbClr val="444042"/>
      </a:lt1>
      <a:dk2>
        <a:srgbClr val="4AA851"/>
      </a:dk2>
      <a:lt2>
        <a:srgbClr val="000000"/>
      </a:lt2>
      <a:accent1>
        <a:srgbClr val="95C11F"/>
      </a:accent1>
      <a:accent2>
        <a:srgbClr val="27ACAA"/>
      </a:accent2>
      <a:accent3>
        <a:srgbClr val="1D71B8"/>
      </a:accent3>
      <a:accent4>
        <a:srgbClr val="662483"/>
      </a:accent4>
      <a:accent5>
        <a:srgbClr val="E6332A"/>
      </a:accent5>
      <a:accent6>
        <a:srgbClr val="F39200"/>
      </a:accent6>
      <a:hlink>
        <a:srgbClr val="0000FF"/>
      </a:hlink>
      <a:folHlink>
        <a:srgbClr val="800080"/>
      </a:folHlink>
    </a:clrScheme>
    <a:fontScheme name="Другая 3">
      <a:majorFont>
        <a:latin typeface="Montserrat"/>
        <a:ea typeface=""/>
        <a:cs typeface=""/>
      </a:majorFont>
      <a:minorFont>
        <a:latin typeface="Montserra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ZOL.potx" id="{0EE856BD-7E83-479F-9E61-17355F40DD81}" vid="{201EEAD5-2270-45B2-97C1-0F1C689428E4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Московская неделя моды B1</Template>
  <TotalTime>2796</TotalTime>
  <Words>2149</Words>
  <Application>Microsoft Office PowerPoint</Application>
  <PresentationFormat>Widescreen</PresentationFormat>
  <Paragraphs>254</Paragraphs>
  <Slides>1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6" baseType="lpstr">
      <vt:lpstr>Georgia</vt:lpstr>
      <vt:lpstr>Times New Roman</vt:lpstr>
      <vt:lpstr>Montserrat Medium</vt:lpstr>
      <vt:lpstr>Montserrat</vt:lpstr>
      <vt:lpstr>Arial</vt:lpstr>
      <vt:lpstr>EYInterstate Light</vt:lpstr>
      <vt:lpstr>Tahoma</vt:lpstr>
      <vt:lpstr>Montserrat Alternates SemiBold</vt:lpstr>
      <vt:lpstr>Arial Unicode MS</vt:lpstr>
      <vt:lpstr>Wingdings</vt:lpstr>
      <vt:lpstr>Montserrat Light</vt:lpstr>
      <vt:lpstr>B1 dark background</vt:lpstr>
      <vt:lpstr>B1 light background</vt:lpstr>
      <vt:lpstr>think-cell Slide</vt:lpstr>
      <vt:lpstr>Дни ритейла на Балтике Анализ таможенных рисков для ритейла</vt:lpstr>
      <vt:lpstr>Экспорт товаров в третьи страны и ЕАЭС: особенности</vt:lpstr>
      <vt:lpstr>Экспорт из РФ: контрсанкции 2022</vt:lpstr>
      <vt:lpstr>Внесение изменений в ПП № 311 &amp; Получение временного разрешения на вывоз</vt:lpstr>
      <vt:lpstr>Разъяснения ФТС России по применению ПП № 312</vt:lpstr>
      <vt:lpstr>PowerPoint Presentation</vt:lpstr>
      <vt:lpstr>Снижение тарифной нагрузки при ввозе сырья/материалов для производства и реализации в РФ</vt:lpstr>
      <vt:lpstr>PowerPoint Presentation</vt:lpstr>
      <vt:lpstr>Текущие тенденции таможенного контроля</vt:lpstr>
      <vt:lpstr>CASE STUDY: Таможенная проверка лицензионной структуры производителя в Калининграде</vt:lpstr>
      <vt:lpstr>Рекомендации B1</vt:lpstr>
      <vt:lpstr>Команда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одоление таможенных барьеров при экспорте продукции дизайнеров Москвы.  Упрощения импорта сырья</dc:title>
  <dc:creator>Olga A Zolotareva</dc:creator>
  <cp:keywords/>
  <cp:lastModifiedBy>B1 Customs</cp:lastModifiedBy>
  <cp:revision>30</cp:revision>
  <dcterms:created xsi:type="dcterms:W3CDTF">2022-06-22T14:00:01Z</dcterms:created>
  <dcterms:modified xsi:type="dcterms:W3CDTF">2022-08-16T07:21:27Z</dcterms:modified>
  <cp:contentStatus/>
</cp:coreProperties>
</file>